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tags/tag1.xml" ContentType="application/vnd.openxmlformats-officedocument.presentationml.tags+xml"/>
  <Override PartName="/ppt/notesSlides/notesSlide4.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7.xml" ContentType="application/vnd.openxmlformats-officedocument.drawingml.chart+xml"/>
  <Override PartName="/ppt/theme/themeOverride1.xml" ContentType="application/vnd.openxmlformats-officedocument.themeOverride+xml"/>
  <Override PartName="/ppt/drawings/drawing3.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heme/themeOverride2.xml" ContentType="application/vnd.openxmlformats-officedocument.themeOverride+xml"/>
  <Override PartName="/ppt/charts/chart10.xml" ContentType="application/vnd.openxmlformats-officedocument.drawingml.chart+xml"/>
  <Override PartName="/ppt/theme/themeOverride3.xml" ContentType="application/vnd.openxmlformats-officedocument.themeOverr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drawings/drawing4.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Lst>
  <p:notesMasterIdLst>
    <p:notesMasterId r:id="rId55"/>
  </p:notesMasterIdLst>
  <p:handoutMasterIdLst>
    <p:handoutMasterId r:id="rId56"/>
  </p:handoutMasterIdLst>
  <p:sldIdLst>
    <p:sldId id="1196" r:id="rId3"/>
    <p:sldId id="1132" r:id="rId4"/>
    <p:sldId id="1135" r:id="rId5"/>
    <p:sldId id="1165" r:id="rId6"/>
    <p:sldId id="1166" r:id="rId7"/>
    <p:sldId id="1167" r:id="rId8"/>
    <p:sldId id="1168" r:id="rId9"/>
    <p:sldId id="1137" r:id="rId10"/>
    <p:sldId id="1176" r:id="rId11"/>
    <p:sldId id="1180" r:id="rId12"/>
    <p:sldId id="1198" r:id="rId13"/>
    <p:sldId id="1206" r:id="rId14"/>
    <p:sldId id="1187" r:id="rId15"/>
    <p:sldId id="1163" r:id="rId16"/>
    <p:sldId id="1164" r:id="rId17"/>
    <p:sldId id="1197" r:id="rId18"/>
    <p:sldId id="1181" r:id="rId19"/>
    <p:sldId id="1182" r:id="rId20"/>
    <p:sldId id="1183" r:id="rId21"/>
    <p:sldId id="1184" r:id="rId22"/>
    <p:sldId id="1149" r:id="rId23"/>
    <p:sldId id="1150" r:id="rId24"/>
    <p:sldId id="1199" r:id="rId25"/>
    <p:sldId id="1200" r:id="rId26"/>
    <p:sldId id="1162" r:id="rId27"/>
    <p:sldId id="1151" r:id="rId28"/>
    <p:sldId id="1194" r:id="rId29"/>
    <p:sldId id="1169" r:id="rId30"/>
    <p:sldId id="1170" r:id="rId31"/>
    <p:sldId id="1171" r:id="rId32"/>
    <p:sldId id="1172" r:id="rId33"/>
    <p:sldId id="1152" r:id="rId34"/>
    <p:sldId id="1204" r:id="rId35"/>
    <p:sldId id="1155" r:id="rId36"/>
    <p:sldId id="1178" r:id="rId37"/>
    <p:sldId id="1179" r:id="rId38"/>
    <p:sldId id="1185" r:id="rId39"/>
    <p:sldId id="1186" r:id="rId40"/>
    <p:sldId id="1159" r:id="rId41"/>
    <p:sldId id="1177" r:id="rId42"/>
    <p:sldId id="1158" r:id="rId43"/>
    <p:sldId id="1205" r:id="rId44"/>
    <p:sldId id="1201" r:id="rId45"/>
    <p:sldId id="1202" r:id="rId46"/>
    <p:sldId id="1174" r:id="rId47"/>
    <p:sldId id="1192" r:id="rId48"/>
    <p:sldId id="1188" r:id="rId49"/>
    <p:sldId id="1189" r:id="rId50"/>
    <p:sldId id="1190" r:id="rId51"/>
    <p:sldId id="1191" r:id="rId52"/>
    <p:sldId id="1075" r:id="rId53"/>
    <p:sldId id="1173" r:id="rId54"/>
  </p:sldIdLst>
  <p:sldSz cx="9144000" cy="6858000" type="screen4x3"/>
  <p:notesSz cx="6794500" cy="9931400"/>
  <p:defaultTextStyle>
    <a:defPPr>
      <a:defRPr lang="en-US"/>
    </a:defPPr>
    <a:lvl1pPr algn="l"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131">
          <p15:clr>
            <a:srgbClr val="A4A3A4"/>
          </p15:clr>
        </p15:guide>
        <p15:guide id="2"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FF8000"/>
    <a:srgbClr val="0033CC"/>
    <a:srgbClr val="77933C"/>
    <a:srgbClr val="6699FF"/>
    <a:srgbClr val="FFFFFF"/>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76" autoAdjust="0"/>
    <p:restoredTop sz="91652" autoAdjust="0"/>
  </p:normalViewPr>
  <p:slideViewPr>
    <p:cSldViewPr>
      <p:cViewPr>
        <p:scale>
          <a:sx n="89" d="100"/>
          <a:sy n="89" d="100"/>
        </p:scale>
        <p:origin x="-870" y="78"/>
      </p:cViewPr>
      <p:guideLst>
        <p:guide orient="horz" pos="2160"/>
        <p:guide pos="2880"/>
      </p:guideLst>
    </p:cSldViewPr>
  </p:slideViewPr>
  <p:notesTextViewPr>
    <p:cViewPr>
      <p:scale>
        <a:sx n="1" d="1"/>
        <a:sy n="1" d="1"/>
      </p:scale>
      <p:origin x="0" y="0"/>
    </p:cViewPr>
  </p:notesTextViewPr>
  <p:sorterViewPr>
    <p:cViewPr>
      <p:scale>
        <a:sx n="64" d="100"/>
        <a:sy n="64" d="100"/>
      </p:scale>
      <p:origin x="0" y="0"/>
    </p:cViewPr>
  </p:sorterViewPr>
  <p:notesViewPr>
    <p:cSldViewPr>
      <p:cViewPr varScale="1">
        <p:scale>
          <a:sx n="53" d="100"/>
          <a:sy n="53" d="100"/>
        </p:scale>
        <p:origin x="-2868" y="-90"/>
      </p:cViewPr>
      <p:guideLst>
        <p:guide orient="horz" pos="3128"/>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oleObject" Target="SEMOGA%20AWET:Agt-%20Sept:Pertumbuhan%20Global.xlsx" TargetMode="External"/></Relationships>
</file>

<file path=ppt/charts/_rels/chart10.xml.rels><?xml version="1.0" encoding="UTF-8" standalone="yes"?>
<Relationships xmlns="http://schemas.openxmlformats.org/package/2006/relationships"><Relationship Id="rId2" Type="http://schemas.openxmlformats.org/officeDocument/2006/relationships/oleObject" Target="file:///F:\Database%20Subbid%20Investasi%20Lengkap.xlsx" TargetMode="External"/><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1" Type="http://schemas.openxmlformats.org/officeDocument/2006/relationships/oleObject" Target="server:Users:jokasim:Downloads:KURS%20update%2025%20sept%202015.xlsx"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SEMOGA%20AWET:Usual%20Indicator:Final%20-%20Capital%20Flow%20.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SEMOGA%20AWET:Usual%20Indicator:Final%20-%20Yield%20Bond.xlsx" TargetMode="Externa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10.100.120.7\bidang4\Bahan\Transit%20Folder\Grafik%20Rating%20Kredit.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server:Users:jokasim:Downloads:brazil%20govt%20expenditur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SEMOGA%20AWET:Pertumbuhan%20Global.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SEMOGA%20AWET:Usual%20Indicator:Final%20-%20Komoditas.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server:Users:jokasim:Downloads:data0715.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E:\03%20Komoditas%20dr%20Bram.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D:\Staf%20DG\Data\NT%201997.xlsx" TargetMode="Externa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C:\Users\0\Desktop\Update%20PDB%20Kuartal%20II%202015\Q2\PDB%20pengeluaran%20SNA%202008-Q22015%20050815.xls" TargetMode="External"/><Relationship Id="rId1" Type="http://schemas.openxmlformats.org/officeDocument/2006/relationships/themeOverride" Target="../theme/themeOverride1.xml"/></Relationships>
</file>

<file path=ppt/charts/_rels/chart8.xml.rels><?xml version="1.0" encoding="UTF-8" standalone="yes"?>
<Relationships xmlns="http://schemas.openxmlformats.org/package/2006/relationships"><Relationship Id="rId1" Type="http://schemas.openxmlformats.org/officeDocument/2006/relationships/oleObject" Target="file:///F:\GAWEEEEEEEEE\KURAP\DATABASE\EKSIM_GARAP_PENTING_BANGET.xlsx" TargetMode="Externa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BarChart!$B$4</c:f>
              <c:strCache>
                <c:ptCount val="1"/>
                <c:pt idx="0">
                  <c:v>Q1 '14</c:v>
                </c:pt>
              </c:strCache>
            </c:strRef>
          </c:tx>
          <c:invertIfNegative val="0"/>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4:$T$4</c:f>
              <c:numCache>
                <c:formatCode>_-* #,##0.0_-;\-* #,##0.0_-;_-* "-"_-;_-@_-</c:formatCode>
                <c:ptCount val="10"/>
                <c:pt idx="0">
                  <c:v>2.7</c:v>
                </c:pt>
                <c:pt idx="1">
                  <c:v>1.1844806000000001</c:v>
                </c:pt>
                <c:pt idx="2">
                  <c:v>7.3664213399999756</c:v>
                </c:pt>
                <c:pt idx="3">
                  <c:v>5.1433066900000002</c:v>
                </c:pt>
                <c:pt idx="4">
                  <c:v>6.2579984599999756</c:v>
                </c:pt>
                <c:pt idx="5">
                  <c:v>0.87446577000000003</c:v>
                </c:pt>
                <c:pt idx="6">
                  <c:v>4.5999999999999996</c:v>
                </c:pt>
                <c:pt idx="7">
                  <c:v>6.3</c:v>
                </c:pt>
                <c:pt idx="8">
                  <c:v>6.7325515499999673</c:v>
                </c:pt>
                <c:pt idx="9">
                  <c:v>3.7018479199999992</c:v>
                </c:pt>
              </c:numCache>
            </c:numRef>
          </c:val>
        </c:ser>
        <c:ser>
          <c:idx val="1"/>
          <c:order val="1"/>
          <c:tx>
            <c:strRef>
              <c:f>BarChart!$B$5</c:f>
              <c:strCache>
                <c:ptCount val="1"/>
                <c:pt idx="0">
                  <c:v>Q2 '14</c:v>
                </c:pt>
              </c:strCache>
            </c:strRef>
          </c:tx>
          <c:invertIfNegative val="0"/>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5:$T$5</c:f>
              <c:numCache>
                <c:formatCode>_-* #,##0.0_-;\-* #,##0.0_-;_-* "-"_-;_-@_-</c:formatCode>
                <c:ptCount val="10"/>
                <c:pt idx="0">
                  <c:v>1.2</c:v>
                </c:pt>
                <c:pt idx="1">
                  <c:v>1.2126744700000001</c:v>
                </c:pt>
                <c:pt idx="2">
                  <c:v>7.5</c:v>
                </c:pt>
                <c:pt idx="3">
                  <c:v>5.0263213699999856</c:v>
                </c:pt>
                <c:pt idx="4">
                  <c:v>6.4918108599999673</c:v>
                </c:pt>
                <c:pt idx="5">
                  <c:v>2.8730411299999972</c:v>
                </c:pt>
                <c:pt idx="6">
                  <c:v>2.2999999999999998</c:v>
                </c:pt>
                <c:pt idx="7">
                  <c:v>6.5</c:v>
                </c:pt>
                <c:pt idx="8">
                  <c:v>6.6583501499999747</c:v>
                </c:pt>
                <c:pt idx="9">
                  <c:v>3.7508591799999982</c:v>
                </c:pt>
              </c:numCache>
            </c:numRef>
          </c:val>
        </c:ser>
        <c:ser>
          <c:idx val="2"/>
          <c:order val="2"/>
          <c:tx>
            <c:strRef>
              <c:f>BarChart!$B$6</c:f>
              <c:strCache>
                <c:ptCount val="1"/>
                <c:pt idx="0">
                  <c:v>Q3 '14</c:v>
                </c:pt>
              </c:strCache>
            </c:strRef>
          </c:tx>
          <c:invertIfNegative val="0"/>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6:$T$6</c:f>
              <c:numCache>
                <c:formatCode>_-* #,##0.0_-;\-* #,##0.0_-;_-* "-"_-;_-@_-</c:formatCode>
                <c:ptCount val="10"/>
                <c:pt idx="0">
                  <c:v>-0.6</c:v>
                </c:pt>
                <c:pt idx="1">
                  <c:v>0.45605979000000002</c:v>
                </c:pt>
                <c:pt idx="2">
                  <c:v>7.3</c:v>
                </c:pt>
                <c:pt idx="3">
                  <c:v>4.9226195699999673</c:v>
                </c:pt>
                <c:pt idx="4">
                  <c:v>5.5929385199999553</c:v>
                </c:pt>
                <c:pt idx="5">
                  <c:v>2.221582760000004</c:v>
                </c:pt>
                <c:pt idx="6">
                  <c:v>2.8</c:v>
                </c:pt>
                <c:pt idx="7">
                  <c:v>5.6</c:v>
                </c:pt>
                <c:pt idx="8">
                  <c:v>8.4423515899999995</c:v>
                </c:pt>
                <c:pt idx="9">
                  <c:v>4.5149325099999533</c:v>
                </c:pt>
              </c:numCache>
            </c:numRef>
          </c:val>
        </c:ser>
        <c:ser>
          <c:idx val="3"/>
          <c:order val="3"/>
          <c:tx>
            <c:strRef>
              <c:f>BarChart!$B$7</c:f>
              <c:strCache>
                <c:ptCount val="1"/>
                <c:pt idx="0">
                  <c:v>Q4 '14</c:v>
                </c:pt>
              </c:strCache>
            </c:strRef>
          </c:tx>
          <c:invertIfNegative val="0"/>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7:$T$7</c:f>
              <c:numCache>
                <c:formatCode>_-* #,##0.0_-;\-* #,##0.0_-;_-* "-"_-;_-@_-</c:formatCode>
                <c:ptCount val="10"/>
                <c:pt idx="0">
                  <c:v>-0.2</c:v>
                </c:pt>
                <c:pt idx="1">
                  <c:v>-0.48909997</c:v>
                </c:pt>
                <c:pt idx="2">
                  <c:v>7.3</c:v>
                </c:pt>
                <c:pt idx="3">
                  <c:v>5.0143459199999727</c:v>
                </c:pt>
                <c:pt idx="4">
                  <c:v>5.676861100000008</c:v>
                </c:pt>
                <c:pt idx="5">
                  <c:v>2.6107443699999999</c:v>
                </c:pt>
                <c:pt idx="6">
                  <c:v>2.1</c:v>
                </c:pt>
                <c:pt idx="7">
                  <c:v>5.7</c:v>
                </c:pt>
                <c:pt idx="8">
                  <c:v>6.5503493000000024</c:v>
                </c:pt>
                <c:pt idx="9">
                  <c:v>3.1275234000000012</c:v>
                </c:pt>
              </c:numCache>
            </c:numRef>
          </c:val>
        </c:ser>
        <c:ser>
          <c:idx val="4"/>
          <c:order val="4"/>
          <c:tx>
            <c:strRef>
              <c:f>BarChart!$B$8</c:f>
              <c:strCache>
                <c:ptCount val="1"/>
                <c:pt idx="0">
                  <c:v>Q1 '15</c:v>
                </c:pt>
              </c:strCache>
            </c:strRef>
          </c:tx>
          <c:spPr>
            <a:solidFill>
              <a:schemeClr val="accent5">
                <a:lumMod val="50000"/>
              </a:schemeClr>
            </a:solidFill>
          </c:spPr>
          <c:invertIfNegative val="0"/>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8:$T$8</c:f>
              <c:numCache>
                <c:formatCode>_-* #,##0.0_-;\-* #,##0.0_-;_-* "-"_-;_-@_-</c:formatCode>
                <c:ptCount val="10"/>
                <c:pt idx="0">
                  <c:v>-1.6</c:v>
                </c:pt>
                <c:pt idx="1">
                  <c:v>-1.9037551600000009</c:v>
                </c:pt>
                <c:pt idx="2">
                  <c:v>7</c:v>
                </c:pt>
                <c:pt idx="3">
                  <c:v>4.7210227300000014</c:v>
                </c:pt>
                <c:pt idx="4">
                  <c:v>5.6477301499999664</c:v>
                </c:pt>
                <c:pt idx="5">
                  <c:v>2.5383714799999999</c:v>
                </c:pt>
                <c:pt idx="6">
                  <c:v>2.8</c:v>
                </c:pt>
                <c:pt idx="7">
                  <c:v>5.6</c:v>
                </c:pt>
                <c:pt idx="8">
                  <c:v>7.5105504499999727</c:v>
                </c:pt>
                <c:pt idx="9">
                  <c:v>3.2761341900000001</c:v>
                </c:pt>
              </c:numCache>
            </c:numRef>
          </c:val>
        </c:ser>
        <c:ser>
          <c:idx val="5"/>
          <c:order val="5"/>
          <c:tx>
            <c:strRef>
              <c:f>BarChart!$B$9</c:f>
              <c:strCache>
                <c:ptCount val="1"/>
                <c:pt idx="0">
                  <c:v>Q2 '15</c:v>
                </c:pt>
              </c:strCache>
            </c:strRef>
          </c:tx>
          <c:spPr>
            <a:solidFill>
              <a:schemeClr val="accent5">
                <a:lumMod val="75000"/>
              </a:schemeClr>
            </a:solidFill>
          </c:spPr>
          <c:invertIfNegative val="0"/>
          <c:dLbls>
            <c:dLbl>
              <c:idx val="1"/>
              <c:layout>
                <c:manualLayout>
                  <c:x val="-6.5978090909912497E-3"/>
                  <c:y val="9.45702549299133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1.93533497620265E-16"/>
                  <c:y val="-6.19012455797881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pPr>
                <a:endParaRPr lang="id-ID"/>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BarChart!$K$2:$T$3</c:f>
              <c:strCache>
                <c:ptCount val="10"/>
                <c:pt idx="0">
                  <c:v>Brazil</c:v>
                </c:pt>
                <c:pt idx="1">
                  <c:v>Russia</c:v>
                </c:pt>
                <c:pt idx="2">
                  <c:v>Cina</c:v>
                </c:pt>
                <c:pt idx="3">
                  <c:v>Indonesia</c:v>
                </c:pt>
                <c:pt idx="4">
                  <c:v>Malaysia</c:v>
                </c:pt>
                <c:pt idx="5">
                  <c:v>Mexico</c:v>
                </c:pt>
                <c:pt idx="6">
                  <c:v>Singapore</c:v>
                </c:pt>
                <c:pt idx="7">
                  <c:v>Thailand</c:v>
                </c:pt>
                <c:pt idx="8">
                  <c:v>India</c:v>
                </c:pt>
                <c:pt idx="9">
                  <c:v>Taiwan</c:v>
                </c:pt>
              </c:strCache>
            </c:strRef>
          </c:cat>
          <c:val>
            <c:numRef>
              <c:f>BarChart!$K$9:$T$9</c:f>
              <c:numCache>
                <c:formatCode>_-* #,##0.0_-;\-* #,##0.0_-;_-* "-"_-;_-@_-</c:formatCode>
                <c:ptCount val="10"/>
                <c:pt idx="0">
                  <c:v>-2.6</c:v>
                </c:pt>
                <c:pt idx="1">
                  <c:v>-4.5999999999999996</c:v>
                </c:pt>
                <c:pt idx="2">
                  <c:v>7</c:v>
                </c:pt>
                <c:pt idx="3">
                  <c:v>4.6738252699999636</c:v>
                </c:pt>
                <c:pt idx="4">
                  <c:v>4.95</c:v>
                </c:pt>
                <c:pt idx="5">
                  <c:v>2.2395055099999999</c:v>
                </c:pt>
                <c:pt idx="6">
                  <c:v>1.8</c:v>
                </c:pt>
                <c:pt idx="7">
                  <c:v>4.9000000000000004</c:v>
                </c:pt>
                <c:pt idx="8">
                  <c:v>7.0361980000000024</c:v>
                </c:pt>
                <c:pt idx="9">
                  <c:v>0.82720044000000004</c:v>
                </c:pt>
              </c:numCache>
            </c:numRef>
          </c:val>
        </c:ser>
        <c:dLbls>
          <c:showLegendKey val="0"/>
          <c:showVal val="0"/>
          <c:showCatName val="0"/>
          <c:showSerName val="0"/>
          <c:showPercent val="0"/>
          <c:showBubbleSize val="0"/>
        </c:dLbls>
        <c:gapWidth val="100"/>
        <c:overlap val="-27"/>
        <c:axId val="115106944"/>
        <c:axId val="115108480"/>
      </c:barChart>
      <c:catAx>
        <c:axId val="115106944"/>
        <c:scaling>
          <c:orientation val="minMax"/>
        </c:scaling>
        <c:delete val="0"/>
        <c:axPos val="b"/>
        <c:numFmt formatCode="General" sourceLinked="1"/>
        <c:majorTickMark val="none"/>
        <c:minorTickMark val="none"/>
        <c:tickLblPos val="low"/>
        <c:txPr>
          <a:bodyPr rot="-60000000" vert="horz"/>
          <a:lstStyle/>
          <a:p>
            <a:pPr>
              <a:defRPr/>
            </a:pPr>
            <a:endParaRPr lang="id-ID"/>
          </a:p>
        </c:txPr>
        <c:crossAx val="115108480"/>
        <c:crosses val="autoZero"/>
        <c:auto val="1"/>
        <c:lblAlgn val="ctr"/>
        <c:lblOffset val="100"/>
        <c:noMultiLvlLbl val="0"/>
      </c:catAx>
      <c:valAx>
        <c:axId val="115108480"/>
        <c:scaling>
          <c:orientation val="minMax"/>
        </c:scaling>
        <c:delete val="0"/>
        <c:axPos val="l"/>
        <c:numFmt formatCode="0" sourceLinked="0"/>
        <c:majorTickMark val="none"/>
        <c:minorTickMark val="none"/>
        <c:tickLblPos val="nextTo"/>
        <c:txPr>
          <a:bodyPr rot="-60000000" vert="horz"/>
          <a:lstStyle/>
          <a:p>
            <a:pPr>
              <a:defRPr/>
            </a:pPr>
            <a:endParaRPr lang="id-ID"/>
          </a:p>
        </c:txPr>
        <c:crossAx val="115106944"/>
        <c:crosses val="autoZero"/>
        <c:crossBetween val="between"/>
      </c:valAx>
    </c:plotArea>
    <c:legend>
      <c:legendPos val="b"/>
      <c:layout/>
      <c:overlay val="0"/>
      <c:txPr>
        <a:bodyPr rot="0" vert="horz"/>
        <a:lstStyle/>
        <a:p>
          <a:pPr>
            <a:defRPr/>
          </a:pPr>
          <a:endParaRPr lang="id-ID"/>
        </a:p>
      </c:txPr>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989821882951699E-2"/>
          <c:y val="0.133022747156605"/>
          <c:w val="0.94402035623409897"/>
          <c:h val="0.66511009040536595"/>
        </c:manualLayout>
      </c:layout>
      <c:barChart>
        <c:barDir val="col"/>
        <c:grouping val="stacked"/>
        <c:varyColors val="0"/>
        <c:ser>
          <c:idx val="0"/>
          <c:order val="0"/>
          <c:tx>
            <c:strRef>
              <c:f>'PMA PMDN'!$C$1</c:f>
              <c:strCache>
                <c:ptCount val="1"/>
                <c:pt idx="0">
                  <c:v>PMA</c:v>
                </c:pt>
              </c:strCache>
            </c:strRef>
          </c:tx>
          <c:invertIfNegative val="0"/>
          <c:dLbls>
            <c:delete val="1"/>
          </c:dLbls>
          <c:cat>
            <c:multiLvlStrRef>
              <c:f>'PMA PMDN'!$A$14:$B$31</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PMA PMDN'!$C$14:$C$31</c:f>
              <c:numCache>
                <c:formatCode>0.00</c:formatCode>
                <c:ptCount val="18"/>
                <c:pt idx="0">
                  <c:v>39.5</c:v>
                </c:pt>
                <c:pt idx="1">
                  <c:v>43.1</c:v>
                </c:pt>
                <c:pt idx="2">
                  <c:v>46.5</c:v>
                </c:pt>
                <c:pt idx="3">
                  <c:v>46.2</c:v>
                </c:pt>
                <c:pt idx="4">
                  <c:v>51.5</c:v>
                </c:pt>
                <c:pt idx="5">
                  <c:v>56.1</c:v>
                </c:pt>
                <c:pt idx="6">
                  <c:v>56.6</c:v>
                </c:pt>
                <c:pt idx="7">
                  <c:v>56.8</c:v>
                </c:pt>
                <c:pt idx="8">
                  <c:v>65.5</c:v>
                </c:pt>
                <c:pt idx="9">
                  <c:v>66.7</c:v>
                </c:pt>
                <c:pt idx="10">
                  <c:v>67</c:v>
                </c:pt>
                <c:pt idx="11">
                  <c:v>71.2</c:v>
                </c:pt>
                <c:pt idx="12">
                  <c:v>72</c:v>
                </c:pt>
                <c:pt idx="13">
                  <c:v>78</c:v>
                </c:pt>
                <c:pt idx="14">
                  <c:v>78.3</c:v>
                </c:pt>
                <c:pt idx="15">
                  <c:v>78.7</c:v>
                </c:pt>
                <c:pt idx="16">
                  <c:v>82.1</c:v>
                </c:pt>
                <c:pt idx="17">
                  <c:v>92.2</c:v>
                </c:pt>
              </c:numCache>
            </c:numRef>
          </c:val>
        </c:ser>
        <c:ser>
          <c:idx val="1"/>
          <c:order val="1"/>
          <c:tx>
            <c:strRef>
              <c:f>'PMA PMDN'!$G$1</c:f>
              <c:strCache>
                <c:ptCount val="1"/>
                <c:pt idx="0">
                  <c:v>PMDN</c:v>
                </c:pt>
              </c:strCache>
            </c:strRef>
          </c:tx>
          <c:spPr>
            <a:solidFill>
              <a:srgbClr val="ED7D31"/>
            </a:solidFill>
            <a:ln>
              <a:noFill/>
            </a:ln>
          </c:spPr>
          <c:invertIfNegative val="0"/>
          <c:dLbls>
            <c:delete val="1"/>
          </c:dLbls>
          <c:cat>
            <c:multiLvlStrRef>
              <c:f>'PMA PMDN'!$A$14:$B$31</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PMA PMDN'!$G$14:$G$31</c:f>
              <c:numCache>
                <c:formatCode>0.00</c:formatCode>
                <c:ptCount val="18"/>
                <c:pt idx="0">
                  <c:v>14.1</c:v>
                </c:pt>
                <c:pt idx="1">
                  <c:v>18.899999999999999</c:v>
                </c:pt>
                <c:pt idx="2">
                  <c:v>19</c:v>
                </c:pt>
                <c:pt idx="3">
                  <c:v>24</c:v>
                </c:pt>
                <c:pt idx="4">
                  <c:v>19.7</c:v>
                </c:pt>
                <c:pt idx="5">
                  <c:v>20.8</c:v>
                </c:pt>
                <c:pt idx="6">
                  <c:v>25.2</c:v>
                </c:pt>
                <c:pt idx="7">
                  <c:v>26.5</c:v>
                </c:pt>
                <c:pt idx="8">
                  <c:v>27.5</c:v>
                </c:pt>
                <c:pt idx="9">
                  <c:v>33.1</c:v>
                </c:pt>
                <c:pt idx="10">
                  <c:v>33.5</c:v>
                </c:pt>
                <c:pt idx="11">
                  <c:v>34.1</c:v>
                </c:pt>
                <c:pt idx="12">
                  <c:v>34.6</c:v>
                </c:pt>
                <c:pt idx="13">
                  <c:v>38.200000000000003</c:v>
                </c:pt>
                <c:pt idx="14">
                  <c:v>41.6</c:v>
                </c:pt>
                <c:pt idx="15">
                  <c:v>41.7</c:v>
                </c:pt>
                <c:pt idx="16">
                  <c:v>42.5</c:v>
                </c:pt>
                <c:pt idx="17">
                  <c:v>42.9</c:v>
                </c:pt>
              </c:numCache>
            </c:numRef>
          </c:val>
        </c:ser>
        <c:dLbls>
          <c:showLegendKey val="0"/>
          <c:showVal val="1"/>
          <c:showCatName val="0"/>
          <c:showSerName val="0"/>
          <c:showPercent val="0"/>
          <c:showBubbleSize val="0"/>
        </c:dLbls>
        <c:gapWidth val="21"/>
        <c:overlap val="100"/>
        <c:axId val="123456896"/>
        <c:axId val="123466880"/>
      </c:barChart>
      <c:lineChart>
        <c:grouping val="standard"/>
        <c:varyColors val="0"/>
        <c:ser>
          <c:idx val="2"/>
          <c:order val="2"/>
          <c:tx>
            <c:strRef>
              <c:f>'PMA PMDN'!$K$1</c:f>
              <c:strCache>
                <c:ptCount val="1"/>
                <c:pt idx="0">
                  <c:v>Total</c:v>
                </c:pt>
              </c:strCache>
            </c:strRef>
          </c:tx>
          <c:spPr>
            <a:ln w="28575"/>
          </c:spPr>
          <c:marker>
            <c:symbol val="none"/>
          </c:marker>
          <c:dLbls>
            <c:delete val="1"/>
          </c:dLbls>
          <c:cat>
            <c:multiLvlStrRef>
              <c:f>'PMA PMDN'!$A$10:$B$31</c:f>
              <c:multiLvlStrCache>
                <c:ptCount val="22"/>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lvl>
                <c:lvl>
                  <c:pt idx="0">
                    <c:v>2010</c:v>
                  </c:pt>
                  <c:pt idx="4">
                    <c:v>2011</c:v>
                  </c:pt>
                  <c:pt idx="8">
                    <c:v>2012</c:v>
                  </c:pt>
                  <c:pt idx="12">
                    <c:v>2013</c:v>
                  </c:pt>
                  <c:pt idx="16">
                    <c:v>2014</c:v>
                  </c:pt>
                  <c:pt idx="20">
                    <c:v>2015</c:v>
                  </c:pt>
                </c:lvl>
              </c:multiLvlStrCache>
            </c:multiLvlStrRef>
          </c:cat>
          <c:val>
            <c:numRef>
              <c:f>'PMA PMDN'!$K$14:$K$31</c:f>
              <c:numCache>
                <c:formatCode>0.00</c:formatCode>
                <c:ptCount val="18"/>
                <c:pt idx="0">
                  <c:v>53.6</c:v>
                </c:pt>
                <c:pt idx="1">
                  <c:v>62</c:v>
                </c:pt>
                <c:pt idx="2">
                  <c:v>65.5</c:v>
                </c:pt>
                <c:pt idx="3">
                  <c:v>70.2</c:v>
                </c:pt>
                <c:pt idx="4">
                  <c:v>71.2</c:v>
                </c:pt>
                <c:pt idx="5">
                  <c:v>76.900000000000006</c:v>
                </c:pt>
                <c:pt idx="6">
                  <c:v>81.8</c:v>
                </c:pt>
                <c:pt idx="7">
                  <c:v>83.3</c:v>
                </c:pt>
                <c:pt idx="8">
                  <c:v>93</c:v>
                </c:pt>
                <c:pt idx="9">
                  <c:v>99.800000000000011</c:v>
                </c:pt>
                <c:pt idx="10">
                  <c:v>100.5</c:v>
                </c:pt>
                <c:pt idx="11">
                  <c:v>105.3</c:v>
                </c:pt>
                <c:pt idx="12">
                  <c:v>106.6</c:v>
                </c:pt>
                <c:pt idx="13">
                  <c:v>116.2</c:v>
                </c:pt>
                <c:pt idx="14">
                  <c:v>119.9</c:v>
                </c:pt>
                <c:pt idx="15">
                  <c:v>120.4</c:v>
                </c:pt>
                <c:pt idx="16">
                  <c:v>124.6</c:v>
                </c:pt>
                <c:pt idx="17">
                  <c:v>135.1</c:v>
                </c:pt>
              </c:numCache>
            </c:numRef>
          </c:val>
          <c:smooth val="0"/>
        </c:ser>
        <c:dLbls>
          <c:showLegendKey val="0"/>
          <c:showVal val="1"/>
          <c:showCatName val="0"/>
          <c:showSerName val="0"/>
          <c:showPercent val="0"/>
          <c:showBubbleSize val="0"/>
        </c:dLbls>
        <c:marker val="1"/>
        <c:smooth val="0"/>
        <c:axId val="123456896"/>
        <c:axId val="123466880"/>
      </c:lineChart>
      <c:catAx>
        <c:axId val="123456896"/>
        <c:scaling>
          <c:orientation val="minMax"/>
        </c:scaling>
        <c:delete val="0"/>
        <c:axPos val="b"/>
        <c:numFmt formatCode="General" sourceLinked="0"/>
        <c:majorTickMark val="none"/>
        <c:minorTickMark val="none"/>
        <c:tickLblPos val="nextTo"/>
        <c:txPr>
          <a:bodyPr/>
          <a:lstStyle/>
          <a:p>
            <a:pPr>
              <a:defRPr sz="900"/>
            </a:pPr>
            <a:endParaRPr lang="id-ID"/>
          </a:p>
        </c:txPr>
        <c:crossAx val="123466880"/>
        <c:crosses val="autoZero"/>
        <c:auto val="1"/>
        <c:lblAlgn val="ctr"/>
        <c:lblOffset val="100"/>
        <c:noMultiLvlLbl val="0"/>
      </c:catAx>
      <c:valAx>
        <c:axId val="123466880"/>
        <c:scaling>
          <c:orientation val="minMax"/>
        </c:scaling>
        <c:delete val="1"/>
        <c:axPos val="l"/>
        <c:numFmt formatCode="0.00" sourceLinked="1"/>
        <c:majorTickMark val="out"/>
        <c:minorTickMark val="none"/>
        <c:tickLblPos val="none"/>
        <c:crossAx val="123456896"/>
        <c:crosses val="autoZero"/>
        <c:crossBetween val="between"/>
      </c:valAx>
    </c:plotArea>
    <c:legend>
      <c:legendPos val="t"/>
      <c:layout>
        <c:manualLayout>
          <c:xMode val="edge"/>
          <c:yMode val="edge"/>
          <c:x val="5.2827362671630899E-2"/>
          <c:y val="0.20885837246153899"/>
          <c:w val="0.498306606314318"/>
          <c:h val="8.3928174647261503E-2"/>
        </c:manualLayout>
      </c:layout>
      <c:overlay val="0"/>
    </c:legend>
    <c:plotVisOnly val="1"/>
    <c:dispBlanksAs val="gap"/>
    <c:showDLblsOverMax val="0"/>
  </c:chart>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5"/>
          <c:order val="4"/>
          <c:tx>
            <c:strRef>
              <c:f>Sheet1!$G$1</c:f>
              <c:strCache>
                <c:ptCount val="1"/>
                <c:pt idx="0">
                  <c:v>Dolar AS</c:v>
                </c:pt>
              </c:strCache>
            </c:strRef>
          </c:tx>
          <c:spPr>
            <a:solidFill>
              <a:schemeClr val="bg1">
                <a:lumMod val="75000"/>
              </a:schemeClr>
            </a:solidFill>
            <a:ln w="12700"/>
          </c:spP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G$2:$G$634</c:f>
              <c:numCache>
                <c:formatCode>General</c:formatCode>
                <c:ptCount val="633"/>
                <c:pt idx="0">
                  <c:v>100</c:v>
                </c:pt>
                <c:pt idx="1">
                  <c:v>100.651620312578</c:v>
                </c:pt>
                <c:pt idx="2">
                  <c:v>100.8525989913615</c:v>
                </c:pt>
                <c:pt idx="3">
                  <c:v>100.8525989913615</c:v>
                </c:pt>
                <c:pt idx="4">
                  <c:v>100.8525989913615</c:v>
                </c:pt>
                <c:pt idx="5">
                  <c:v>100.6790832376289</c:v>
                </c:pt>
                <c:pt idx="6">
                  <c:v>100.905028211914</c:v>
                </c:pt>
                <c:pt idx="7">
                  <c:v>101.14095970439909</c:v>
                </c:pt>
                <c:pt idx="8">
                  <c:v>101.1197383532228</c:v>
                </c:pt>
                <c:pt idx="9">
                  <c:v>100.6865731262794</c:v>
                </c:pt>
                <c:pt idx="10">
                  <c:v>100.6865731262794</c:v>
                </c:pt>
                <c:pt idx="11">
                  <c:v>100.6865731262794</c:v>
                </c:pt>
                <c:pt idx="12">
                  <c:v>100.5055674838967</c:v>
                </c:pt>
                <c:pt idx="13">
                  <c:v>100.6915663853798</c:v>
                </c:pt>
                <c:pt idx="14">
                  <c:v>101.1472012782743</c:v>
                </c:pt>
                <c:pt idx="15">
                  <c:v>101.001148449593</c:v>
                </c:pt>
                <c:pt idx="16">
                  <c:v>101.39436760373491</c:v>
                </c:pt>
                <c:pt idx="17">
                  <c:v>101.39436760373491</c:v>
                </c:pt>
                <c:pt idx="18">
                  <c:v>101.39436760373491</c:v>
                </c:pt>
                <c:pt idx="19">
                  <c:v>101.39436760373491</c:v>
                </c:pt>
                <c:pt idx="20">
                  <c:v>101.2358316273031</c:v>
                </c:pt>
                <c:pt idx="21">
                  <c:v>101.3219653467817</c:v>
                </c:pt>
                <c:pt idx="22">
                  <c:v>100.4119438757678</c:v>
                </c:pt>
                <c:pt idx="23">
                  <c:v>100.43691017126881</c:v>
                </c:pt>
                <c:pt idx="24">
                  <c:v>100.43691017126881</c:v>
                </c:pt>
                <c:pt idx="25">
                  <c:v>100.43691017126881</c:v>
                </c:pt>
                <c:pt idx="26">
                  <c:v>100.5192989464223</c:v>
                </c:pt>
                <c:pt idx="27">
                  <c:v>100.5742247965246</c:v>
                </c:pt>
                <c:pt idx="28">
                  <c:v>100.49558096569631</c:v>
                </c:pt>
                <c:pt idx="29">
                  <c:v>101.21960353522761</c:v>
                </c:pt>
                <c:pt idx="30">
                  <c:v>101.5017226743896</c:v>
                </c:pt>
                <c:pt idx="31">
                  <c:v>101.5017226743896</c:v>
                </c:pt>
                <c:pt idx="32">
                  <c:v>101.5017226743896</c:v>
                </c:pt>
                <c:pt idx="33">
                  <c:v>101.1247316123231</c:v>
                </c:pt>
                <c:pt idx="34">
                  <c:v>101.26454286712941</c:v>
                </c:pt>
                <c:pt idx="35">
                  <c:v>101.1584361112495</c:v>
                </c:pt>
                <c:pt idx="36">
                  <c:v>100.9961551904928</c:v>
                </c:pt>
                <c:pt idx="37">
                  <c:v>100.72776751385609</c:v>
                </c:pt>
                <c:pt idx="38">
                  <c:v>100.72776751385609</c:v>
                </c:pt>
                <c:pt idx="39">
                  <c:v>100.72776751385609</c:v>
                </c:pt>
                <c:pt idx="40">
                  <c:v>100.6666000898787</c:v>
                </c:pt>
                <c:pt idx="41">
                  <c:v>100.6616068307785</c:v>
                </c:pt>
                <c:pt idx="42">
                  <c:v>100.7127877365554</c:v>
                </c:pt>
                <c:pt idx="43">
                  <c:v>100.26838767663629</c:v>
                </c:pt>
                <c:pt idx="44">
                  <c:v>100.03495281370139</c:v>
                </c:pt>
                <c:pt idx="45">
                  <c:v>100.03495281370139</c:v>
                </c:pt>
                <c:pt idx="46">
                  <c:v>100.03495281370139</c:v>
                </c:pt>
                <c:pt idx="47">
                  <c:v>100.03495281370139</c:v>
                </c:pt>
                <c:pt idx="48">
                  <c:v>99.875168522494249</c:v>
                </c:pt>
                <c:pt idx="49">
                  <c:v>100.044939331902</c:v>
                </c:pt>
                <c:pt idx="50">
                  <c:v>100.2222000299595</c:v>
                </c:pt>
                <c:pt idx="51">
                  <c:v>100.1610326059818</c:v>
                </c:pt>
                <c:pt idx="52">
                  <c:v>100.1610326059818</c:v>
                </c:pt>
                <c:pt idx="53">
                  <c:v>100.1610326059818</c:v>
                </c:pt>
                <c:pt idx="54">
                  <c:v>100.11359664452991</c:v>
                </c:pt>
                <c:pt idx="55">
                  <c:v>100.03620112847651</c:v>
                </c:pt>
                <c:pt idx="56">
                  <c:v>100.4007090427922</c:v>
                </c:pt>
                <c:pt idx="57">
                  <c:v>100.2209517151844</c:v>
                </c:pt>
                <c:pt idx="58">
                  <c:v>99.479452738802578</c:v>
                </c:pt>
                <c:pt idx="59">
                  <c:v>99.479452738802578</c:v>
                </c:pt>
                <c:pt idx="60">
                  <c:v>99.479452738802578</c:v>
                </c:pt>
                <c:pt idx="61">
                  <c:v>99.961302241973414</c:v>
                </c:pt>
                <c:pt idx="62">
                  <c:v>100.07489888650299</c:v>
                </c:pt>
                <c:pt idx="63">
                  <c:v>100.001248314775</c:v>
                </c:pt>
                <c:pt idx="64">
                  <c:v>99.444499925101326</c:v>
                </c:pt>
                <c:pt idx="65">
                  <c:v>99.514405552504002</c:v>
                </c:pt>
                <c:pt idx="66">
                  <c:v>99.514405552504002</c:v>
                </c:pt>
                <c:pt idx="67">
                  <c:v>99.514405552504002</c:v>
                </c:pt>
                <c:pt idx="68">
                  <c:v>99.575572976481226</c:v>
                </c:pt>
                <c:pt idx="69">
                  <c:v>99.535626903680011</c:v>
                </c:pt>
                <c:pt idx="70">
                  <c:v>99.375842612472781</c:v>
                </c:pt>
                <c:pt idx="71">
                  <c:v>99.390822389773803</c:v>
                </c:pt>
                <c:pt idx="72">
                  <c:v>99.173615618914454</c:v>
                </c:pt>
                <c:pt idx="73">
                  <c:v>99.173615618914454</c:v>
                </c:pt>
                <c:pt idx="74">
                  <c:v>99.173615618914454</c:v>
                </c:pt>
                <c:pt idx="75">
                  <c:v>99.097468417636179</c:v>
                </c:pt>
                <c:pt idx="76">
                  <c:v>99.133669546112813</c:v>
                </c:pt>
                <c:pt idx="77">
                  <c:v>99.858940430418727</c:v>
                </c:pt>
                <c:pt idx="78">
                  <c:v>100.1048584411045</c:v>
                </c:pt>
                <c:pt idx="79">
                  <c:v>99.996255055674837</c:v>
                </c:pt>
                <c:pt idx="80">
                  <c:v>99.996255055674837</c:v>
                </c:pt>
                <c:pt idx="81">
                  <c:v>99.996255055674837</c:v>
                </c:pt>
                <c:pt idx="82">
                  <c:v>99.782793229140665</c:v>
                </c:pt>
                <c:pt idx="83">
                  <c:v>99.795276376890953</c:v>
                </c:pt>
                <c:pt idx="84">
                  <c:v>99.90512807709591</c:v>
                </c:pt>
                <c:pt idx="85">
                  <c:v>100.00374494432521</c:v>
                </c:pt>
                <c:pt idx="86">
                  <c:v>100.0848854047036</c:v>
                </c:pt>
                <c:pt idx="87">
                  <c:v>100.0848854047036</c:v>
                </c:pt>
                <c:pt idx="88">
                  <c:v>100.0848854047036</c:v>
                </c:pt>
                <c:pt idx="89">
                  <c:v>99.990013481799735</c:v>
                </c:pt>
                <c:pt idx="90">
                  <c:v>99.982523593149224</c:v>
                </c:pt>
                <c:pt idx="91">
                  <c:v>100.1335696809308</c:v>
                </c:pt>
                <c:pt idx="92">
                  <c:v>100.4581315224445</c:v>
                </c:pt>
                <c:pt idx="93">
                  <c:v>100.3932191541421</c:v>
                </c:pt>
                <c:pt idx="94">
                  <c:v>100.3932191541421</c:v>
                </c:pt>
                <c:pt idx="95">
                  <c:v>100.3932191541421</c:v>
                </c:pt>
                <c:pt idx="96">
                  <c:v>100.1547910321063</c:v>
                </c:pt>
                <c:pt idx="97">
                  <c:v>99.555599940080853</c:v>
                </c:pt>
                <c:pt idx="98">
                  <c:v>99.221051580366506</c:v>
                </c:pt>
                <c:pt idx="99">
                  <c:v>99.09497178808607</c:v>
                </c:pt>
                <c:pt idx="100">
                  <c:v>99.181105507564538</c:v>
                </c:pt>
                <c:pt idx="101">
                  <c:v>99.181105507564538</c:v>
                </c:pt>
                <c:pt idx="102">
                  <c:v>99.181105507564538</c:v>
                </c:pt>
                <c:pt idx="103">
                  <c:v>99.526888700254375</c:v>
                </c:pt>
                <c:pt idx="104">
                  <c:v>99.619263993608627</c:v>
                </c:pt>
                <c:pt idx="105">
                  <c:v>99.619263993608627</c:v>
                </c:pt>
                <c:pt idx="106">
                  <c:v>99.650471862984531</c:v>
                </c:pt>
                <c:pt idx="107">
                  <c:v>99.674189843710948</c:v>
                </c:pt>
                <c:pt idx="108">
                  <c:v>99.674189843710948</c:v>
                </c:pt>
                <c:pt idx="109">
                  <c:v>99.674189843710948</c:v>
                </c:pt>
                <c:pt idx="110">
                  <c:v>99.796524691666434</c:v>
                </c:pt>
                <c:pt idx="111">
                  <c:v>99.746592100664031</c:v>
                </c:pt>
                <c:pt idx="112">
                  <c:v>99.684176361911412</c:v>
                </c:pt>
                <c:pt idx="113">
                  <c:v>99.614270734508409</c:v>
                </c:pt>
                <c:pt idx="114">
                  <c:v>99.551854995755704</c:v>
                </c:pt>
                <c:pt idx="115">
                  <c:v>99.551854995755704</c:v>
                </c:pt>
                <c:pt idx="116">
                  <c:v>99.551854995755704</c:v>
                </c:pt>
                <c:pt idx="117">
                  <c:v>99.469466220602314</c:v>
                </c:pt>
                <c:pt idx="118">
                  <c:v>99.625505567483586</c:v>
                </c:pt>
                <c:pt idx="119">
                  <c:v>99.208568432615948</c:v>
                </c:pt>
                <c:pt idx="120">
                  <c:v>99.274729115693731</c:v>
                </c:pt>
                <c:pt idx="121">
                  <c:v>99.260997653168232</c:v>
                </c:pt>
                <c:pt idx="122">
                  <c:v>99.260997653168232</c:v>
                </c:pt>
                <c:pt idx="123">
                  <c:v>99.260997653168232</c:v>
                </c:pt>
                <c:pt idx="124">
                  <c:v>99.223548209916615</c:v>
                </c:pt>
                <c:pt idx="125">
                  <c:v>98.732960503320513</c:v>
                </c:pt>
                <c:pt idx="126">
                  <c:v>98.869026813801199</c:v>
                </c:pt>
                <c:pt idx="127">
                  <c:v>99.067508863034831</c:v>
                </c:pt>
                <c:pt idx="128">
                  <c:v>99.744095471114207</c:v>
                </c:pt>
                <c:pt idx="129">
                  <c:v>99.744095471114207</c:v>
                </c:pt>
                <c:pt idx="130">
                  <c:v>99.744095471114207</c:v>
                </c:pt>
                <c:pt idx="131">
                  <c:v>99.741598841563885</c:v>
                </c:pt>
                <c:pt idx="132">
                  <c:v>100.0436910171268</c:v>
                </c:pt>
                <c:pt idx="133">
                  <c:v>99.956308982873111</c:v>
                </c:pt>
                <c:pt idx="134">
                  <c:v>99.868926948619361</c:v>
                </c:pt>
                <c:pt idx="135">
                  <c:v>99.918859539621508</c:v>
                </c:pt>
                <c:pt idx="136">
                  <c:v>99.918859539621508</c:v>
                </c:pt>
                <c:pt idx="137">
                  <c:v>99.918859539621508</c:v>
                </c:pt>
                <c:pt idx="138">
                  <c:v>99.856443800868732</c:v>
                </c:pt>
                <c:pt idx="139">
                  <c:v>99.916362910071399</c:v>
                </c:pt>
                <c:pt idx="140">
                  <c:v>99.983771907924037</c:v>
                </c:pt>
                <c:pt idx="141">
                  <c:v>100.1822539571578</c:v>
                </c:pt>
                <c:pt idx="142">
                  <c:v>100.3557697108902</c:v>
                </c:pt>
                <c:pt idx="143">
                  <c:v>100.3557697108902</c:v>
                </c:pt>
                <c:pt idx="144">
                  <c:v>100.3557697108902</c:v>
                </c:pt>
                <c:pt idx="145">
                  <c:v>100.3557697108902</c:v>
                </c:pt>
                <c:pt idx="146">
                  <c:v>100.3045888051131</c:v>
                </c:pt>
                <c:pt idx="147">
                  <c:v>100.57796974084999</c:v>
                </c:pt>
                <c:pt idx="148">
                  <c:v>100.48184950317069</c:v>
                </c:pt>
                <c:pt idx="149">
                  <c:v>100.3258101562887</c:v>
                </c:pt>
                <c:pt idx="150">
                  <c:v>100.3258101562887</c:v>
                </c:pt>
                <c:pt idx="151">
                  <c:v>100.3258101562887</c:v>
                </c:pt>
                <c:pt idx="152">
                  <c:v>100.66909671942869</c:v>
                </c:pt>
                <c:pt idx="153">
                  <c:v>100.5567483896738</c:v>
                </c:pt>
                <c:pt idx="154">
                  <c:v>100.6928147001547</c:v>
                </c:pt>
                <c:pt idx="155">
                  <c:v>100.3283067858391</c:v>
                </c:pt>
                <c:pt idx="156">
                  <c:v>100.3757427472909</c:v>
                </c:pt>
                <c:pt idx="157">
                  <c:v>100.3757427472909</c:v>
                </c:pt>
                <c:pt idx="158">
                  <c:v>100.3757427472909</c:v>
                </c:pt>
                <c:pt idx="159">
                  <c:v>100.6803315524039</c:v>
                </c:pt>
                <c:pt idx="160">
                  <c:v>100.88880011983809</c:v>
                </c:pt>
                <c:pt idx="161">
                  <c:v>100.8488540470365</c:v>
                </c:pt>
                <c:pt idx="162">
                  <c:v>100.5842113147251</c:v>
                </c:pt>
                <c:pt idx="163">
                  <c:v>100.5842113147251</c:v>
                </c:pt>
                <c:pt idx="164">
                  <c:v>100.5842113147251</c:v>
                </c:pt>
                <c:pt idx="165">
                  <c:v>100.5842113147251</c:v>
                </c:pt>
                <c:pt idx="166">
                  <c:v>100.4531382633445</c:v>
                </c:pt>
                <c:pt idx="167">
                  <c:v>100.65037199780269</c:v>
                </c:pt>
                <c:pt idx="168">
                  <c:v>100.5941978329255</c:v>
                </c:pt>
                <c:pt idx="169">
                  <c:v>100.2608977879862</c:v>
                </c:pt>
                <c:pt idx="170">
                  <c:v>100.3295551006141</c:v>
                </c:pt>
                <c:pt idx="171">
                  <c:v>100.3295551006141</c:v>
                </c:pt>
                <c:pt idx="172">
                  <c:v>100.3295551006141</c:v>
                </c:pt>
                <c:pt idx="173">
                  <c:v>100.204723623109</c:v>
                </c:pt>
                <c:pt idx="174">
                  <c:v>100.2733809357366</c:v>
                </c:pt>
                <c:pt idx="175">
                  <c:v>100.14605282868111</c:v>
                </c:pt>
                <c:pt idx="176">
                  <c:v>100.13981125480601</c:v>
                </c:pt>
                <c:pt idx="177">
                  <c:v>99.913866280521304</c:v>
                </c:pt>
                <c:pt idx="178">
                  <c:v>99.913866280521304</c:v>
                </c:pt>
                <c:pt idx="179">
                  <c:v>99.913866280521304</c:v>
                </c:pt>
                <c:pt idx="180">
                  <c:v>99.584311179907132</c:v>
                </c:pt>
                <c:pt idx="181">
                  <c:v>99.634243770909265</c:v>
                </c:pt>
                <c:pt idx="182">
                  <c:v>99.810256154191762</c:v>
                </c:pt>
                <c:pt idx="183">
                  <c:v>100.1298247366055</c:v>
                </c:pt>
                <c:pt idx="184">
                  <c:v>100.2009786787835</c:v>
                </c:pt>
                <c:pt idx="185">
                  <c:v>100.2009786787835</c:v>
                </c:pt>
                <c:pt idx="186">
                  <c:v>100.2009786787835</c:v>
                </c:pt>
                <c:pt idx="187">
                  <c:v>100.137314625256</c:v>
                </c:pt>
                <c:pt idx="188">
                  <c:v>100.0886303490288</c:v>
                </c:pt>
                <c:pt idx="189">
                  <c:v>99.856443800868732</c:v>
                </c:pt>
                <c:pt idx="190">
                  <c:v>100.023717980726</c:v>
                </c:pt>
                <c:pt idx="191">
                  <c:v>100.0986168672292</c:v>
                </c:pt>
                <c:pt idx="192">
                  <c:v>100.0986168672292</c:v>
                </c:pt>
                <c:pt idx="193">
                  <c:v>100.0986168672292</c:v>
                </c:pt>
                <c:pt idx="194">
                  <c:v>100.09986518200429</c:v>
                </c:pt>
                <c:pt idx="195">
                  <c:v>100.35202476656509</c:v>
                </c:pt>
                <c:pt idx="196">
                  <c:v>100.5629899635492</c:v>
                </c:pt>
                <c:pt idx="197">
                  <c:v>100.49558096569631</c:v>
                </c:pt>
                <c:pt idx="198">
                  <c:v>100.5192989464223</c:v>
                </c:pt>
                <c:pt idx="199">
                  <c:v>100.5192989464223</c:v>
                </c:pt>
                <c:pt idx="200">
                  <c:v>100.5192989464223</c:v>
                </c:pt>
                <c:pt idx="201">
                  <c:v>100.5642382783243</c:v>
                </c:pt>
                <c:pt idx="202">
                  <c:v>100.8401158436111</c:v>
                </c:pt>
                <c:pt idx="203">
                  <c:v>100.8925450641634</c:v>
                </c:pt>
                <c:pt idx="204">
                  <c:v>100.95371248814099</c:v>
                </c:pt>
                <c:pt idx="205">
                  <c:v>101.1496979078244</c:v>
                </c:pt>
                <c:pt idx="206">
                  <c:v>101.1496979078244</c:v>
                </c:pt>
                <c:pt idx="207">
                  <c:v>101.1496979078244</c:v>
                </c:pt>
                <c:pt idx="208">
                  <c:v>101.1447046487242</c:v>
                </c:pt>
                <c:pt idx="209">
                  <c:v>101.38063614120939</c:v>
                </c:pt>
                <c:pt idx="210">
                  <c:v>101.65276876217089</c:v>
                </c:pt>
                <c:pt idx="211">
                  <c:v>101.6827283167721</c:v>
                </c:pt>
                <c:pt idx="212">
                  <c:v>101.49048784141409</c:v>
                </c:pt>
                <c:pt idx="213">
                  <c:v>101.49048784141409</c:v>
                </c:pt>
                <c:pt idx="214">
                  <c:v>101.49048784141409</c:v>
                </c:pt>
                <c:pt idx="215">
                  <c:v>101.52294402556549</c:v>
                </c:pt>
                <c:pt idx="216">
                  <c:v>101.52294402556549</c:v>
                </c:pt>
                <c:pt idx="217">
                  <c:v>101.6677485394715</c:v>
                </c:pt>
                <c:pt idx="218">
                  <c:v>101.7676137214762</c:v>
                </c:pt>
                <c:pt idx="219">
                  <c:v>101.5990912268437</c:v>
                </c:pt>
                <c:pt idx="220">
                  <c:v>101.5990912268437</c:v>
                </c:pt>
                <c:pt idx="221">
                  <c:v>101.5990912268437</c:v>
                </c:pt>
                <c:pt idx="222">
                  <c:v>101.6952114645229</c:v>
                </c:pt>
                <c:pt idx="223">
                  <c:v>101.73765416687471</c:v>
                </c:pt>
                <c:pt idx="224">
                  <c:v>101.8574923852799</c:v>
                </c:pt>
                <c:pt idx="225">
                  <c:v>101.84750586707941</c:v>
                </c:pt>
                <c:pt idx="226">
                  <c:v>101.6427822439706</c:v>
                </c:pt>
                <c:pt idx="227">
                  <c:v>101.6427822439706</c:v>
                </c:pt>
                <c:pt idx="228">
                  <c:v>101.6427822439706</c:v>
                </c:pt>
                <c:pt idx="229">
                  <c:v>101.8325260897788</c:v>
                </c:pt>
                <c:pt idx="230">
                  <c:v>102.21575872572031</c:v>
                </c:pt>
                <c:pt idx="231">
                  <c:v>102.6439306935637</c:v>
                </c:pt>
                <c:pt idx="232">
                  <c:v>102.5540520297597</c:v>
                </c:pt>
                <c:pt idx="233">
                  <c:v>102.7812453188196</c:v>
                </c:pt>
                <c:pt idx="234">
                  <c:v>102.7812453188196</c:v>
                </c:pt>
                <c:pt idx="235">
                  <c:v>102.7812453188196</c:v>
                </c:pt>
                <c:pt idx="236">
                  <c:v>103.0471363659061</c:v>
                </c:pt>
                <c:pt idx="237">
                  <c:v>103.17321615818619</c:v>
                </c:pt>
                <c:pt idx="238">
                  <c:v>102.8960902781245</c:v>
                </c:pt>
                <c:pt idx="239">
                  <c:v>102.9572577021023</c:v>
                </c:pt>
                <c:pt idx="240">
                  <c:v>103.29555100614169</c:v>
                </c:pt>
                <c:pt idx="241">
                  <c:v>103.29555100614169</c:v>
                </c:pt>
                <c:pt idx="242">
                  <c:v>103.29555100614169</c:v>
                </c:pt>
                <c:pt idx="243">
                  <c:v>103.29555100614169</c:v>
                </c:pt>
                <c:pt idx="244">
                  <c:v>103.60013981125461</c:v>
                </c:pt>
                <c:pt idx="245">
                  <c:v>103.4416038348231</c:v>
                </c:pt>
                <c:pt idx="246">
                  <c:v>104.63374444499919</c:v>
                </c:pt>
                <c:pt idx="247">
                  <c:v>104.53263094822</c:v>
                </c:pt>
                <c:pt idx="248">
                  <c:v>104.53263094822</c:v>
                </c:pt>
                <c:pt idx="249">
                  <c:v>104.53263094822</c:v>
                </c:pt>
                <c:pt idx="250">
                  <c:v>105.1480501323211</c:v>
                </c:pt>
                <c:pt idx="251">
                  <c:v>105.2054726119738</c:v>
                </c:pt>
                <c:pt idx="252">
                  <c:v>105.2117141858492</c:v>
                </c:pt>
                <c:pt idx="253">
                  <c:v>105.23043890747471</c:v>
                </c:pt>
                <c:pt idx="254">
                  <c:v>105.1580366505215</c:v>
                </c:pt>
                <c:pt idx="255">
                  <c:v>105.1580366505215</c:v>
                </c:pt>
                <c:pt idx="256">
                  <c:v>105.1580366505215</c:v>
                </c:pt>
                <c:pt idx="257">
                  <c:v>105.1879962051231</c:v>
                </c:pt>
                <c:pt idx="258">
                  <c:v>104.95081639786289</c:v>
                </c:pt>
                <c:pt idx="259">
                  <c:v>105.2891097019025</c:v>
                </c:pt>
                <c:pt idx="260">
                  <c:v>105.26164677685119</c:v>
                </c:pt>
                <c:pt idx="261">
                  <c:v>105.7759524641733</c:v>
                </c:pt>
                <c:pt idx="262">
                  <c:v>105.7759524641733</c:v>
                </c:pt>
                <c:pt idx="263">
                  <c:v>105.7759524641733</c:v>
                </c:pt>
                <c:pt idx="264">
                  <c:v>105.7971738153493</c:v>
                </c:pt>
                <c:pt idx="265">
                  <c:v>105.6798322264938</c:v>
                </c:pt>
                <c:pt idx="266">
                  <c:v>106.1529435262395</c:v>
                </c:pt>
                <c:pt idx="267">
                  <c:v>106.350177260698</c:v>
                </c:pt>
                <c:pt idx="268">
                  <c:v>106.90567733559671</c:v>
                </c:pt>
                <c:pt idx="269">
                  <c:v>106.90567733559671</c:v>
                </c:pt>
                <c:pt idx="270">
                  <c:v>106.90567733559671</c:v>
                </c:pt>
                <c:pt idx="271">
                  <c:v>106.8445099116194</c:v>
                </c:pt>
                <c:pt idx="272">
                  <c:v>107.2751785090128</c:v>
                </c:pt>
                <c:pt idx="273">
                  <c:v>107.3201178409147</c:v>
                </c:pt>
                <c:pt idx="274">
                  <c:v>106.8569930593698</c:v>
                </c:pt>
                <c:pt idx="275">
                  <c:v>108.2214011085034</c:v>
                </c:pt>
                <c:pt idx="276">
                  <c:v>108.2214011085034</c:v>
                </c:pt>
                <c:pt idx="277">
                  <c:v>108.2214011085034</c:v>
                </c:pt>
                <c:pt idx="278">
                  <c:v>107.2651919908125</c:v>
                </c:pt>
                <c:pt idx="279">
                  <c:v>106.9456234083991</c:v>
                </c:pt>
                <c:pt idx="280">
                  <c:v>106.47750536775349</c:v>
                </c:pt>
                <c:pt idx="281">
                  <c:v>106.7583761921403</c:v>
                </c:pt>
                <c:pt idx="282">
                  <c:v>107.2452189544115</c:v>
                </c:pt>
                <c:pt idx="283">
                  <c:v>107.2452189544115</c:v>
                </c:pt>
                <c:pt idx="284">
                  <c:v>107.2452189544115</c:v>
                </c:pt>
                <c:pt idx="285">
                  <c:v>106.7708593398911</c:v>
                </c:pt>
                <c:pt idx="286">
                  <c:v>107.1328706246565</c:v>
                </c:pt>
                <c:pt idx="287">
                  <c:v>106.29025815149549</c:v>
                </c:pt>
                <c:pt idx="288">
                  <c:v>106.05058171468509</c:v>
                </c:pt>
                <c:pt idx="289">
                  <c:v>106.2440705048185</c:v>
                </c:pt>
                <c:pt idx="290">
                  <c:v>106.2440705048185</c:v>
                </c:pt>
                <c:pt idx="291">
                  <c:v>106.2440705048185</c:v>
                </c:pt>
                <c:pt idx="292">
                  <c:v>106.0480850851352</c:v>
                </c:pt>
                <c:pt idx="293">
                  <c:v>106.48499525640381</c:v>
                </c:pt>
                <c:pt idx="294">
                  <c:v>107.0317571278774</c:v>
                </c:pt>
                <c:pt idx="295">
                  <c:v>107.1590852349327</c:v>
                </c:pt>
                <c:pt idx="296">
                  <c:v>107.02052229490189</c:v>
                </c:pt>
                <c:pt idx="297">
                  <c:v>107.02052229490189</c:v>
                </c:pt>
                <c:pt idx="298">
                  <c:v>107.02052229490189</c:v>
                </c:pt>
                <c:pt idx="299">
                  <c:v>106.7246716932142</c:v>
                </c:pt>
                <c:pt idx="300">
                  <c:v>106.6160683077842</c:v>
                </c:pt>
                <c:pt idx="301">
                  <c:v>107.2951515454137</c:v>
                </c:pt>
                <c:pt idx="302">
                  <c:v>107.53857292654899</c:v>
                </c:pt>
                <c:pt idx="303">
                  <c:v>108.4997753033405</c:v>
                </c:pt>
                <c:pt idx="304">
                  <c:v>108.4997753033405</c:v>
                </c:pt>
                <c:pt idx="305">
                  <c:v>108.4997753033405</c:v>
                </c:pt>
                <c:pt idx="306">
                  <c:v>108.9891146951616</c:v>
                </c:pt>
                <c:pt idx="307">
                  <c:v>108.583412393269</c:v>
                </c:pt>
                <c:pt idx="308">
                  <c:v>109.1576371897937</c:v>
                </c:pt>
                <c:pt idx="309">
                  <c:v>109.86667998202429</c:v>
                </c:pt>
                <c:pt idx="310">
                  <c:v>109.4048035152544</c:v>
                </c:pt>
                <c:pt idx="311">
                  <c:v>109.4048035152544</c:v>
                </c:pt>
                <c:pt idx="312">
                  <c:v>109.4048035152544</c:v>
                </c:pt>
                <c:pt idx="313">
                  <c:v>109.61452039746339</c:v>
                </c:pt>
                <c:pt idx="314">
                  <c:v>109.26624057522341</c:v>
                </c:pt>
                <c:pt idx="315">
                  <c:v>109.6295001747639</c:v>
                </c:pt>
                <c:pt idx="316">
                  <c:v>109.4447495880562</c:v>
                </c:pt>
                <c:pt idx="317">
                  <c:v>109.25875068657309</c:v>
                </c:pt>
                <c:pt idx="318">
                  <c:v>109.25875068657309</c:v>
                </c:pt>
                <c:pt idx="319">
                  <c:v>109.25875068657309</c:v>
                </c:pt>
                <c:pt idx="320">
                  <c:v>109.7593249113696</c:v>
                </c:pt>
                <c:pt idx="321">
                  <c:v>109.321166425326</c:v>
                </c:pt>
                <c:pt idx="322">
                  <c:v>109.4110450891298</c:v>
                </c:pt>
                <c:pt idx="323">
                  <c:v>109.3411394617268</c:v>
                </c:pt>
                <c:pt idx="324">
                  <c:v>110.2386777849903</c:v>
                </c:pt>
                <c:pt idx="325">
                  <c:v>110.2386777849903</c:v>
                </c:pt>
                <c:pt idx="326">
                  <c:v>110.2386777849903</c:v>
                </c:pt>
                <c:pt idx="327">
                  <c:v>110.0401957357567</c:v>
                </c:pt>
                <c:pt idx="328">
                  <c:v>109.75183502271931</c:v>
                </c:pt>
                <c:pt idx="329">
                  <c:v>109.3611124981276</c:v>
                </c:pt>
                <c:pt idx="330">
                  <c:v>109.3611124981276</c:v>
                </c:pt>
                <c:pt idx="331">
                  <c:v>110.2961002646428</c:v>
                </c:pt>
                <c:pt idx="332">
                  <c:v>110.2961002646428</c:v>
                </c:pt>
                <c:pt idx="333">
                  <c:v>110.2961002646428</c:v>
                </c:pt>
                <c:pt idx="334">
                  <c:v>109.78429120687071</c:v>
                </c:pt>
                <c:pt idx="335">
                  <c:v>110.6593598641833</c:v>
                </c:pt>
                <c:pt idx="336">
                  <c:v>111.04508912967491</c:v>
                </c:pt>
                <c:pt idx="337">
                  <c:v>110.7305138063614</c:v>
                </c:pt>
                <c:pt idx="338">
                  <c:v>111.51695211464521</c:v>
                </c:pt>
                <c:pt idx="339">
                  <c:v>111.51695211464521</c:v>
                </c:pt>
                <c:pt idx="340">
                  <c:v>111.51695211464521</c:v>
                </c:pt>
                <c:pt idx="341">
                  <c:v>111.1511958855544</c:v>
                </c:pt>
                <c:pt idx="342">
                  <c:v>110.7130373995107</c:v>
                </c:pt>
                <c:pt idx="343">
                  <c:v>110.18999350876319</c:v>
                </c:pt>
                <c:pt idx="344">
                  <c:v>110.6793329005838</c:v>
                </c:pt>
                <c:pt idx="345">
                  <c:v>110.3048384680681</c:v>
                </c:pt>
                <c:pt idx="346">
                  <c:v>110.3048384680681</c:v>
                </c:pt>
                <c:pt idx="347">
                  <c:v>110.3048384680681</c:v>
                </c:pt>
                <c:pt idx="348">
                  <c:v>110.4259250012484</c:v>
                </c:pt>
                <c:pt idx="349">
                  <c:v>110.0077395516053</c:v>
                </c:pt>
                <c:pt idx="350">
                  <c:v>111.2660408448594</c:v>
                </c:pt>
                <c:pt idx="351">
                  <c:v>111.39336895191489</c:v>
                </c:pt>
                <c:pt idx="352">
                  <c:v>111.84650721525939</c:v>
                </c:pt>
                <c:pt idx="353">
                  <c:v>111.84650721525939</c:v>
                </c:pt>
                <c:pt idx="354">
                  <c:v>111.84650721525939</c:v>
                </c:pt>
                <c:pt idx="355">
                  <c:v>112.0612173565686</c:v>
                </c:pt>
                <c:pt idx="356">
                  <c:v>112.42822190043439</c:v>
                </c:pt>
                <c:pt idx="357">
                  <c:v>112.3071353672542</c:v>
                </c:pt>
                <c:pt idx="358">
                  <c:v>112.142357816947</c:v>
                </c:pt>
                <c:pt idx="359">
                  <c:v>112.3857791980823</c:v>
                </c:pt>
                <c:pt idx="360">
                  <c:v>112.3857791980823</c:v>
                </c:pt>
                <c:pt idx="361">
                  <c:v>112.3857791980823</c:v>
                </c:pt>
                <c:pt idx="362">
                  <c:v>112.5855095620912</c:v>
                </c:pt>
                <c:pt idx="363">
                  <c:v>112.3370949218555</c:v>
                </c:pt>
                <c:pt idx="364">
                  <c:v>112.6841264293205</c:v>
                </c:pt>
                <c:pt idx="365">
                  <c:v>112.6928646327458</c:v>
                </c:pt>
                <c:pt idx="366">
                  <c:v>113.69650971188889</c:v>
                </c:pt>
                <c:pt idx="367">
                  <c:v>113.69650971188889</c:v>
                </c:pt>
                <c:pt idx="368">
                  <c:v>113.69650971188889</c:v>
                </c:pt>
                <c:pt idx="369">
                  <c:v>114.0685075148546</c:v>
                </c:pt>
                <c:pt idx="370">
                  <c:v>114.2195536026364</c:v>
                </c:pt>
                <c:pt idx="371">
                  <c:v>114.7076446796825</c:v>
                </c:pt>
                <c:pt idx="372">
                  <c:v>115.304339142158</c:v>
                </c:pt>
                <c:pt idx="373">
                  <c:v>114.76381884455959</c:v>
                </c:pt>
                <c:pt idx="374">
                  <c:v>114.76381884455959</c:v>
                </c:pt>
                <c:pt idx="375">
                  <c:v>114.76381884455959</c:v>
                </c:pt>
                <c:pt idx="376">
                  <c:v>114.8237379537622</c:v>
                </c:pt>
                <c:pt idx="377">
                  <c:v>115.2319368852051</c:v>
                </c:pt>
                <c:pt idx="378">
                  <c:v>115.045937983722</c:v>
                </c:pt>
                <c:pt idx="379">
                  <c:v>115.2843661057572</c:v>
                </c:pt>
                <c:pt idx="380">
                  <c:v>115.49408298796619</c:v>
                </c:pt>
                <c:pt idx="381">
                  <c:v>115.49408298796619</c:v>
                </c:pt>
                <c:pt idx="382">
                  <c:v>115.49408298796619</c:v>
                </c:pt>
                <c:pt idx="383">
                  <c:v>115.49408298796619</c:v>
                </c:pt>
                <c:pt idx="384">
                  <c:v>116.1506965596444</c:v>
                </c:pt>
                <c:pt idx="385">
                  <c:v>115.97343586158659</c:v>
                </c:pt>
                <c:pt idx="386">
                  <c:v>117.4377090927247</c:v>
                </c:pt>
                <c:pt idx="387">
                  <c:v>118.2928047136365</c:v>
                </c:pt>
                <c:pt idx="388">
                  <c:v>118.2928047136365</c:v>
                </c:pt>
                <c:pt idx="389">
                  <c:v>118.2928047136365</c:v>
                </c:pt>
                <c:pt idx="390">
                  <c:v>118.3427373046385</c:v>
                </c:pt>
                <c:pt idx="391">
                  <c:v>117.3690517800969</c:v>
                </c:pt>
                <c:pt idx="392">
                  <c:v>117.9245518549958</c:v>
                </c:pt>
                <c:pt idx="393">
                  <c:v>118.3177710091377</c:v>
                </c:pt>
                <c:pt idx="394">
                  <c:v>118.3452339341888</c:v>
                </c:pt>
                <c:pt idx="395">
                  <c:v>118.3452339341888</c:v>
                </c:pt>
                <c:pt idx="396">
                  <c:v>118.3452339341888</c:v>
                </c:pt>
                <c:pt idx="397">
                  <c:v>117.9707395016727</c:v>
                </c:pt>
                <c:pt idx="398">
                  <c:v>116.8422629450242</c:v>
                </c:pt>
                <c:pt idx="399">
                  <c:v>117.3241124481949</c:v>
                </c:pt>
                <c:pt idx="400">
                  <c:v>116.8035651869975</c:v>
                </c:pt>
                <c:pt idx="401">
                  <c:v>118.2129125680331</c:v>
                </c:pt>
                <c:pt idx="402">
                  <c:v>118.2129125680331</c:v>
                </c:pt>
                <c:pt idx="403">
                  <c:v>118.2129125680331</c:v>
                </c:pt>
                <c:pt idx="404">
                  <c:v>117.9020821890448</c:v>
                </c:pt>
                <c:pt idx="405">
                  <c:v>118.2878114545364</c:v>
                </c:pt>
                <c:pt idx="406">
                  <c:v>118.5711789084735</c:v>
                </c:pt>
                <c:pt idx="407">
                  <c:v>117.4589304439007</c:v>
                </c:pt>
                <c:pt idx="408">
                  <c:v>117.5925001248314</c:v>
                </c:pt>
                <c:pt idx="409">
                  <c:v>117.5925001248314</c:v>
                </c:pt>
                <c:pt idx="410">
                  <c:v>117.5925001248314</c:v>
                </c:pt>
                <c:pt idx="411">
                  <c:v>117.5925001248314</c:v>
                </c:pt>
                <c:pt idx="412">
                  <c:v>117.4177360563239</c:v>
                </c:pt>
                <c:pt idx="413">
                  <c:v>117.5887551805062</c:v>
                </c:pt>
                <c:pt idx="414">
                  <c:v>117.8459080241674</c:v>
                </c:pt>
                <c:pt idx="415">
                  <c:v>117.6574124931342</c:v>
                </c:pt>
                <c:pt idx="416">
                  <c:v>117.6574124931342</c:v>
                </c:pt>
                <c:pt idx="417">
                  <c:v>117.6574124931342</c:v>
                </c:pt>
                <c:pt idx="418">
                  <c:v>118.0518799620511</c:v>
                </c:pt>
                <c:pt idx="419">
                  <c:v>117.9570080391473</c:v>
                </c:pt>
                <c:pt idx="420">
                  <c:v>117.6074799021321</c:v>
                </c:pt>
                <c:pt idx="421">
                  <c:v>118.954411544415</c:v>
                </c:pt>
                <c:pt idx="422">
                  <c:v>118.95565985919011</c:v>
                </c:pt>
                <c:pt idx="423">
                  <c:v>118.95565985919011</c:v>
                </c:pt>
                <c:pt idx="424">
                  <c:v>118.95565985919011</c:v>
                </c:pt>
                <c:pt idx="425">
                  <c:v>119.1666250561742</c:v>
                </c:pt>
                <c:pt idx="426">
                  <c:v>119.0680081889448</c:v>
                </c:pt>
                <c:pt idx="427">
                  <c:v>119.7945273880262</c:v>
                </c:pt>
                <c:pt idx="428">
                  <c:v>120.3100813901232</c:v>
                </c:pt>
                <c:pt idx="429">
                  <c:v>121.8542467668647</c:v>
                </c:pt>
                <c:pt idx="430">
                  <c:v>121.8542467668647</c:v>
                </c:pt>
                <c:pt idx="431">
                  <c:v>121.8542467668647</c:v>
                </c:pt>
                <c:pt idx="432">
                  <c:v>121.82054226793829</c:v>
                </c:pt>
                <c:pt idx="433">
                  <c:v>123.1063064862436</c:v>
                </c:pt>
                <c:pt idx="434">
                  <c:v>124.5755729764813</c:v>
                </c:pt>
                <c:pt idx="435">
                  <c:v>124.1261796574623</c:v>
                </c:pt>
                <c:pt idx="436">
                  <c:v>125.2434213811356</c:v>
                </c:pt>
                <c:pt idx="437">
                  <c:v>125.2434213811356</c:v>
                </c:pt>
                <c:pt idx="438">
                  <c:v>125.2434213811356</c:v>
                </c:pt>
                <c:pt idx="439">
                  <c:v>124.33714485444651</c:v>
                </c:pt>
                <c:pt idx="440">
                  <c:v>124.3134268737204</c:v>
                </c:pt>
                <c:pt idx="441">
                  <c:v>123.0214210815399</c:v>
                </c:pt>
                <c:pt idx="442">
                  <c:v>123.9077245718281</c:v>
                </c:pt>
                <c:pt idx="443">
                  <c:v>122.22125131073049</c:v>
                </c:pt>
                <c:pt idx="444">
                  <c:v>122.22125131073049</c:v>
                </c:pt>
                <c:pt idx="445">
                  <c:v>122.22125131073049</c:v>
                </c:pt>
                <c:pt idx="446">
                  <c:v>121.1277275677834</c:v>
                </c:pt>
                <c:pt idx="447">
                  <c:v>121.3274579317921</c:v>
                </c:pt>
                <c:pt idx="448">
                  <c:v>121.0603185699306</c:v>
                </c:pt>
                <c:pt idx="449">
                  <c:v>121.63079842213</c:v>
                </c:pt>
                <c:pt idx="450">
                  <c:v>121.4497927797474</c:v>
                </c:pt>
                <c:pt idx="451">
                  <c:v>121.4497927797474</c:v>
                </c:pt>
                <c:pt idx="452">
                  <c:v>121.4497927797474</c:v>
                </c:pt>
                <c:pt idx="453">
                  <c:v>122.303640085884</c:v>
                </c:pt>
                <c:pt idx="454">
                  <c:v>122.7804963299545</c:v>
                </c:pt>
                <c:pt idx="455">
                  <c:v>122.5657861886453</c:v>
                </c:pt>
                <c:pt idx="456">
                  <c:v>121.63079842213</c:v>
                </c:pt>
                <c:pt idx="457">
                  <c:v>120.5185499575573</c:v>
                </c:pt>
                <c:pt idx="458">
                  <c:v>120.5185499575573</c:v>
                </c:pt>
                <c:pt idx="459">
                  <c:v>120.5185499575573</c:v>
                </c:pt>
                <c:pt idx="460">
                  <c:v>120.8081589853697</c:v>
                </c:pt>
                <c:pt idx="461">
                  <c:v>122.1226344435012</c:v>
                </c:pt>
                <c:pt idx="462">
                  <c:v>122.25994906875719</c:v>
                </c:pt>
                <c:pt idx="463">
                  <c:v>123.7766515204474</c:v>
                </c:pt>
                <c:pt idx="464">
                  <c:v>124.0050931242822</c:v>
                </c:pt>
                <c:pt idx="465">
                  <c:v>124.0050931242822</c:v>
                </c:pt>
                <c:pt idx="466">
                  <c:v>124.0050931242822</c:v>
                </c:pt>
                <c:pt idx="467">
                  <c:v>124.19483697009041</c:v>
                </c:pt>
                <c:pt idx="468">
                  <c:v>123.24986268537511</c:v>
                </c:pt>
                <c:pt idx="469">
                  <c:v>122.73306036850251</c:v>
                </c:pt>
                <c:pt idx="470">
                  <c:v>121.6045838118539</c:v>
                </c:pt>
                <c:pt idx="471">
                  <c:v>121.7356568632346</c:v>
                </c:pt>
                <c:pt idx="472">
                  <c:v>121.7356568632346</c:v>
                </c:pt>
                <c:pt idx="473">
                  <c:v>121.7356568632346</c:v>
                </c:pt>
                <c:pt idx="474">
                  <c:v>122.26119738353221</c:v>
                </c:pt>
                <c:pt idx="475">
                  <c:v>122.3398412143606</c:v>
                </c:pt>
                <c:pt idx="476">
                  <c:v>122.2499625505566</c:v>
                </c:pt>
                <c:pt idx="477">
                  <c:v>121.4335646876717</c:v>
                </c:pt>
                <c:pt idx="478">
                  <c:v>120.9891646277526</c:v>
                </c:pt>
                <c:pt idx="479">
                  <c:v>120.9891646277526</c:v>
                </c:pt>
                <c:pt idx="480">
                  <c:v>120.9891646277526</c:v>
                </c:pt>
                <c:pt idx="481">
                  <c:v>120.79317920806911</c:v>
                </c:pt>
                <c:pt idx="482">
                  <c:v>119.953063364458</c:v>
                </c:pt>
                <c:pt idx="483">
                  <c:v>118.8508014180855</c:v>
                </c:pt>
                <c:pt idx="484">
                  <c:v>118.090577720078</c:v>
                </c:pt>
                <c:pt idx="485">
                  <c:v>118.9606531182903</c:v>
                </c:pt>
                <c:pt idx="486">
                  <c:v>118.9606531182903</c:v>
                </c:pt>
                <c:pt idx="487">
                  <c:v>118.9606531182903</c:v>
                </c:pt>
                <c:pt idx="488">
                  <c:v>119.18909472212511</c:v>
                </c:pt>
                <c:pt idx="489">
                  <c:v>118.68477555300321</c:v>
                </c:pt>
                <c:pt idx="490">
                  <c:v>117.4501922404753</c:v>
                </c:pt>
                <c:pt idx="491">
                  <c:v>118.13426873720481</c:v>
                </c:pt>
                <c:pt idx="492">
                  <c:v>118.3327507864382</c:v>
                </c:pt>
                <c:pt idx="493">
                  <c:v>118.3327507864382</c:v>
                </c:pt>
                <c:pt idx="494">
                  <c:v>118.3327507864382</c:v>
                </c:pt>
                <c:pt idx="495">
                  <c:v>118.6036350926247</c:v>
                </c:pt>
                <c:pt idx="496">
                  <c:v>118.0081889449243</c:v>
                </c:pt>
                <c:pt idx="497">
                  <c:v>116.8634842962001</c:v>
                </c:pt>
                <c:pt idx="498">
                  <c:v>116.6637539321914</c:v>
                </c:pt>
                <c:pt idx="499">
                  <c:v>116.2617965746242</c:v>
                </c:pt>
                <c:pt idx="500">
                  <c:v>116.2617965746242</c:v>
                </c:pt>
                <c:pt idx="501">
                  <c:v>116.2617965746242</c:v>
                </c:pt>
                <c:pt idx="502">
                  <c:v>117.6174664203326</c:v>
                </c:pt>
                <c:pt idx="503">
                  <c:v>118.92320367503901</c:v>
                </c:pt>
                <c:pt idx="504">
                  <c:v>119.14914864932339</c:v>
                </c:pt>
                <c:pt idx="505">
                  <c:v>118.9082238977382</c:v>
                </c:pt>
                <c:pt idx="506">
                  <c:v>119.85569481200361</c:v>
                </c:pt>
                <c:pt idx="507">
                  <c:v>119.85569481200361</c:v>
                </c:pt>
                <c:pt idx="508">
                  <c:v>119.85569481200361</c:v>
                </c:pt>
                <c:pt idx="509">
                  <c:v>119.85569481200361</c:v>
                </c:pt>
                <c:pt idx="510">
                  <c:v>121.4597792979478</c:v>
                </c:pt>
                <c:pt idx="511">
                  <c:v>121.54965796175161</c:v>
                </c:pt>
                <c:pt idx="512">
                  <c:v>121.0428421630797</c:v>
                </c:pt>
                <c:pt idx="513">
                  <c:v>120.9704399061266</c:v>
                </c:pt>
                <c:pt idx="514">
                  <c:v>120.9704399061266</c:v>
                </c:pt>
                <c:pt idx="515">
                  <c:v>120.9704399061266</c:v>
                </c:pt>
                <c:pt idx="516">
                  <c:v>121.57587257202739</c:v>
                </c:pt>
                <c:pt idx="517">
                  <c:v>119.6322464672692</c:v>
                </c:pt>
                <c:pt idx="518">
                  <c:v>119.17037000049891</c:v>
                </c:pt>
                <c:pt idx="519">
                  <c:v>119.165376741399</c:v>
                </c:pt>
                <c:pt idx="520">
                  <c:v>120.2202027263195</c:v>
                </c:pt>
                <c:pt idx="521">
                  <c:v>120.2202027263195</c:v>
                </c:pt>
                <c:pt idx="522">
                  <c:v>120.2202027263195</c:v>
                </c:pt>
                <c:pt idx="523">
                  <c:v>118.9631497478405</c:v>
                </c:pt>
                <c:pt idx="524">
                  <c:v>118.7971238827584</c:v>
                </c:pt>
                <c:pt idx="525">
                  <c:v>118.1480001997303</c:v>
                </c:pt>
                <c:pt idx="526">
                  <c:v>118.55994407549809</c:v>
                </c:pt>
                <c:pt idx="527">
                  <c:v>118.55495081639781</c:v>
                </c:pt>
                <c:pt idx="528">
                  <c:v>118.55495081639781</c:v>
                </c:pt>
                <c:pt idx="529">
                  <c:v>118.55495081639781</c:v>
                </c:pt>
                <c:pt idx="530">
                  <c:v>118.3527238228391</c:v>
                </c:pt>
                <c:pt idx="531">
                  <c:v>118.5886553153242</c:v>
                </c:pt>
                <c:pt idx="532">
                  <c:v>117.7110900284616</c:v>
                </c:pt>
                <c:pt idx="533">
                  <c:v>117.3940180755979</c:v>
                </c:pt>
                <c:pt idx="534">
                  <c:v>117.44769561092539</c:v>
                </c:pt>
                <c:pt idx="535">
                  <c:v>117.44769561092539</c:v>
                </c:pt>
                <c:pt idx="536">
                  <c:v>117.44769561092539</c:v>
                </c:pt>
                <c:pt idx="537">
                  <c:v>117.75228441603829</c:v>
                </c:pt>
                <c:pt idx="538">
                  <c:v>119.1291756129225</c:v>
                </c:pt>
                <c:pt idx="539">
                  <c:v>118.9194587307135</c:v>
                </c:pt>
                <c:pt idx="540">
                  <c:v>118.8233384930341</c:v>
                </c:pt>
                <c:pt idx="541">
                  <c:v>119.1791082039244</c:v>
                </c:pt>
                <c:pt idx="542">
                  <c:v>119.1791082039244</c:v>
                </c:pt>
                <c:pt idx="543">
                  <c:v>119.1791082039244</c:v>
                </c:pt>
                <c:pt idx="544">
                  <c:v>118.32775752733809</c:v>
                </c:pt>
                <c:pt idx="545">
                  <c:v>119.19533629600021</c:v>
                </c:pt>
                <c:pt idx="546">
                  <c:v>120.2251959854197</c:v>
                </c:pt>
                <c:pt idx="547">
                  <c:v>119.979277974734</c:v>
                </c:pt>
                <c:pt idx="548">
                  <c:v>119.979277974734</c:v>
                </c:pt>
                <c:pt idx="549">
                  <c:v>119.979277974734</c:v>
                </c:pt>
                <c:pt idx="550">
                  <c:v>119.979277974734</c:v>
                </c:pt>
                <c:pt idx="551">
                  <c:v>120.21021620811921</c:v>
                </c:pt>
                <c:pt idx="552">
                  <c:v>120.9180106855746</c:v>
                </c:pt>
                <c:pt idx="553">
                  <c:v>120.205222949019</c:v>
                </c:pt>
                <c:pt idx="554">
                  <c:v>120.5946971588355</c:v>
                </c:pt>
                <c:pt idx="555">
                  <c:v>119.8694262745293</c:v>
                </c:pt>
                <c:pt idx="556">
                  <c:v>119.8694262745293</c:v>
                </c:pt>
                <c:pt idx="557">
                  <c:v>119.8694262745293</c:v>
                </c:pt>
                <c:pt idx="558">
                  <c:v>120.90927248214911</c:v>
                </c:pt>
                <c:pt idx="559">
                  <c:v>120.6408848055126</c:v>
                </c:pt>
                <c:pt idx="560">
                  <c:v>121.2937534328656</c:v>
                </c:pt>
                <c:pt idx="561">
                  <c:v>121.9204074499427</c:v>
                </c:pt>
                <c:pt idx="562">
                  <c:v>122.1625805163029</c:v>
                </c:pt>
                <c:pt idx="563">
                  <c:v>122.1625805163029</c:v>
                </c:pt>
                <c:pt idx="564">
                  <c:v>122.1625805163029</c:v>
                </c:pt>
                <c:pt idx="565">
                  <c:v>122.37104908373691</c:v>
                </c:pt>
                <c:pt idx="566">
                  <c:v>121.4959804264242</c:v>
                </c:pt>
                <c:pt idx="567">
                  <c:v>121.83302541568879</c:v>
                </c:pt>
                <c:pt idx="568">
                  <c:v>121.230089379338</c:v>
                </c:pt>
                <c:pt idx="569">
                  <c:v>121.3911219853201</c:v>
                </c:pt>
                <c:pt idx="570">
                  <c:v>121.3911219853201</c:v>
                </c:pt>
                <c:pt idx="571">
                  <c:v>121.3911219853201</c:v>
                </c:pt>
                <c:pt idx="572">
                  <c:v>120.46487242223</c:v>
                </c:pt>
                <c:pt idx="573">
                  <c:v>120.8019174114944</c:v>
                </c:pt>
                <c:pt idx="574">
                  <c:v>121.0565736256054</c:v>
                </c:pt>
                <c:pt idx="575">
                  <c:v>121.7855894542368</c:v>
                </c:pt>
                <c:pt idx="576">
                  <c:v>121.5059669446246</c:v>
                </c:pt>
                <c:pt idx="577">
                  <c:v>121.5059669446246</c:v>
                </c:pt>
                <c:pt idx="578">
                  <c:v>121.5059669446246</c:v>
                </c:pt>
                <c:pt idx="579">
                  <c:v>121.7032006790832</c:v>
                </c:pt>
                <c:pt idx="580">
                  <c:v>122.2487142357817</c:v>
                </c:pt>
                <c:pt idx="581">
                  <c:v>122.282418734708</c:v>
                </c:pt>
                <c:pt idx="582">
                  <c:v>122.1263793878262</c:v>
                </c:pt>
                <c:pt idx="583">
                  <c:v>121.78933439856171</c:v>
                </c:pt>
                <c:pt idx="584">
                  <c:v>121.78933439856171</c:v>
                </c:pt>
                <c:pt idx="585">
                  <c:v>121.78933439856171</c:v>
                </c:pt>
                <c:pt idx="586">
                  <c:v>121.2850152294403</c:v>
                </c:pt>
                <c:pt idx="587">
                  <c:v>121.4485444649726</c:v>
                </c:pt>
                <c:pt idx="588">
                  <c:v>120.16527687621711</c:v>
                </c:pt>
                <c:pt idx="589">
                  <c:v>120.3937184800518</c:v>
                </c:pt>
                <c:pt idx="590">
                  <c:v>120.48734208818099</c:v>
                </c:pt>
                <c:pt idx="591">
                  <c:v>120.48734208818099</c:v>
                </c:pt>
                <c:pt idx="592">
                  <c:v>120.48734208818099</c:v>
                </c:pt>
                <c:pt idx="593">
                  <c:v>120.84436011384631</c:v>
                </c:pt>
                <c:pt idx="594">
                  <c:v>121.136465771209</c:v>
                </c:pt>
                <c:pt idx="595">
                  <c:v>120.2863634093975</c:v>
                </c:pt>
                <c:pt idx="596">
                  <c:v>119.813252109652</c:v>
                </c:pt>
                <c:pt idx="597">
                  <c:v>118.59989014829981</c:v>
                </c:pt>
                <c:pt idx="598">
                  <c:v>118.59989014829981</c:v>
                </c:pt>
                <c:pt idx="599">
                  <c:v>118.59989014829981</c:v>
                </c:pt>
                <c:pt idx="600">
                  <c:v>116.5077145853101</c:v>
                </c:pt>
                <c:pt idx="601">
                  <c:v>118.0031956858241</c:v>
                </c:pt>
                <c:pt idx="602">
                  <c:v>118.7147351076046</c:v>
                </c:pt>
                <c:pt idx="603">
                  <c:v>119.3513756428821</c:v>
                </c:pt>
                <c:pt idx="604">
                  <c:v>119.97053977130869</c:v>
                </c:pt>
                <c:pt idx="605">
                  <c:v>119.97053977130869</c:v>
                </c:pt>
                <c:pt idx="606">
                  <c:v>119.97053977130869</c:v>
                </c:pt>
                <c:pt idx="607">
                  <c:v>119.6185150047436</c:v>
                </c:pt>
                <c:pt idx="608">
                  <c:v>119.1516452788735</c:v>
                </c:pt>
                <c:pt idx="609">
                  <c:v>119.6235082638437</c:v>
                </c:pt>
                <c:pt idx="610">
                  <c:v>120.3437858890498</c:v>
                </c:pt>
                <c:pt idx="611">
                  <c:v>120.1240824886403</c:v>
                </c:pt>
                <c:pt idx="612">
                  <c:v>120.1240824886403</c:v>
                </c:pt>
                <c:pt idx="613">
                  <c:v>120.1240824886403</c:v>
                </c:pt>
                <c:pt idx="614">
                  <c:v>120.1240824886403</c:v>
                </c:pt>
                <c:pt idx="615">
                  <c:v>120.0629150646627</c:v>
                </c:pt>
              </c:numCache>
            </c:numRef>
          </c:val>
        </c:ser>
        <c:dLbls>
          <c:showLegendKey val="0"/>
          <c:showVal val="0"/>
          <c:showCatName val="0"/>
          <c:showSerName val="0"/>
          <c:showPercent val="0"/>
          <c:showBubbleSize val="0"/>
        </c:dLbls>
        <c:axId val="123688448"/>
        <c:axId val="123689984"/>
      </c:areaChart>
      <c:lineChart>
        <c:grouping val="standard"/>
        <c:varyColors val="0"/>
        <c:ser>
          <c:idx val="0"/>
          <c:order val="0"/>
          <c:tx>
            <c:strRef>
              <c:f>Sheet1!$B$1</c:f>
              <c:strCache>
                <c:ptCount val="1"/>
                <c:pt idx="0">
                  <c:v>Malaysia</c:v>
                </c:pt>
              </c:strCache>
            </c:strRef>
          </c:tx>
          <c:spPr>
            <a:ln w="12700">
              <a:solidFill>
                <a:srgbClr val="0000FF"/>
              </a:solidFill>
            </a:ln>
          </c:spPr>
          <c:marker>
            <c:symbol val="none"/>
          </c:marke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B$2:$B$634</c:f>
              <c:numCache>
                <c:formatCode>General</c:formatCode>
                <c:ptCount val="633"/>
                <c:pt idx="0">
                  <c:v>100</c:v>
                </c:pt>
                <c:pt idx="1">
                  <c:v>100.21961262772609</c:v>
                </c:pt>
                <c:pt idx="2">
                  <c:v>100.317218240049</c:v>
                </c:pt>
                <c:pt idx="3">
                  <c:v>100.317218240049</c:v>
                </c:pt>
                <c:pt idx="4">
                  <c:v>100.317218240049</c:v>
                </c:pt>
                <c:pt idx="5">
                  <c:v>100.2287631538811</c:v>
                </c:pt>
                <c:pt idx="6">
                  <c:v>100.1769101723346</c:v>
                </c:pt>
                <c:pt idx="7">
                  <c:v>99.9420466676834</c:v>
                </c:pt>
                <c:pt idx="8">
                  <c:v>99.923745615372866</c:v>
                </c:pt>
                <c:pt idx="9">
                  <c:v>99.725484215342377</c:v>
                </c:pt>
                <c:pt idx="10">
                  <c:v>99.725484215342377</c:v>
                </c:pt>
                <c:pt idx="11">
                  <c:v>99.725484215342377</c:v>
                </c:pt>
                <c:pt idx="12">
                  <c:v>99.554674393777645</c:v>
                </c:pt>
                <c:pt idx="13">
                  <c:v>99.493670886075932</c:v>
                </c:pt>
                <c:pt idx="14">
                  <c:v>100.24706420619199</c:v>
                </c:pt>
                <c:pt idx="15">
                  <c:v>100.5856336739362</c:v>
                </c:pt>
                <c:pt idx="16">
                  <c:v>100.5307305170044</c:v>
                </c:pt>
                <c:pt idx="17">
                  <c:v>100.5307305170044</c:v>
                </c:pt>
                <c:pt idx="18">
                  <c:v>100.5307305170044</c:v>
                </c:pt>
                <c:pt idx="19">
                  <c:v>101.18651822479789</c:v>
                </c:pt>
                <c:pt idx="20">
                  <c:v>101.4335824309897</c:v>
                </c:pt>
                <c:pt idx="21">
                  <c:v>101.3817294494434</c:v>
                </c:pt>
                <c:pt idx="22">
                  <c:v>101.6165929540948</c:v>
                </c:pt>
                <c:pt idx="23">
                  <c:v>101.6745462864114</c:v>
                </c:pt>
                <c:pt idx="24">
                  <c:v>101.6745462864114</c:v>
                </c:pt>
                <c:pt idx="25">
                  <c:v>101.6745462864114</c:v>
                </c:pt>
                <c:pt idx="26">
                  <c:v>102.0832697880131</c:v>
                </c:pt>
                <c:pt idx="27">
                  <c:v>101.71419856641759</c:v>
                </c:pt>
                <c:pt idx="28">
                  <c:v>101.766051547964</c:v>
                </c:pt>
                <c:pt idx="29">
                  <c:v>102.1381729449442</c:v>
                </c:pt>
                <c:pt idx="30">
                  <c:v>101.97651364953479</c:v>
                </c:pt>
                <c:pt idx="31">
                  <c:v>101.97651364953479</c:v>
                </c:pt>
                <c:pt idx="32">
                  <c:v>101.97651364953479</c:v>
                </c:pt>
                <c:pt idx="33">
                  <c:v>102.0741192618576</c:v>
                </c:pt>
                <c:pt idx="34">
                  <c:v>101.5555894463932</c:v>
                </c:pt>
                <c:pt idx="35">
                  <c:v>101.25972243404</c:v>
                </c:pt>
                <c:pt idx="36">
                  <c:v>101.39393015098349</c:v>
                </c:pt>
                <c:pt idx="37">
                  <c:v>101.57084032331861</c:v>
                </c:pt>
                <c:pt idx="38">
                  <c:v>101.57084032331861</c:v>
                </c:pt>
                <c:pt idx="39">
                  <c:v>101.57084032331861</c:v>
                </c:pt>
                <c:pt idx="40">
                  <c:v>101.83010523105079</c:v>
                </c:pt>
                <c:pt idx="41">
                  <c:v>101.65624523410099</c:v>
                </c:pt>
                <c:pt idx="42">
                  <c:v>101.3420771694372</c:v>
                </c:pt>
                <c:pt idx="43">
                  <c:v>101.3420771694372</c:v>
                </c:pt>
                <c:pt idx="44">
                  <c:v>100.8509989324383</c:v>
                </c:pt>
                <c:pt idx="45">
                  <c:v>100.8509989324383</c:v>
                </c:pt>
                <c:pt idx="46">
                  <c:v>100.8509989324383</c:v>
                </c:pt>
                <c:pt idx="47">
                  <c:v>100.48802806161351</c:v>
                </c:pt>
                <c:pt idx="48">
                  <c:v>100.7625438462712</c:v>
                </c:pt>
                <c:pt idx="49">
                  <c:v>100.4941284123837</c:v>
                </c:pt>
                <c:pt idx="50">
                  <c:v>100.9455543693764</c:v>
                </c:pt>
                <c:pt idx="51">
                  <c:v>100.51547964007931</c:v>
                </c:pt>
                <c:pt idx="52">
                  <c:v>100.51547964007931</c:v>
                </c:pt>
                <c:pt idx="53">
                  <c:v>100.51547964007931</c:v>
                </c:pt>
                <c:pt idx="54">
                  <c:v>100.16470947079461</c:v>
                </c:pt>
                <c:pt idx="55">
                  <c:v>100.0518529815464</c:v>
                </c:pt>
                <c:pt idx="56">
                  <c:v>99.762086319963302</c:v>
                </c:pt>
                <c:pt idx="57">
                  <c:v>100.04880280616111</c:v>
                </c:pt>
                <c:pt idx="58">
                  <c:v>99.954247369223722</c:v>
                </c:pt>
                <c:pt idx="59">
                  <c:v>99.954247369223722</c:v>
                </c:pt>
                <c:pt idx="60">
                  <c:v>99.954247369223722</c:v>
                </c:pt>
                <c:pt idx="61">
                  <c:v>100.10370596309291</c:v>
                </c:pt>
                <c:pt idx="62">
                  <c:v>99.893243861522024</c:v>
                </c:pt>
                <c:pt idx="63">
                  <c:v>99.804788775354353</c:v>
                </c:pt>
                <c:pt idx="64">
                  <c:v>99.48147018453561</c:v>
                </c:pt>
                <c:pt idx="65">
                  <c:v>99.368613695287635</c:v>
                </c:pt>
                <c:pt idx="66">
                  <c:v>99.368613695287635</c:v>
                </c:pt>
                <c:pt idx="67">
                  <c:v>99.368613695287635</c:v>
                </c:pt>
                <c:pt idx="68">
                  <c:v>100.1464084184838</c:v>
                </c:pt>
                <c:pt idx="69">
                  <c:v>100.0579533323166</c:v>
                </c:pt>
                <c:pt idx="70">
                  <c:v>100.3446698185145</c:v>
                </c:pt>
                <c:pt idx="71">
                  <c:v>99.86274210767084</c:v>
                </c:pt>
                <c:pt idx="72">
                  <c:v>100.04880280616111</c:v>
                </c:pt>
                <c:pt idx="73">
                  <c:v>100.04880280616111</c:v>
                </c:pt>
                <c:pt idx="74">
                  <c:v>100.04880280616111</c:v>
                </c:pt>
                <c:pt idx="75">
                  <c:v>99.993899649229931</c:v>
                </c:pt>
                <c:pt idx="76">
                  <c:v>99.86274210767084</c:v>
                </c:pt>
                <c:pt idx="77">
                  <c:v>99.990849473844733</c:v>
                </c:pt>
                <c:pt idx="78">
                  <c:v>100.6100350770168</c:v>
                </c:pt>
                <c:pt idx="79">
                  <c:v>100.9150526155254</c:v>
                </c:pt>
                <c:pt idx="80">
                  <c:v>100.9150526155254</c:v>
                </c:pt>
                <c:pt idx="81">
                  <c:v>100.9150526155254</c:v>
                </c:pt>
                <c:pt idx="82">
                  <c:v>100.6252859539423</c:v>
                </c:pt>
                <c:pt idx="83">
                  <c:v>100.8204971785875</c:v>
                </c:pt>
                <c:pt idx="84">
                  <c:v>100.62833612932739</c:v>
                </c:pt>
                <c:pt idx="85">
                  <c:v>100.4117736769864</c:v>
                </c:pt>
                <c:pt idx="86">
                  <c:v>99.816989476894861</c:v>
                </c:pt>
                <c:pt idx="87">
                  <c:v>99.816989476894861</c:v>
                </c:pt>
                <c:pt idx="88">
                  <c:v>99.816989476894861</c:v>
                </c:pt>
                <c:pt idx="89">
                  <c:v>99.572975446087895</c:v>
                </c:pt>
                <c:pt idx="90">
                  <c:v>99.484520359920722</c:v>
                </c:pt>
                <c:pt idx="91">
                  <c:v>99.765136495348614</c:v>
                </c:pt>
                <c:pt idx="92">
                  <c:v>100.16470947079461</c:v>
                </c:pt>
                <c:pt idx="93">
                  <c:v>100.0518529815464</c:v>
                </c:pt>
                <c:pt idx="94">
                  <c:v>100.0518529815464</c:v>
                </c:pt>
                <c:pt idx="95">
                  <c:v>100.0518529815464</c:v>
                </c:pt>
                <c:pt idx="96">
                  <c:v>99.762086319963302</c:v>
                </c:pt>
                <c:pt idx="97">
                  <c:v>98.825682476742301</c:v>
                </c:pt>
                <c:pt idx="98">
                  <c:v>98.444410553606829</c:v>
                </c:pt>
                <c:pt idx="99">
                  <c:v>98.304102485893026</c:v>
                </c:pt>
                <c:pt idx="100">
                  <c:v>98.734177215189732</c:v>
                </c:pt>
                <c:pt idx="101">
                  <c:v>98.734177215189732</c:v>
                </c:pt>
                <c:pt idx="102">
                  <c:v>98.734177215189732</c:v>
                </c:pt>
                <c:pt idx="103">
                  <c:v>99.152051242946314</c:v>
                </c:pt>
                <c:pt idx="104">
                  <c:v>98.947689492146026</c:v>
                </c:pt>
                <c:pt idx="105">
                  <c:v>98.877535458288762</c:v>
                </c:pt>
                <c:pt idx="106">
                  <c:v>98.740277565960199</c:v>
                </c:pt>
                <c:pt idx="107">
                  <c:v>98.840933353667808</c:v>
                </c:pt>
                <c:pt idx="108">
                  <c:v>98.840933353667808</c:v>
                </c:pt>
                <c:pt idx="109">
                  <c:v>98.840933353667808</c:v>
                </c:pt>
                <c:pt idx="110">
                  <c:v>99.133750190635709</c:v>
                </c:pt>
                <c:pt idx="111">
                  <c:v>99.65228000610017</c:v>
                </c:pt>
                <c:pt idx="112">
                  <c:v>99.609577550708877</c:v>
                </c:pt>
                <c:pt idx="113">
                  <c:v>99.725484215342377</c:v>
                </c:pt>
                <c:pt idx="114">
                  <c:v>99.734634741497743</c:v>
                </c:pt>
                <c:pt idx="115">
                  <c:v>99.734634741497743</c:v>
                </c:pt>
                <c:pt idx="116">
                  <c:v>99.734634741497743</c:v>
                </c:pt>
                <c:pt idx="117">
                  <c:v>99.609577550708877</c:v>
                </c:pt>
                <c:pt idx="118">
                  <c:v>99.405215799908646</c:v>
                </c:pt>
                <c:pt idx="119">
                  <c:v>99.603477199938737</c:v>
                </c:pt>
                <c:pt idx="120">
                  <c:v>99.466219307610331</c:v>
                </c:pt>
                <c:pt idx="121">
                  <c:v>99.609577550708877</c:v>
                </c:pt>
                <c:pt idx="122">
                  <c:v>99.609577550708877</c:v>
                </c:pt>
                <c:pt idx="123">
                  <c:v>99.609577550708877</c:v>
                </c:pt>
                <c:pt idx="124">
                  <c:v>99.298459661430513</c:v>
                </c:pt>
                <c:pt idx="125">
                  <c:v>99.25270703065388</c:v>
                </c:pt>
                <c:pt idx="126">
                  <c:v>99.130700015250639</c:v>
                </c:pt>
                <c:pt idx="127">
                  <c:v>98.764678969040816</c:v>
                </c:pt>
                <c:pt idx="128">
                  <c:v>98.450510904377225</c:v>
                </c:pt>
                <c:pt idx="129">
                  <c:v>98.450510904377225</c:v>
                </c:pt>
                <c:pt idx="130">
                  <c:v>98.450510904377225</c:v>
                </c:pt>
                <c:pt idx="131">
                  <c:v>98.786030196736036</c:v>
                </c:pt>
                <c:pt idx="132">
                  <c:v>98.703675461339131</c:v>
                </c:pt>
                <c:pt idx="133">
                  <c:v>98.179045295104402</c:v>
                </c:pt>
                <c:pt idx="134">
                  <c:v>98.398657922830552</c:v>
                </c:pt>
                <c:pt idx="135">
                  <c:v>98.627421076711698</c:v>
                </c:pt>
                <c:pt idx="136">
                  <c:v>98.627421076711698</c:v>
                </c:pt>
                <c:pt idx="137">
                  <c:v>98.627421076711698</c:v>
                </c:pt>
                <c:pt idx="138">
                  <c:v>97.935031264297706</c:v>
                </c:pt>
                <c:pt idx="139">
                  <c:v>98.224797925880708</c:v>
                </c:pt>
                <c:pt idx="140">
                  <c:v>98.093640384322214</c:v>
                </c:pt>
                <c:pt idx="141">
                  <c:v>97.977733719688729</c:v>
                </c:pt>
                <c:pt idx="142">
                  <c:v>97.956382491993281</c:v>
                </c:pt>
                <c:pt idx="143">
                  <c:v>97.956382491993281</c:v>
                </c:pt>
                <c:pt idx="144">
                  <c:v>97.956382491993281</c:v>
                </c:pt>
                <c:pt idx="145">
                  <c:v>97.910629861217373</c:v>
                </c:pt>
                <c:pt idx="146">
                  <c:v>98.124142138172786</c:v>
                </c:pt>
                <c:pt idx="147">
                  <c:v>98.313253012048165</c:v>
                </c:pt>
                <c:pt idx="148">
                  <c:v>98.047887753545808</c:v>
                </c:pt>
                <c:pt idx="149">
                  <c:v>98.002135122769275</c:v>
                </c:pt>
                <c:pt idx="150">
                  <c:v>98.002135122769275</c:v>
                </c:pt>
                <c:pt idx="151">
                  <c:v>98.002135122769275</c:v>
                </c:pt>
                <c:pt idx="152">
                  <c:v>98.468811956687432</c:v>
                </c:pt>
                <c:pt idx="153">
                  <c:v>98.505414061308613</c:v>
                </c:pt>
                <c:pt idx="154">
                  <c:v>98.801281073661542</c:v>
                </c:pt>
                <c:pt idx="155">
                  <c:v>98.468811956687432</c:v>
                </c:pt>
                <c:pt idx="156">
                  <c:v>97.977733719688729</c:v>
                </c:pt>
                <c:pt idx="157">
                  <c:v>97.977733719688729</c:v>
                </c:pt>
                <c:pt idx="158">
                  <c:v>97.977733719688729</c:v>
                </c:pt>
                <c:pt idx="159">
                  <c:v>97.596461796553129</c:v>
                </c:pt>
                <c:pt idx="160">
                  <c:v>97.78862284581362</c:v>
                </c:pt>
                <c:pt idx="161">
                  <c:v>97.986884245844124</c:v>
                </c:pt>
                <c:pt idx="162">
                  <c:v>97.849626353515333</c:v>
                </c:pt>
                <c:pt idx="163">
                  <c:v>98.16989476894922</c:v>
                </c:pt>
                <c:pt idx="164">
                  <c:v>98.16989476894922</c:v>
                </c:pt>
                <c:pt idx="165">
                  <c:v>98.16989476894922</c:v>
                </c:pt>
                <c:pt idx="166">
                  <c:v>98.368156168979709</c:v>
                </c:pt>
                <c:pt idx="167">
                  <c:v>98.261400030501662</c:v>
                </c:pt>
                <c:pt idx="168">
                  <c:v>98.642671953637262</c:v>
                </c:pt>
                <c:pt idx="169">
                  <c:v>98.002135122769275</c:v>
                </c:pt>
                <c:pt idx="170">
                  <c:v>98.322403538203332</c:v>
                </c:pt>
                <c:pt idx="171">
                  <c:v>98.322403538203332</c:v>
                </c:pt>
                <c:pt idx="172">
                  <c:v>98.322403538203332</c:v>
                </c:pt>
                <c:pt idx="173">
                  <c:v>98.200396522800048</c:v>
                </c:pt>
                <c:pt idx="174">
                  <c:v>98.017385999694952</c:v>
                </c:pt>
                <c:pt idx="175">
                  <c:v>98.352905292054004</c:v>
                </c:pt>
                <c:pt idx="176">
                  <c:v>98.16989476894922</c:v>
                </c:pt>
                <c:pt idx="177">
                  <c:v>98.017385999694952</c:v>
                </c:pt>
                <c:pt idx="178">
                  <c:v>98.017385999694952</c:v>
                </c:pt>
                <c:pt idx="179">
                  <c:v>98.017385999694952</c:v>
                </c:pt>
                <c:pt idx="180">
                  <c:v>97.941131615068031</c:v>
                </c:pt>
                <c:pt idx="181">
                  <c:v>97.809974073508997</c:v>
                </c:pt>
                <c:pt idx="182">
                  <c:v>97.742870215037357</c:v>
                </c:pt>
                <c:pt idx="183">
                  <c:v>97.462254079609565</c:v>
                </c:pt>
                <c:pt idx="184">
                  <c:v>97.178587768796405</c:v>
                </c:pt>
                <c:pt idx="185">
                  <c:v>97.178587768796405</c:v>
                </c:pt>
                <c:pt idx="186">
                  <c:v>97.178587768796405</c:v>
                </c:pt>
                <c:pt idx="187">
                  <c:v>97.27009303034923</c:v>
                </c:pt>
                <c:pt idx="188">
                  <c:v>96.727161811804152</c:v>
                </c:pt>
                <c:pt idx="189">
                  <c:v>96.766814091810431</c:v>
                </c:pt>
                <c:pt idx="190">
                  <c:v>96.910172334909248</c:v>
                </c:pt>
                <c:pt idx="191">
                  <c:v>97.172487418026151</c:v>
                </c:pt>
                <c:pt idx="192">
                  <c:v>97.172487418026151</c:v>
                </c:pt>
                <c:pt idx="193">
                  <c:v>97.172487418026151</c:v>
                </c:pt>
                <c:pt idx="194">
                  <c:v>97.041329876467884</c:v>
                </c:pt>
                <c:pt idx="195">
                  <c:v>97.276193381119427</c:v>
                </c:pt>
                <c:pt idx="196">
                  <c:v>97.224340399572952</c:v>
                </c:pt>
                <c:pt idx="197">
                  <c:v>96.888821107213602</c:v>
                </c:pt>
                <c:pt idx="198">
                  <c:v>97.093182858014231</c:v>
                </c:pt>
                <c:pt idx="199">
                  <c:v>97.093182858014231</c:v>
                </c:pt>
                <c:pt idx="200">
                  <c:v>97.093182858014231</c:v>
                </c:pt>
                <c:pt idx="201">
                  <c:v>96.81256672258634</c:v>
                </c:pt>
                <c:pt idx="202">
                  <c:v>96.879670581058349</c:v>
                </c:pt>
                <c:pt idx="203">
                  <c:v>96.614305322555765</c:v>
                </c:pt>
                <c:pt idx="204">
                  <c:v>96.843068476437381</c:v>
                </c:pt>
                <c:pt idx="205">
                  <c:v>96.843068476437381</c:v>
                </c:pt>
                <c:pt idx="206">
                  <c:v>96.843068476437381</c:v>
                </c:pt>
                <c:pt idx="207">
                  <c:v>96.843068476437381</c:v>
                </c:pt>
                <c:pt idx="208">
                  <c:v>96.833917950282128</c:v>
                </c:pt>
                <c:pt idx="209">
                  <c:v>96.833917950282128</c:v>
                </c:pt>
                <c:pt idx="210">
                  <c:v>97.071831630318741</c:v>
                </c:pt>
                <c:pt idx="211">
                  <c:v>97.474454781150015</c:v>
                </c:pt>
                <c:pt idx="212">
                  <c:v>97.971633368918873</c:v>
                </c:pt>
                <c:pt idx="213">
                  <c:v>97.971633368918873</c:v>
                </c:pt>
                <c:pt idx="214">
                  <c:v>97.971633368918873</c:v>
                </c:pt>
                <c:pt idx="215">
                  <c:v>97.666615830410208</c:v>
                </c:pt>
                <c:pt idx="216">
                  <c:v>97.224340399572952</c:v>
                </c:pt>
                <c:pt idx="217">
                  <c:v>97.569010218087513</c:v>
                </c:pt>
                <c:pt idx="218">
                  <c:v>97.828275125819601</c:v>
                </c:pt>
                <c:pt idx="219">
                  <c:v>97.874027756595737</c:v>
                </c:pt>
                <c:pt idx="220">
                  <c:v>97.874027756595737</c:v>
                </c:pt>
                <c:pt idx="221">
                  <c:v>97.874027756595737</c:v>
                </c:pt>
                <c:pt idx="222">
                  <c:v>97.514107061156025</c:v>
                </c:pt>
                <c:pt idx="223">
                  <c:v>97.431752325758708</c:v>
                </c:pt>
                <c:pt idx="224">
                  <c:v>97.407350922678063</c:v>
                </c:pt>
                <c:pt idx="225">
                  <c:v>96.9803263687662</c:v>
                </c:pt>
                <c:pt idx="226">
                  <c:v>96.193381119414042</c:v>
                </c:pt>
                <c:pt idx="227">
                  <c:v>96.193381119414042</c:v>
                </c:pt>
                <c:pt idx="228">
                  <c:v>96.193381119414042</c:v>
                </c:pt>
                <c:pt idx="229">
                  <c:v>96.2787860301964</c:v>
                </c:pt>
                <c:pt idx="230">
                  <c:v>96.272685679426502</c:v>
                </c:pt>
                <c:pt idx="231">
                  <c:v>96.599054445630713</c:v>
                </c:pt>
                <c:pt idx="232">
                  <c:v>96.721061461034026</c:v>
                </c:pt>
                <c:pt idx="233">
                  <c:v>96.416043922525546</c:v>
                </c:pt>
                <c:pt idx="234">
                  <c:v>96.416043922525546</c:v>
                </c:pt>
                <c:pt idx="235">
                  <c:v>96.416043922525546</c:v>
                </c:pt>
                <c:pt idx="236">
                  <c:v>96.477047430227231</c:v>
                </c:pt>
                <c:pt idx="237">
                  <c:v>96.385542168674405</c:v>
                </c:pt>
                <c:pt idx="238">
                  <c:v>95.967668140918235</c:v>
                </c:pt>
                <c:pt idx="239">
                  <c:v>96.080524630166224</c:v>
                </c:pt>
                <c:pt idx="240">
                  <c:v>96.141528137867908</c:v>
                </c:pt>
                <c:pt idx="241">
                  <c:v>96.141528137867908</c:v>
                </c:pt>
                <c:pt idx="242">
                  <c:v>96.141528137867908</c:v>
                </c:pt>
                <c:pt idx="243">
                  <c:v>96.257434802500896</c:v>
                </c:pt>
                <c:pt idx="244">
                  <c:v>96.919322861064515</c:v>
                </c:pt>
                <c:pt idx="245">
                  <c:v>97.026078999542449</c:v>
                </c:pt>
                <c:pt idx="246">
                  <c:v>96.934573737989908</c:v>
                </c:pt>
                <c:pt idx="247">
                  <c:v>97.071831630318741</c:v>
                </c:pt>
                <c:pt idx="248">
                  <c:v>97.071831630318741</c:v>
                </c:pt>
                <c:pt idx="249">
                  <c:v>97.071831630318741</c:v>
                </c:pt>
                <c:pt idx="250">
                  <c:v>96.81256672258634</c:v>
                </c:pt>
                <c:pt idx="251">
                  <c:v>97.401250571908093</c:v>
                </c:pt>
                <c:pt idx="252">
                  <c:v>97.721518987341753</c:v>
                </c:pt>
                <c:pt idx="253">
                  <c:v>97.413451273448231</c:v>
                </c:pt>
                <c:pt idx="254">
                  <c:v>97.520207411926179</c:v>
                </c:pt>
                <c:pt idx="255">
                  <c:v>97.520207411926179</c:v>
                </c:pt>
                <c:pt idx="256">
                  <c:v>97.520207411926179</c:v>
                </c:pt>
                <c:pt idx="257">
                  <c:v>98.490163184383306</c:v>
                </c:pt>
                <c:pt idx="258">
                  <c:v>98.474912307457515</c:v>
                </c:pt>
                <c:pt idx="259">
                  <c:v>98.139393015098349</c:v>
                </c:pt>
                <c:pt idx="260">
                  <c:v>98.459661430532265</c:v>
                </c:pt>
                <c:pt idx="261">
                  <c:v>98.642671953637262</c:v>
                </c:pt>
                <c:pt idx="262">
                  <c:v>98.642671953637262</c:v>
                </c:pt>
                <c:pt idx="263">
                  <c:v>98.642671953637262</c:v>
                </c:pt>
                <c:pt idx="264">
                  <c:v>98.978191245996641</c:v>
                </c:pt>
                <c:pt idx="265">
                  <c:v>98.953789842915953</c:v>
                </c:pt>
                <c:pt idx="266">
                  <c:v>98.901936861369535</c:v>
                </c:pt>
                <c:pt idx="267">
                  <c:v>99.261857556809431</c:v>
                </c:pt>
                <c:pt idx="268">
                  <c:v>99.435717553759048</c:v>
                </c:pt>
                <c:pt idx="269">
                  <c:v>99.435717553759048</c:v>
                </c:pt>
                <c:pt idx="270">
                  <c:v>99.435717553759048</c:v>
                </c:pt>
                <c:pt idx="271">
                  <c:v>100.04575263077631</c:v>
                </c:pt>
                <c:pt idx="272">
                  <c:v>100.0610035077017</c:v>
                </c:pt>
                <c:pt idx="273">
                  <c:v>99.856641756900842</c:v>
                </c:pt>
                <c:pt idx="274">
                  <c:v>99.10019826140001</c:v>
                </c:pt>
                <c:pt idx="275">
                  <c:v>99.380814396827731</c:v>
                </c:pt>
                <c:pt idx="276">
                  <c:v>99.380814396827731</c:v>
                </c:pt>
                <c:pt idx="277">
                  <c:v>99.380814396827731</c:v>
                </c:pt>
                <c:pt idx="278">
                  <c:v>99.374714046057562</c:v>
                </c:pt>
                <c:pt idx="279">
                  <c:v>99.405215799908646</c:v>
                </c:pt>
                <c:pt idx="280">
                  <c:v>99.801738599969298</c:v>
                </c:pt>
                <c:pt idx="281">
                  <c:v>98.941589141375843</c:v>
                </c:pt>
                <c:pt idx="282">
                  <c:v>99.368613695287635</c:v>
                </c:pt>
                <c:pt idx="283">
                  <c:v>99.368613695287635</c:v>
                </c:pt>
                <c:pt idx="284">
                  <c:v>99.368613695287635</c:v>
                </c:pt>
                <c:pt idx="285">
                  <c:v>99.48147018453561</c:v>
                </c:pt>
                <c:pt idx="286">
                  <c:v>99.664480707640678</c:v>
                </c:pt>
                <c:pt idx="287">
                  <c:v>99.969498246149143</c:v>
                </c:pt>
                <c:pt idx="288">
                  <c:v>100.1525087692541</c:v>
                </c:pt>
                <c:pt idx="289">
                  <c:v>99.86274210767084</c:v>
                </c:pt>
                <c:pt idx="290">
                  <c:v>99.86274210767084</c:v>
                </c:pt>
                <c:pt idx="291">
                  <c:v>99.86274210767084</c:v>
                </c:pt>
                <c:pt idx="292">
                  <c:v>99.807838950739423</c:v>
                </c:pt>
                <c:pt idx="293">
                  <c:v>99.511971938386452</c:v>
                </c:pt>
                <c:pt idx="294">
                  <c:v>99.496721061461031</c:v>
                </c:pt>
                <c:pt idx="295">
                  <c:v>99.86274210767084</c:v>
                </c:pt>
                <c:pt idx="296">
                  <c:v>99.98474912307455</c:v>
                </c:pt>
                <c:pt idx="297">
                  <c:v>99.98474912307455</c:v>
                </c:pt>
                <c:pt idx="298">
                  <c:v>99.98474912307455</c:v>
                </c:pt>
                <c:pt idx="299">
                  <c:v>99.938996492298301</c:v>
                </c:pt>
                <c:pt idx="300">
                  <c:v>99.877992984596531</c:v>
                </c:pt>
                <c:pt idx="301">
                  <c:v>99.816989476894861</c:v>
                </c:pt>
                <c:pt idx="302">
                  <c:v>100.27451578465759</c:v>
                </c:pt>
                <c:pt idx="303">
                  <c:v>100.33551929235929</c:v>
                </c:pt>
                <c:pt idx="304">
                  <c:v>100.33551929235929</c:v>
                </c:pt>
                <c:pt idx="305">
                  <c:v>100.33551929235929</c:v>
                </c:pt>
                <c:pt idx="306">
                  <c:v>101.2048192771085</c:v>
                </c:pt>
                <c:pt idx="307">
                  <c:v>101.54033856946771</c:v>
                </c:pt>
                <c:pt idx="308">
                  <c:v>102.0436175080067</c:v>
                </c:pt>
                <c:pt idx="309">
                  <c:v>101.7691017233491</c:v>
                </c:pt>
                <c:pt idx="310">
                  <c:v>102.0588683849321</c:v>
                </c:pt>
                <c:pt idx="311">
                  <c:v>102.0588683849321</c:v>
                </c:pt>
                <c:pt idx="312">
                  <c:v>102.0588683849321</c:v>
                </c:pt>
                <c:pt idx="313">
                  <c:v>101.586091200244</c:v>
                </c:pt>
                <c:pt idx="314">
                  <c:v>102.0832697880131</c:v>
                </c:pt>
                <c:pt idx="315">
                  <c:v>101.7385999694982</c:v>
                </c:pt>
                <c:pt idx="316">
                  <c:v>101.8453561079761</c:v>
                </c:pt>
                <c:pt idx="317">
                  <c:v>102.0893701387827</c:v>
                </c:pt>
                <c:pt idx="318">
                  <c:v>102.0893701387827</c:v>
                </c:pt>
                <c:pt idx="319">
                  <c:v>102.0893701387827</c:v>
                </c:pt>
                <c:pt idx="320">
                  <c:v>102.0893701387827</c:v>
                </c:pt>
                <c:pt idx="321">
                  <c:v>102.3791368003659</c:v>
                </c:pt>
                <c:pt idx="322">
                  <c:v>102.4858929388439</c:v>
                </c:pt>
                <c:pt idx="323">
                  <c:v>102.68415433887451</c:v>
                </c:pt>
                <c:pt idx="324">
                  <c:v>102.3486350465152</c:v>
                </c:pt>
                <c:pt idx="325">
                  <c:v>102.3486350465152</c:v>
                </c:pt>
                <c:pt idx="326">
                  <c:v>102.3486350465152</c:v>
                </c:pt>
                <c:pt idx="327">
                  <c:v>102.24187890803719</c:v>
                </c:pt>
                <c:pt idx="328">
                  <c:v>102.2571297849629</c:v>
                </c:pt>
                <c:pt idx="329">
                  <c:v>102.2632301357328</c:v>
                </c:pt>
                <c:pt idx="330">
                  <c:v>102.0741192618576</c:v>
                </c:pt>
                <c:pt idx="331">
                  <c:v>103.1935336281836</c:v>
                </c:pt>
                <c:pt idx="332">
                  <c:v>103.1935336281836</c:v>
                </c:pt>
                <c:pt idx="333">
                  <c:v>103.1935336281836</c:v>
                </c:pt>
                <c:pt idx="334">
                  <c:v>104.7430227238066</c:v>
                </c:pt>
                <c:pt idx="335">
                  <c:v>104.49900869299979</c:v>
                </c:pt>
                <c:pt idx="336">
                  <c:v>105.03278938538971</c:v>
                </c:pt>
                <c:pt idx="337">
                  <c:v>105.1090437700168</c:v>
                </c:pt>
                <c:pt idx="338">
                  <c:v>105.88073814244289</c:v>
                </c:pt>
                <c:pt idx="339">
                  <c:v>105.88073814244289</c:v>
                </c:pt>
                <c:pt idx="340">
                  <c:v>105.88073814244289</c:v>
                </c:pt>
                <c:pt idx="341">
                  <c:v>106.6188805856337</c:v>
                </c:pt>
                <c:pt idx="342">
                  <c:v>106.25895989019369</c:v>
                </c:pt>
                <c:pt idx="343">
                  <c:v>106.17050480402609</c:v>
                </c:pt>
                <c:pt idx="344">
                  <c:v>106.4267195363733</c:v>
                </c:pt>
                <c:pt idx="345">
                  <c:v>106.6188805856337</c:v>
                </c:pt>
                <c:pt idx="346">
                  <c:v>106.6188805856337</c:v>
                </c:pt>
                <c:pt idx="347">
                  <c:v>106.6188805856337</c:v>
                </c:pt>
                <c:pt idx="348">
                  <c:v>106.6646332164098</c:v>
                </c:pt>
                <c:pt idx="349">
                  <c:v>106.4206191856033</c:v>
                </c:pt>
                <c:pt idx="350">
                  <c:v>106.344364800976</c:v>
                </c:pt>
                <c:pt idx="351">
                  <c:v>105.64282446240659</c:v>
                </c:pt>
                <c:pt idx="352">
                  <c:v>106.03019673631231</c:v>
                </c:pt>
                <c:pt idx="353">
                  <c:v>106.03019673631231</c:v>
                </c:pt>
                <c:pt idx="354">
                  <c:v>106.03019673631231</c:v>
                </c:pt>
                <c:pt idx="355">
                  <c:v>106.3901174317523</c:v>
                </c:pt>
                <c:pt idx="356">
                  <c:v>106.634131462559</c:v>
                </c:pt>
                <c:pt idx="357">
                  <c:v>106.64938233948411</c:v>
                </c:pt>
                <c:pt idx="358">
                  <c:v>106.634131462559</c:v>
                </c:pt>
                <c:pt idx="359">
                  <c:v>106.4755223425345</c:v>
                </c:pt>
                <c:pt idx="360">
                  <c:v>106.4755223425345</c:v>
                </c:pt>
                <c:pt idx="361">
                  <c:v>106.4755223425345</c:v>
                </c:pt>
                <c:pt idx="362">
                  <c:v>106.6798840933352</c:v>
                </c:pt>
                <c:pt idx="363">
                  <c:v>106.6798840933352</c:v>
                </c:pt>
                <c:pt idx="364">
                  <c:v>106.67378374256501</c:v>
                </c:pt>
                <c:pt idx="365">
                  <c:v>106.64938233948411</c:v>
                </c:pt>
                <c:pt idx="366">
                  <c:v>107.25941741650119</c:v>
                </c:pt>
                <c:pt idx="367">
                  <c:v>107.25941741650119</c:v>
                </c:pt>
                <c:pt idx="368">
                  <c:v>107.25941741650119</c:v>
                </c:pt>
                <c:pt idx="369">
                  <c:v>107.78709775812111</c:v>
                </c:pt>
                <c:pt idx="370">
                  <c:v>108.48558792130549</c:v>
                </c:pt>
                <c:pt idx="371">
                  <c:v>109.25118194296169</c:v>
                </c:pt>
                <c:pt idx="372">
                  <c:v>108.78450510904381</c:v>
                </c:pt>
                <c:pt idx="373">
                  <c:v>108.6319963397894</c:v>
                </c:pt>
                <c:pt idx="374">
                  <c:v>108.6319963397894</c:v>
                </c:pt>
                <c:pt idx="375">
                  <c:v>108.6319963397894</c:v>
                </c:pt>
                <c:pt idx="376">
                  <c:v>108.7997559859693</c:v>
                </c:pt>
                <c:pt idx="377">
                  <c:v>109.6538050937928</c:v>
                </c:pt>
                <c:pt idx="378">
                  <c:v>109.6172029891721</c:v>
                </c:pt>
                <c:pt idx="379">
                  <c:v>108.54659142900741</c:v>
                </c:pt>
                <c:pt idx="380">
                  <c:v>108.54659142900741</c:v>
                </c:pt>
                <c:pt idx="381">
                  <c:v>108.54659142900741</c:v>
                </c:pt>
                <c:pt idx="382">
                  <c:v>108.54659142900741</c:v>
                </c:pt>
                <c:pt idx="383">
                  <c:v>108.9370138782981</c:v>
                </c:pt>
                <c:pt idx="384">
                  <c:v>110.0350770169282</c:v>
                </c:pt>
                <c:pt idx="385">
                  <c:v>110.3309440292817</c:v>
                </c:pt>
                <c:pt idx="386">
                  <c:v>109.8581668445935</c:v>
                </c:pt>
                <c:pt idx="387">
                  <c:v>109.8215647399727</c:v>
                </c:pt>
                <c:pt idx="388">
                  <c:v>109.8215647399727</c:v>
                </c:pt>
                <c:pt idx="389">
                  <c:v>109.8215647399727</c:v>
                </c:pt>
                <c:pt idx="390">
                  <c:v>110.416348940064</c:v>
                </c:pt>
                <c:pt idx="391">
                  <c:v>109.72090895226459</c:v>
                </c:pt>
                <c:pt idx="392">
                  <c:v>110.37059630928781</c:v>
                </c:pt>
                <c:pt idx="393">
                  <c:v>110.6756138477961</c:v>
                </c:pt>
                <c:pt idx="394">
                  <c:v>110.7061156016474</c:v>
                </c:pt>
                <c:pt idx="395">
                  <c:v>110.7061156016474</c:v>
                </c:pt>
                <c:pt idx="396">
                  <c:v>110.7061156016474</c:v>
                </c:pt>
                <c:pt idx="397">
                  <c:v>110.83422296782059</c:v>
                </c:pt>
                <c:pt idx="398">
                  <c:v>110.1570840323317</c:v>
                </c:pt>
                <c:pt idx="399">
                  <c:v>108.66249809364029</c:v>
                </c:pt>
                <c:pt idx="400">
                  <c:v>109.01936861369531</c:v>
                </c:pt>
                <c:pt idx="401">
                  <c:v>108.1897209089523</c:v>
                </c:pt>
                <c:pt idx="402">
                  <c:v>108.1897209089523</c:v>
                </c:pt>
                <c:pt idx="403">
                  <c:v>108.1897209089523</c:v>
                </c:pt>
                <c:pt idx="404">
                  <c:v>108.6014945859387</c:v>
                </c:pt>
                <c:pt idx="405">
                  <c:v>109.1718773829493</c:v>
                </c:pt>
                <c:pt idx="406">
                  <c:v>109.7849626353515</c:v>
                </c:pt>
                <c:pt idx="407">
                  <c:v>109.943571755376</c:v>
                </c:pt>
                <c:pt idx="408">
                  <c:v>109.1810279091048</c:v>
                </c:pt>
                <c:pt idx="409">
                  <c:v>109.1810279091048</c:v>
                </c:pt>
                <c:pt idx="410">
                  <c:v>109.1810279091048</c:v>
                </c:pt>
                <c:pt idx="411">
                  <c:v>109.2115296629559</c:v>
                </c:pt>
                <c:pt idx="412">
                  <c:v>109.3792893091353</c:v>
                </c:pt>
                <c:pt idx="413">
                  <c:v>110.4315998169895</c:v>
                </c:pt>
                <c:pt idx="414">
                  <c:v>110.523105078542</c:v>
                </c:pt>
                <c:pt idx="415">
                  <c:v>111.2398962940369</c:v>
                </c:pt>
                <c:pt idx="416">
                  <c:v>111.2398962940369</c:v>
                </c:pt>
                <c:pt idx="417">
                  <c:v>111.2398962940369</c:v>
                </c:pt>
                <c:pt idx="418">
                  <c:v>110.9409791062986</c:v>
                </c:pt>
                <c:pt idx="419">
                  <c:v>111.0873875247826</c:v>
                </c:pt>
                <c:pt idx="420">
                  <c:v>109.9740735092268</c:v>
                </c:pt>
                <c:pt idx="421">
                  <c:v>109.3182858014335</c:v>
                </c:pt>
                <c:pt idx="422">
                  <c:v>109.9344212292208</c:v>
                </c:pt>
                <c:pt idx="423">
                  <c:v>109.9344212292208</c:v>
                </c:pt>
                <c:pt idx="424">
                  <c:v>109.9344212292208</c:v>
                </c:pt>
                <c:pt idx="425">
                  <c:v>110.7579685831935</c:v>
                </c:pt>
                <c:pt idx="426">
                  <c:v>110.62986121701979</c:v>
                </c:pt>
                <c:pt idx="427">
                  <c:v>111.2398962940369</c:v>
                </c:pt>
                <c:pt idx="428">
                  <c:v>111.2917492755833</c:v>
                </c:pt>
                <c:pt idx="429">
                  <c:v>111.3314015555893</c:v>
                </c:pt>
                <c:pt idx="430">
                  <c:v>111.3314015555893</c:v>
                </c:pt>
                <c:pt idx="431">
                  <c:v>111.3314015555893</c:v>
                </c:pt>
                <c:pt idx="432">
                  <c:v>112.18545066341311</c:v>
                </c:pt>
                <c:pt idx="433">
                  <c:v>112.97849626353511</c:v>
                </c:pt>
                <c:pt idx="434">
                  <c:v>112.77108433734939</c:v>
                </c:pt>
                <c:pt idx="435">
                  <c:v>112.459966448071</c:v>
                </c:pt>
                <c:pt idx="436">
                  <c:v>112.4142138172945</c:v>
                </c:pt>
                <c:pt idx="437">
                  <c:v>112.4142138172945</c:v>
                </c:pt>
                <c:pt idx="438">
                  <c:v>112.4142138172945</c:v>
                </c:pt>
                <c:pt idx="439">
                  <c:v>112.9937471404605</c:v>
                </c:pt>
                <c:pt idx="440">
                  <c:v>112.7497331096537</c:v>
                </c:pt>
                <c:pt idx="441">
                  <c:v>113.0852524020131</c:v>
                </c:pt>
                <c:pt idx="442">
                  <c:v>113.0852524020131</c:v>
                </c:pt>
                <c:pt idx="443">
                  <c:v>113.8721976513648</c:v>
                </c:pt>
                <c:pt idx="444">
                  <c:v>113.8721976513648</c:v>
                </c:pt>
                <c:pt idx="445">
                  <c:v>113.8721976513648</c:v>
                </c:pt>
                <c:pt idx="446">
                  <c:v>112.7039804788776</c:v>
                </c:pt>
                <c:pt idx="447">
                  <c:v>111.30089980173859</c:v>
                </c:pt>
                <c:pt idx="448">
                  <c:v>111.8194296172031</c:v>
                </c:pt>
                <c:pt idx="449">
                  <c:v>111.6974226017996</c:v>
                </c:pt>
                <c:pt idx="450">
                  <c:v>112.3684611865182</c:v>
                </c:pt>
                <c:pt idx="451">
                  <c:v>112.3684611865182</c:v>
                </c:pt>
                <c:pt idx="452">
                  <c:v>112.3684611865182</c:v>
                </c:pt>
                <c:pt idx="453">
                  <c:v>113.1920085404908</c:v>
                </c:pt>
                <c:pt idx="454">
                  <c:v>112.9632453866097</c:v>
                </c:pt>
                <c:pt idx="455">
                  <c:v>112.83208784505091</c:v>
                </c:pt>
                <c:pt idx="456">
                  <c:v>111.9109348787555</c:v>
                </c:pt>
                <c:pt idx="457">
                  <c:v>111.92008540491079</c:v>
                </c:pt>
                <c:pt idx="458">
                  <c:v>111.92008540491079</c:v>
                </c:pt>
                <c:pt idx="459">
                  <c:v>111.92008540491079</c:v>
                </c:pt>
                <c:pt idx="460">
                  <c:v>110.7671191093491</c:v>
                </c:pt>
                <c:pt idx="461">
                  <c:v>110.9714808601495</c:v>
                </c:pt>
                <c:pt idx="462">
                  <c:v>110.7274668293428</c:v>
                </c:pt>
                <c:pt idx="463">
                  <c:v>110.77626963550399</c:v>
                </c:pt>
                <c:pt idx="464">
                  <c:v>111.8499313710537</c:v>
                </c:pt>
                <c:pt idx="465">
                  <c:v>111.8499313710537</c:v>
                </c:pt>
                <c:pt idx="466">
                  <c:v>111.8499313710537</c:v>
                </c:pt>
                <c:pt idx="467">
                  <c:v>113.12490468201921</c:v>
                </c:pt>
                <c:pt idx="468">
                  <c:v>112.8717401250571</c:v>
                </c:pt>
                <c:pt idx="469">
                  <c:v>113.03949977123681</c:v>
                </c:pt>
                <c:pt idx="470">
                  <c:v>111.4442580448378</c:v>
                </c:pt>
                <c:pt idx="471">
                  <c:v>110.5383559554674</c:v>
                </c:pt>
                <c:pt idx="472">
                  <c:v>110.5383559554674</c:v>
                </c:pt>
                <c:pt idx="473">
                  <c:v>110.5383559554674</c:v>
                </c:pt>
                <c:pt idx="474">
                  <c:v>110.4621015708403</c:v>
                </c:pt>
                <c:pt idx="475">
                  <c:v>110.9348787555283</c:v>
                </c:pt>
                <c:pt idx="476">
                  <c:v>110.1479335061766</c:v>
                </c:pt>
                <c:pt idx="477">
                  <c:v>110.523105078542</c:v>
                </c:pt>
                <c:pt idx="478">
                  <c:v>109.19627878603021</c:v>
                </c:pt>
                <c:pt idx="479">
                  <c:v>109.19627878603021</c:v>
                </c:pt>
                <c:pt idx="480">
                  <c:v>109.19627878603021</c:v>
                </c:pt>
                <c:pt idx="481">
                  <c:v>108.81500686289441</c:v>
                </c:pt>
                <c:pt idx="482">
                  <c:v>108.48863809669039</c:v>
                </c:pt>
                <c:pt idx="483">
                  <c:v>108.54659142900741</c:v>
                </c:pt>
                <c:pt idx="484">
                  <c:v>108.686899496721</c:v>
                </c:pt>
                <c:pt idx="485">
                  <c:v>108.9980173859997</c:v>
                </c:pt>
                <c:pt idx="486">
                  <c:v>108.9980173859997</c:v>
                </c:pt>
                <c:pt idx="487">
                  <c:v>108.9980173859997</c:v>
                </c:pt>
                <c:pt idx="488">
                  <c:v>109.7361598291903</c:v>
                </c:pt>
                <c:pt idx="489">
                  <c:v>110.1418331554063</c:v>
                </c:pt>
                <c:pt idx="490">
                  <c:v>108.8851608967513</c:v>
                </c:pt>
                <c:pt idx="491">
                  <c:v>109.62940369071219</c:v>
                </c:pt>
                <c:pt idx="492">
                  <c:v>109.7605612322708</c:v>
                </c:pt>
                <c:pt idx="493">
                  <c:v>109.7605612322708</c:v>
                </c:pt>
                <c:pt idx="494">
                  <c:v>109.7605612322708</c:v>
                </c:pt>
                <c:pt idx="495">
                  <c:v>109.8581668445935</c:v>
                </c:pt>
                <c:pt idx="496">
                  <c:v>110.3034924508159</c:v>
                </c:pt>
                <c:pt idx="497">
                  <c:v>109.7087082507241</c:v>
                </c:pt>
                <c:pt idx="498">
                  <c:v>109.22678053988081</c:v>
                </c:pt>
                <c:pt idx="499">
                  <c:v>108.72350160134231</c:v>
                </c:pt>
                <c:pt idx="500">
                  <c:v>108.72350160134231</c:v>
                </c:pt>
                <c:pt idx="501">
                  <c:v>108.72350160134231</c:v>
                </c:pt>
                <c:pt idx="502">
                  <c:v>108.8516089675156</c:v>
                </c:pt>
                <c:pt idx="503">
                  <c:v>109.54704895531501</c:v>
                </c:pt>
                <c:pt idx="504">
                  <c:v>110.2882415738904</c:v>
                </c:pt>
                <c:pt idx="505">
                  <c:v>109.8581668445935</c:v>
                </c:pt>
                <c:pt idx="506">
                  <c:v>109.333536678359</c:v>
                </c:pt>
                <c:pt idx="507">
                  <c:v>109.333536678359</c:v>
                </c:pt>
                <c:pt idx="508">
                  <c:v>109.333536678359</c:v>
                </c:pt>
                <c:pt idx="509">
                  <c:v>110.24858929388439</c:v>
                </c:pt>
                <c:pt idx="510">
                  <c:v>110.7061156016474</c:v>
                </c:pt>
                <c:pt idx="511">
                  <c:v>110.91962787860299</c:v>
                </c:pt>
                <c:pt idx="512">
                  <c:v>111.0782369986273</c:v>
                </c:pt>
                <c:pt idx="513">
                  <c:v>111.86518224797921</c:v>
                </c:pt>
                <c:pt idx="514">
                  <c:v>111.86518224797921</c:v>
                </c:pt>
                <c:pt idx="515">
                  <c:v>111.86518224797921</c:v>
                </c:pt>
                <c:pt idx="516">
                  <c:v>112.4355650449902</c:v>
                </c:pt>
                <c:pt idx="517">
                  <c:v>112.8107366173554</c:v>
                </c:pt>
                <c:pt idx="518">
                  <c:v>112.3989629403691</c:v>
                </c:pt>
                <c:pt idx="519">
                  <c:v>112.80463626658531</c:v>
                </c:pt>
                <c:pt idx="520">
                  <c:v>113.436022571298</c:v>
                </c:pt>
                <c:pt idx="521">
                  <c:v>113.436022571298</c:v>
                </c:pt>
                <c:pt idx="522">
                  <c:v>113.436022571298</c:v>
                </c:pt>
                <c:pt idx="523">
                  <c:v>115.0526155253927</c:v>
                </c:pt>
                <c:pt idx="524">
                  <c:v>114.4578313253012</c:v>
                </c:pt>
                <c:pt idx="525">
                  <c:v>113.9026994052161</c:v>
                </c:pt>
                <c:pt idx="526">
                  <c:v>114.2138172944944</c:v>
                </c:pt>
                <c:pt idx="527">
                  <c:v>114.7170962330334</c:v>
                </c:pt>
                <c:pt idx="528">
                  <c:v>114.7170962330334</c:v>
                </c:pt>
                <c:pt idx="529">
                  <c:v>114.7170962330334</c:v>
                </c:pt>
                <c:pt idx="530">
                  <c:v>114.6560927253316</c:v>
                </c:pt>
                <c:pt idx="531">
                  <c:v>114.41207869452479</c:v>
                </c:pt>
                <c:pt idx="532">
                  <c:v>114.6103400945553</c:v>
                </c:pt>
                <c:pt idx="533">
                  <c:v>113.1310050327892</c:v>
                </c:pt>
                <c:pt idx="534">
                  <c:v>114.1833155406436</c:v>
                </c:pt>
                <c:pt idx="535">
                  <c:v>114.1833155406436</c:v>
                </c:pt>
                <c:pt idx="536">
                  <c:v>114.1833155406436</c:v>
                </c:pt>
                <c:pt idx="537">
                  <c:v>113.8477962482843</c:v>
                </c:pt>
                <c:pt idx="538">
                  <c:v>114.0521579990848</c:v>
                </c:pt>
                <c:pt idx="539">
                  <c:v>114.4212292206803</c:v>
                </c:pt>
                <c:pt idx="540">
                  <c:v>114.6103400945553</c:v>
                </c:pt>
                <c:pt idx="541">
                  <c:v>114.9306085099893</c:v>
                </c:pt>
                <c:pt idx="542">
                  <c:v>114.9306085099893</c:v>
                </c:pt>
                <c:pt idx="543">
                  <c:v>114.9306085099893</c:v>
                </c:pt>
                <c:pt idx="544">
                  <c:v>115.427787097758</c:v>
                </c:pt>
                <c:pt idx="545">
                  <c:v>115.09226780539881</c:v>
                </c:pt>
                <c:pt idx="546">
                  <c:v>114.3358243098978</c:v>
                </c:pt>
                <c:pt idx="547">
                  <c:v>115.15022113771541</c:v>
                </c:pt>
                <c:pt idx="548">
                  <c:v>115.2813786792741</c:v>
                </c:pt>
                <c:pt idx="549">
                  <c:v>115.2813786792741</c:v>
                </c:pt>
                <c:pt idx="550">
                  <c:v>115.2813786792741</c:v>
                </c:pt>
                <c:pt idx="551">
                  <c:v>116.1872807686442</c:v>
                </c:pt>
                <c:pt idx="552">
                  <c:v>116.1293274363275</c:v>
                </c:pt>
                <c:pt idx="553">
                  <c:v>116.1506786640232</c:v>
                </c:pt>
                <c:pt idx="554">
                  <c:v>115.76025621473229</c:v>
                </c:pt>
                <c:pt idx="555">
                  <c:v>115.7236541101113</c:v>
                </c:pt>
                <c:pt idx="556">
                  <c:v>115.7236541101113</c:v>
                </c:pt>
                <c:pt idx="557">
                  <c:v>115.7236541101113</c:v>
                </c:pt>
                <c:pt idx="558">
                  <c:v>115.99816989476901</c:v>
                </c:pt>
                <c:pt idx="559">
                  <c:v>116.1293274363275</c:v>
                </c:pt>
                <c:pt idx="560">
                  <c:v>115.99816989476901</c:v>
                </c:pt>
                <c:pt idx="561">
                  <c:v>116.0744242793962</c:v>
                </c:pt>
                <c:pt idx="562">
                  <c:v>115.8090590208937</c:v>
                </c:pt>
                <c:pt idx="563">
                  <c:v>115.8090590208937</c:v>
                </c:pt>
                <c:pt idx="564">
                  <c:v>115.8090590208937</c:v>
                </c:pt>
                <c:pt idx="565">
                  <c:v>116.14152813786789</c:v>
                </c:pt>
                <c:pt idx="566">
                  <c:v>115.9432667378375</c:v>
                </c:pt>
                <c:pt idx="567">
                  <c:v>115.7175537593415</c:v>
                </c:pt>
                <c:pt idx="568">
                  <c:v>116.0439225255453</c:v>
                </c:pt>
                <c:pt idx="569">
                  <c:v>116.20558182095451</c:v>
                </c:pt>
                <c:pt idx="570">
                  <c:v>116.20558182095451</c:v>
                </c:pt>
                <c:pt idx="571">
                  <c:v>116.20558182095451</c:v>
                </c:pt>
                <c:pt idx="572">
                  <c:v>116.5166997102334</c:v>
                </c:pt>
                <c:pt idx="573">
                  <c:v>116.3641909409792</c:v>
                </c:pt>
                <c:pt idx="574">
                  <c:v>116.22083269788</c:v>
                </c:pt>
                <c:pt idx="575">
                  <c:v>116.4861979563825</c:v>
                </c:pt>
                <c:pt idx="576">
                  <c:v>116.85221900259261</c:v>
                </c:pt>
                <c:pt idx="577">
                  <c:v>116.85221900259261</c:v>
                </c:pt>
                <c:pt idx="578">
                  <c:v>116.85221900259261</c:v>
                </c:pt>
                <c:pt idx="579">
                  <c:v>117.4836053073053</c:v>
                </c:pt>
                <c:pt idx="580">
                  <c:v>117.5019063596157</c:v>
                </c:pt>
                <c:pt idx="581">
                  <c:v>118.2766509074272</c:v>
                </c:pt>
                <c:pt idx="582">
                  <c:v>119.33811194143659</c:v>
                </c:pt>
                <c:pt idx="583">
                  <c:v>119.7651364953486</c:v>
                </c:pt>
                <c:pt idx="584">
                  <c:v>119.7651364953486</c:v>
                </c:pt>
                <c:pt idx="585">
                  <c:v>119.7651364953486</c:v>
                </c:pt>
                <c:pt idx="586">
                  <c:v>120.07015403385689</c:v>
                </c:pt>
                <c:pt idx="587">
                  <c:v>121.1987189263382</c:v>
                </c:pt>
                <c:pt idx="588">
                  <c:v>122.845813634284</c:v>
                </c:pt>
                <c:pt idx="589">
                  <c:v>122.33338416958949</c:v>
                </c:pt>
                <c:pt idx="590">
                  <c:v>124.462406588379</c:v>
                </c:pt>
                <c:pt idx="591">
                  <c:v>124.462406588379</c:v>
                </c:pt>
                <c:pt idx="592">
                  <c:v>124.462406588379</c:v>
                </c:pt>
                <c:pt idx="593">
                  <c:v>125.041939911545</c:v>
                </c:pt>
                <c:pt idx="594">
                  <c:v>124.5081592191551</c:v>
                </c:pt>
                <c:pt idx="595">
                  <c:v>125.23410096080551</c:v>
                </c:pt>
                <c:pt idx="596">
                  <c:v>125.9020893701388</c:v>
                </c:pt>
                <c:pt idx="597">
                  <c:v>127.1465609272533</c:v>
                </c:pt>
                <c:pt idx="598">
                  <c:v>127.1465609272533</c:v>
                </c:pt>
                <c:pt idx="599">
                  <c:v>127.1465609272533</c:v>
                </c:pt>
                <c:pt idx="600">
                  <c:v>129.41894158914141</c:v>
                </c:pt>
                <c:pt idx="601">
                  <c:v>127.9853591581515</c:v>
                </c:pt>
                <c:pt idx="602">
                  <c:v>129.51044685069459</c:v>
                </c:pt>
                <c:pt idx="603">
                  <c:v>129.07732194601201</c:v>
                </c:pt>
                <c:pt idx="604">
                  <c:v>128.07686441970401</c:v>
                </c:pt>
                <c:pt idx="605">
                  <c:v>128.07686441970401</c:v>
                </c:pt>
                <c:pt idx="606">
                  <c:v>128.07686441970401</c:v>
                </c:pt>
                <c:pt idx="607">
                  <c:v>127.8786030196736</c:v>
                </c:pt>
                <c:pt idx="608">
                  <c:v>127.02455391185001</c:v>
                </c:pt>
                <c:pt idx="609">
                  <c:v>128.43373493975869</c:v>
                </c:pt>
                <c:pt idx="610">
                  <c:v>129.58670123532099</c:v>
                </c:pt>
                <c:pt idx="611">
                  <c:v>129.93747140460579</c:v>
                </c:pt>
                <c:pt idx="612">
                  <c:v>129.93747140460579</c:v>
                </c:pt>
                <c:pt idx="613">
                  <c:v>129.93747140460579</c:v>
                </c:pt>
                <c:pt idx="614">
                  <c:v>132.07259417416461</c:v>
                </c:pt>
                <c:pt idx="615">
                  <c:v>132.35626048497801</c:v>
                </c:pt>
              </c:numCache>
            </c:numRef>
          </c:val>
          <c:smooth val="0"/>
        </c:ser>
        <c:ser>
          <c:idx val="1"/>
          <c:order val="1"/>
          <c:tx>
            <c:strRef>
              <c:f>Sheet1!$C$1</c:f>
              <c:strCache>
                <c:ptCount val="1"/>
                <c:pt idx="0">
                  <c:v>Korea Selatan</c:v>
                </c:pt>
              </c:strCache>
            </c:strRef>
          </c:tx>
          <c:spPr>
            <a:ln w="12700">
              <a:solidFill>
                <a:srgbClr val="008000"/>
              </a:solidFill>
            </a:ln>
          </c:spPr>
          <c:marker>
            <c:symbol val="none"/>
          </c:marke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C$2:$C$634</c:f>
              <c:numCache>
                <c:formatCode>General</c:formatCode>
                <c:ptCount val="633"/>
                <c:pt idx="0">
                  <c:v>100</c:v>
                </c:pt>
                <c:pt idx="1">
                  <c:v>99.469621631860747</c:v>
                </c:pt>
                <c:pt idx="2">
                  <c:v>99.941279537813315</c:v>
                </c:pt>
                <c:pt idx="3">
                  <c:v>99.941279537813315</c:v>
                </c:pt>
                <c:pt idx="4">
                  <c:v>99.941279537813315</c:v>
                </c:pt>
                <c:pt idx="5">
                  <c:v>100.90637874698091</c:v>
                </c:pt>
                <c:pt idx="6">
                  <c:v>101.186721598712</c:v>
                </c:pt>
                <c:pt idx="7">
                  <c:v>100.8230335748448</c:v>
                </c:pt>
                <c:pt idx="8">
                  <c:v>100.64876639674181</c:v>
                </c:pt>
                <c:pt idx="9">
                  <c:v>100.5237486385376</c:v>
                </c:pt>
                <c:pt idx="10">
                  <c:v>100.5237486385376</c:v>
                </c:pt>
                <c:pt idx="11">
                  <c:v>100.5237486385376</c:v>
                </c:pt>
                <c:pt idx="12">
                  <c:v>100.0880806932803</c:v>
                </c:pt>
                <c:pt idx="13">
                  <c:v>100.3125443955107</c:v>
                </c:pt>
                <c:pt idx="14">
                  <c:v>100.64687218828411</c:v>
                </c:pt>
                <c:pt idx="15">
                  <c:v>100.7112752758442</c:v>
                </c:pt>
                <c:pt idx="16">
                  <c:v>100.3580053984938</c:v>
                </c:pt>
                <c:pt idx="17">
                  <c:v>100.3580053984938</c:v>
                </c:pt>
                <c:pt idx="18">
                  <c:v>100.3580053984938</c:v>
                </c:pt>
                <c:pt idx="19">
                  <c:v>100.7340057773358</c:v>
                </c:pt>
                <c:pt idx="20">
                  <c:v>100.89217218354869</c:v>
                </c:pt>
                <c:pt idx="21">
                  <c:v>101.0910640716011</c:v>
                </c:pt>
                <c:pt idx="22">
                  <c:v>101.6991049865038</c:v>
                </c:pt>
                <c:pt idx="23">
                  <c:v>102.3213524648388</c:v>
                </c:pt>
                <c:pt idx="24">
                  <c:v>102.3213524648388</c:v>
                </c:pt>
                <c:pt idx="25">
                  <c:v>102.3213524648388</c:v>
                </c:pt>
                <c:pt idx="26">
                  <c:v>102.6291613392054</c:v>
                </c:pt>
                <c:pt idx="27">
                  <c:v>102.39143817777121</c:v>
                </c:pt>
                <c:pt idx="28">
                  <c:v>101.3429937964673</c:v>
                </c:pt>
                <c:pt idx="29">
                  <c:v>102.351659800161</c:v>
                </c:pt>
                <c:pt idx="30">
                  <c:v>102.37912582279669</c:v>
                </c:pt>
                <c:pt idx="31">
                  <c:v>102.37912582279669</c:v>
                </c:pt>
                <c:pt idx="32">
                  <c:v>102.37912582279669</c:v>
                </c:pt>
                <c:pt idx="33">
                  <c:v>102.7305014916892</c:v>
                </c:pt>
                <c:pt idx="34">
                  <c:v>102.64147369418011</c:v>
                </c:pt>
                <c:pt idx="35">
                  <c:v>102.0893119287778</c:v>
                </c:pt>
                <c:pt idx="36">
                  <c:v>102.1944404981768</c:v>
                </c:pt>
                <c:pt idx="37">
                  <c:v>101.76161386560619</c:v>
                </c:pt>
                <c:pt idx="38">
                  <c:v>101.76161386560619</c:v>
                </c:pt>
                <c:pt idx="39">
                  <c:v>101.76161386560619</c:v>
                </c:pt>
                <c:pt idx="40">
                  <c:v>101.45569919969699</c:v>
                </c:pt>
                <c:pt idx="41">
                  <c:v>101.424444760146</c:v>
                </c:pt>
                <c:pt idx="42">
                  <c:v>100.64403087559791</c:v>
                </c:pt>
                <c:pt idx="43">
                  <c:v>100.985935502202</c:v>
                </c:pt>
                <c:pt idx="44">
                  <c:v>100.7103281716153</c:v>
                </c:pt>
                <c:pt idx="45">
                  <c:v>100.7103281716153</c:v>
                </c:pt>
                <c:pt idx="46">
                  <c:v>100.7103281716153</c:v>
                </c:pt>
                <c:pt idx="47">
                  <c:v>100.4517687171473</c:v>
                </c:pt>
                <c:pt idx="48">
                  <c:v>100.9357389780745</c:v>
                </c:pt>
                <c:pt idx="49">
                  <c:v>100.928162144244</c:v>
                </c:pt>
                <c:pt idx="50">
                  <c:v>101.5579864564094</c:v>
                </c:pt>
                <c:pt idx="51">
                  <c:v>101.5380972676042</c:v>
                </c:pt>
                <c:pt idx="52">
                  <c:v>101.5380972676042</c:v>
                </c:pt>
                <c:pt idx="53">
                  <c:v>101.5380972676042</c:v>
                </c:pt>
                <c:pt idx="54">
                  <c:v>101.77582042903821</c:v>
                </c:pt>
                <c:pt idx="55">
                  <c:v>101.6100771889945</c:v>
                </c:pt>
                <c:pt idx="56">
                  <c:v>100.8855424539471</c:v>
                </c:pt>
                <c:pt idx="57">
                  <c:v>101.2426007482125</c:v>
                </c:pt>
                <c:pt idx="58">
                  <c:v>101.1128474688639</c:v>
                </c:pt>
                <c:pt idx="59">
                  <c:v>101.1128474688639</c:v>
                </c:pt>
                <c:pt idx="60">
                  <c:v>101.1128474688639</c:v>
                </c:pt>
                <c:pt idx="61">
                  <c:v>101.3524648387554</c:v>
                </c:pt>
                <c:pt idx="62">
                  <c:v>101.67163896386801</c:v>
                </c:pt>
                <c:pt idx="63">
                  <c:v>101.4291802812901</c:v>
                </c:pt>
                <c:pt idx="64">
                  <c:v>100.7842023014633</c:v>
                </c:pt>
                <c:pt idx="65">
                  <c:v>100.4707108017236</c:v>
                </c:pt>
                <c:pt idx="66">
                  <c:v>100.4707108017236</c:v>
                </c:pt>
                <c:pt idx="67">
                  <c:v>100.4707108017236</c:v>
                </c:pt>
                <c:pt idx="68">
                  <c:v>101.0086660036937</c:v>
                </c:pt>
                <c:pt idx="69">
                  <c:v>100.8751243074297</c:v>
                </c:pt>
                <c:pt idx="70">
                  <c:v>101.3875076952219</c:v>
                </c:pt>
                <c:pt idx="71">
                  <c:v>101.2738551877633</c:v>
                </c:pt>
                <c:pt idx="72">
                  <c:v>101.6034474593929</c:v>
                </c:pt>
                <c:pt idx="73">
                  <c:v>101.6034474593929</c:v>
                </c:pt>
                <c:pt idx="74">
                  <c:v>101.6034474593929</c:v>
                </c:pt>
                <c:pt idx="75">
                  <c:v>101.0929582800587</c:v>
                </c:pt>
                <c:pt idx="76">
                  <c:v>101.2643841454752</c:v>
                </c:pt>
                <c:pt idx="77">
                  <c:v>101.4017142586542</c:v>
                </c:pt>
                <c:pt idx="78">
                  <c:v>101.92735710564951</c:v>
                </c:pt>
                <c:pt idx="79">
                  <c:v>102.325140881754</c:v>
                </c:pt>
                <c:pt idx="80">
                  <c:v>102.325140881754</c:v>
                </c:pt>
                <c:pt idx="81">
                  <c:v>102.325140881754</c:v>
                </c:pt>
                <c:pt idx="82">
                  <c:v>102.08078799071841</c:v>
                </c:pt>
                <c:pt idx="83">
                  <c:v>102.2399015011602</c:v>
                </c:pt>
                <c:pt idx="84">
                  <c:v>101.8051806601317</c:v>
                </c:pt>
                <c:pt idx="85">
                  <c:v>101.4765354927309</c:v>
                </c:pt>
                <c:pt idx="86">
                  <c:v>101.25964862433111</c:v>
                </c:pt>
                <c:pt idx="87">
                  <c:v>101.25964862433111</c:v>
                </c:pt>
                <c:pt idx="88">
                  <c:v>101.25964862433111</c:v>
                </c:pt>
                <c:pt idx="89">
                  <c:v>100.838187242506</c:v>
                </c:pt>
                <c:pt idx="90">
                  <c:v>100.269924705214</c:v>
                </c:pt>
                <c:pt idx="91">
                  <c:v>100.0710328171612</c:v>
                </c:pt>
                <c:pt idx="92">
                  <c:v>100.190367949993</c:v>
                </c:pt>
                <c:pt idx="93">
                  <c:v>99.791637069659529</c:v>
                </c:pt>
                <c:pt idx="94">
                  <c:v>99.791637069659529</c:v>
                </c:pt>
                <c:pt idx="95">
                  <c:v>99.791637069659529</c:v>
                </c:pt>
                <c:pt idx="96">
                  <c:v>99.960221622389625</c:v>
                </c:pt>
                <c:pt idx="97">
                  <c:v>99.663777998768524</c:v>
                </c:pt>
                <c:pt idx="98">
                  <c:v>98.645640952786593</c:v>
                </c:pt>
                <c:pt idx="99">
                  <c:v>98.513993464980999</c:v>
                </c:pt>
                <c:pt idx="100">
                  <c:v>98.058436330918042</c:v>
                </c:pt>
                <c:pt idx="101">
                  <c:v>98.058436330918042</c:v>
                </c:pt>
                <c:pt idx="102">
                  <c:v>98.058436330918042</c:v>
                </c:pt>
                <c:pt idx="103">
                  <c:v>98.392764123691563</c:v>
                </c:pt>
                <c:pt idx="104">
                  <c:v>98.5660841975658</c:v>
                </c:pt>
                <c:pt idx="105">
                  <c:v>98.285741345835078</c:v>
                </c:pt>
                <c:pt idx="106">
                  <c:v>98.396552540607104</c:v>
                </c:pt>
                <c:pt idx="107">
                  <c:v>98.269640573945225</c:v>
                </c:pt>
                <c:pt idx="108">
                  <c:v>98.269640573945225</c:v>
                </c:pt>
                <c:pt idx="109">
                  <c:v>98.269640573945225</c:v>
                </c:pt>
                <c:pt idx="110">
                  <c:v>98.4107591040394</c:v>
                </c:pt>
                <c:pt idx="111">
                  <c:v>98.275323199318123</c:v>
                </c:pt>
                <c:pt idx="112">
                  <c:v>98.475162191598997</c:v>
                </c:pt>
                <c:pt idx="113">
                  <c:v>98.427806980158167</c:v>
                </c:pt>
                <c:pt idx="114">
                  <c:v>98.629540180896697</c:v>
                </c:pt>
                <c:pt idx="115">
                  <c:v>98.629540180896697</c:v>
                </c:pt>
                <c:pt idx="116">
                  <c:v>98.629540180896697</c:v>
                </c:pt>
                <c:pt idx="117">
                  <c:v>98.048965288630114</c:v>
                </c:pt>
                <c:pt idx="118">
                  <c:v>97.605720509542081</c:v>
                </c:pt>
                <c:pt idx="119">
                  <c:v>97.856703130179298</c:v>
                </c:pt>
                <c:pt idx="120">
                  <c:v>97.864279964010294</c:v>
                </c:pt>
                <c:pt idx="121">
                  <c:v>97.582990008050331</c:v>
                </c:pt>
                <c:pt idx="122">
                  <c:v>97.582990008050331</c:v>
                </c:pt>
                <c:pt idx="123">
                  <c:v>97.582990008050331</c:v>
                </c:pt>
                <c:pt idx="124">
                  <c:v>97.484491168253072</c:v>
                </c:pt>
                <c:pt idx="125">
                  <c:v>97.074395037173801</c:v>
                </c:pt>
                <c:pt idx="126">
                  <c:v>96.865085002604275</c:v>
                </c:pt>
                <c:pt idx="127">
                  <c:v>96.866032106833075</c:v>
                </c:pt>
                <c:pt idx="128">
                  <c:v>97.026092721503858</c:v>
                </c:pt>
                <c:pt idx="129">
                  <c:v>97.026092721503858</c:v>
                </c:pt>
                <c:pt idx="130">
                  <c:v>97.026092721503858</c:v>
                </c:pt>
                <c:pt idx="131">
                  <c:v>97.030828242648113</c:v>
                </c:pt>
                <c:pt idx="132">
                  <c:v>96.808258748875303</c:v>
                </c:pt>
                <c:pt idx="133">
                  <c:v>97.343372638158627</c:v>
                </c:pt>
                <c:pt idx="134">
                  <c:v>97.101861059809579</c:v>
                </c:pt>
                <c:pt idx="135">
                  <c:v>96.998626698868435</c:v>
                </c:pt>
                <c:pt idx="136">
                  <c:v>96.998626698868435</c:v>
                </c:pt>
                <c:pt idx="137">
                  <c:v>96.998626698868435</c:v>
                </c:pt>
                <c:pt idx="138">
                  <c:v>96.799734810815849</c:v>
                </c:pt>
                <c:pt idx="139">
                  <c:v>97.114173414784162</c:v>
                </c:pt>
                <c:pt idx="140">
                  <c:v>97.264762987166733</c:v>
                </c:pt>
                <c:pt idx="141">
                  <c:v>97.006203532698748</c:v>
                </c:pt>
                <c:pt idx="142">
                  <c:v>97.05450584836862</c:v>
                </c:pt>
                <c:pt idx="143">
                  <c:v>97.05450584836862</c:v>
                </c:pt>
                <c:pt idx="144">
                  <c:v>97.05450584836862</c:v>
                </c:pt>
                <c:pt idx="145">
                  <c:v>96.978737510062686</c:v>
                </c:pt>
                <c:pt idx="146">
                  <c:v>96.907704692901461</c:v>
                </c:pt>
                <c:pt idx="147">
                  <c:v>96.751432495146105</c:v>
                </c:pt>
                <c:pt idx="148">
                  <c:v>96.661457593408102</c:v>
                </c:pt>
                <c:pt idx="149">
                  <c:v>96.623573424255355</c:v>
                </c:pt>
                <c:pt idx="150">
                  <c:v>96.623573424255355</c:v>
                </c:pt>
                <c:pt idx="151">
                  <c:v>96.623573424255355</c:v>
                </c:pt>
                <c:pt idx="152">
                  <c:v>96.969266467774915</c:v>
                </c:pt>
                <c:pt idx="153">
                  <c:v>96.896339442155579</c:v>
                </c:pt>
                <c:pt idx="154">
                  <c:v>97.200359899606951</c:v>
                </c:pt>
                <c:pt idx="155">
                  <c:v>96.657669176492732</c:v>
                </c:pt>
                <c:pt idx="156">
                  <c:v>96.643462613060578</c:v>
                </c:pt>
                <c:pt idx="157">
                  <c:v>96.643462613060578</c:v>
                </c:pt>
                <c:pt idx="158">
                  <c:v>96.643462613060578</c:v>
                </c:pt>
                <c:pt idx="159">
                  <c:v>96.264620921532625</c:v>
                </c:pt>
                <c:pt idx="160">
                  <c:v>96.341336364066848</c:v>
                </c:pt>
                <c:pt idx="161">
                  <c:v>96.206847563574215</c:v>
                </c:pt>
                <c:pt idx="162">
                  <c:v>96.376379220532968</c:v>
                </c:pt>
                <c:pt idx="163">
                  <c:v>96.403845243169016</c:v>
                </c:pt>
                <c:pt idx="164">
                  <c:v>96.403845243169016</c:v>
                </c:pt>
                <c:pt idx="165">
                  <c:v>96.403845243169016</c:v>
                </c:pt>
                <c:pt idx="166">
                  <c:v>96.595160297390734</c:v>
                </c:pt>
                <c:pt idx="167">
                  <c:v>96.775110100866428</c:v>
                </c:pt>
                <c:pt idx="168">
                  <c:v>96.837618979968767</c:v>
                </c:pt>
                <c:pt idx="169">
                  <c:v>96.486243311076393</c:v>
                </c:pt>
                <c:pt idx="170">
                  <c:v>96.662404697636902</c:v>
                </c:pt>
                <c:pt idx="171">
                  <c:v>96.662404697636902</c:v>
                </c:pt>
                <c:pt idx="172">
                  <c:v>96.662404697636902</c:v>
                </c:pt>
                <c:pt idx="173">
                  <c:v>96.465407018042342</c:v>
                </c:pt>
                <c:pt idx="174">
                  <c:v>96.448359141923575</c:v>
                </c:pt>
                <c:pt idx="175">
                  <c:v>96.694606241416864</c:v>
                </c:pt>
                <c:pt idx="176">
                  <c:v>96.255149879244215</c:v>
                </c:pt>
                <c:pt idx="177">
                  <c:v>95.9984846332339</c:v>
                </c:pt>
                <c:pt idx="178">
                  <c:v>95.9984846332339</c:v>
                </c:pt>
                <c:pt idx="179">
                  <c:v>95.9984846332339</c:v>
                </c:pt>
                <c:pt idx="180">
                  <c:v>95.831794288961504</c:v>
                </c:pt>
                <c:pt idx="181">
                  <c:v>95.810957995927467</c:v>
                </c:pt>
                <c:pt idx="182">
                  <c:v>95.577023251408804</c:v>
                </c:pt>
                <c:pt idx="183">
                  <c:v>95.520196997679548</c:v>
                </c:pt>
                <c:pt idx="184">
                  <c:v>95.551451437230668</c:v>
                </c:pt>
                <c:pt idx="185">
                  <c:v>95.551451437230668</c:v>
                </c:pt>
                <c:pt idx="186">
                  <c:v>95.551451437230668</c:v>
                </c:pt>
                <c:pt idx="187">
                  <c:v>95.711512051901323</c:v>
                </c:pt>
                <c:pt idx="188">
                  <c:v>95.820429038215664</c:v>
                </c:pt>
                <c:pt idx="189">
                  <c:v>95.865890041199009</c:v>
                </c:pt>
                <c:pt idx="190">
                  <c:v>95.984278069801604</c:v>
                </c:pt>
                <c:pt idx="191">
                  <c:v>96.502344082966232</c:v>
                </c:pt>
                <c:pt idx="192">
                  <c:v>96.502344082966232</c:v>
                </c:pt>
                <c:pt idx="193">
                  <c:v>96.502344082966232</c:v>
                </c:pt>
                <c:pt idx="194">
                  <c:v>96.448359141923575</c:v>
                </c:pt>
                <c:pt idx="195">
                  <c:v>97.303594260548422</c:v>
                </c:pt>
                <c:pt idx="196">
                  <c:v>97.7392622058059</c:v>
                </c:pt>
                <c:pt idx="197">
                  <c:v>97.487332480939529</c:v>
                </c:pt>
                <c:pt idx="198">
                  <c:v>97.487332480939529</c:v>
                </c:pt>
                <c:pt idx="199">
                  <c:v>97.487332480939529</c:v>
                </c:pt>
                <c:pt idx="200">
                  <c:v>97.487332480939529</c:v>
                </c:pt>
                <c:pt idx="201">
                  <c:v>97.254344840649708</c:v>
                </c:pt>
                <c:pt idx="202">
                  <c:v>97.035563763792226</c:v>
                </c:pt>
                <c:pt idx="203">
                  <c:v>96.962636738173046</c:v>
                </c:pt>
                <c:pt idx="204">
                  <c:v>97.436188852582944</c:v>
                </c:pt>
                <c:pt idx="205">
                  <c:v>97.187100440403484</c:v>
                </c:pt>
                <c:pt idx="206">
                  <c:v>97.187100440403484</c:v>
                </c:pt>
                <c:pt idx="207">
                  <c:v>97.187100440403484</c:v>
                </c:pt>
                <c:pt idx="208">
                  <c:v>97.206042524979878</c:v>
                </c:pt>
                <c:pt idx="209">
                  <c:v>97.030828242648113</c:v>
                </c:pt>
                <c:pt idx="210">
                  <c:v>97.021357200359802</c:v>
                </c:pt>
                <c:pt idx="211">
                  <c:v>97.341478429701183</c:v>
                </c:pt>
                <c:pt idx="212">
                  <c:v>98.22417957096178</c:v>
                </c:pt>
                <c:pt idx="213">
                  <c:v>98.22417957096178</c:v>
                </c:pt>
                <c:pt idx="214">
                  <c:v>98.22417957096178</c:v>
                </c:pt>
                <c:pt idx="215">
                  <c:v>97.887957569730546</c:v>
                </c:pt>
                <c:pt idx="216">
                  <c:v>97.390727849599685</c:v>
                </c:pt>
                <c:pt idx="217">
                  <c:v>97.90216413316287</c:v>
                </c:pt>
                <c:pt idx="218">
                  <c:v>98.261116635885827</c:v>
                </c:pt>
                <c:pt idx="219">
                  <c:v>98.162617796088298</c:v>
                </c:pt>
                <c:pt idx="220">
                  <c:v>98.162617796088298</c:v>
                </c:pt>
                <c:pt idx="221">
                  <c:v>98.162617796088298</c:v>
                </c:pt>
                <c:pt idx="222">
                  <c:v>97.622768385660578</c:v>
                </c:pt>
                <c:pt idx="223">
                  <c:v>97.229720130700301</c:v>
                </c:pt>
                <c:pt idx="224">
                  <c:v>97.494909314770126</c:v>
                </c:pt>
                <c:pt idx="225">
                  <c:v>96.692712032958852</c:v>
                </c:pt>
                <c:pt idx="226">
                  <c:v>96.283563006108835</c:v>
                </c:pt>
                <c:pt idx="227">
                  <c:v>96.283563006108835</c:v>
                </c:pt>
                <c:pt idx="228">
                  <c:v>96.283563006108835</c:v>
                </c:pt>
                <c:pt idx="229">
                  <c:v>96.396268409338631</c:v>
                </c:pt>
                <c:pt idx="230">
                  <c:v>96.358384240185501</c:v>
                </c:pt>
                <c:pt idx="231">
                  <c:v>96.858455273002761</c:v>
                </c:pt>
                <c:pt idx="232">
                  <c:v>96.955059904342704</c:v>
                </c:pt>
                <c:pt idx="233">
                  <c:v>96.386797367049994</c:v>
                </c:pt>
                <c:pt idx="234">
                  <c:v>96.386797367049994</c:v>
                </c:pt>
                <c:pt idx="235">
                  <c:v>96.386797367049994</c:v>
                </c:pt>
                <c:pt idx="236">
                  <c:v>96.615049486195971</c:v>
                </c:pt>
                <c:pt idx="237">
                  <c:v>96.309134820286829</c:v>
                </c:pt>
                <c:pt idx="238">
                  <c:v>96.062887720793498</c:v>
                </c:pt>
                <c:pt idx="239">
                  <c:v>96.078988492683251</c:v>
                </c:pt>
                <c:pt idx="240">
                  <c:v>96.02500355164085</c:v>
                </c:pt>
                <c:pt idx="241">
                  <c:v>96.02500355164085</c:v>
                </c:pt>
                <c:pt idx="242">
                  <c:v>96.02500355164085</c:v>
                </c:pt>
                <c:pt idx="243">
                  <c:v>95.955864942936969</c:v>
                </c:pt>
                <c:pt idx="244">
                  <c:v>96.438888099635378</c:v>
                </c:pt>
                <c:pt idx="245">
                  <c:v>96.569588483212627</c:v>
                </c:pt>
                <c:pt idx="246">
                  <c:v>96.505185395652731</c:v>
                </c:pt>
                <c:pt idx="247">
                  <c:v>97.007150636927605</c:v>
                </c:pt>
                <c:pt idx="248">
                  <c:v>97.007150636927605</c:v>
                </c:pt>
                <c:pt idx="249">
                  <c:v>97.007150636927605</c:v>
                </c:pt>
                <c:pt idx="250">
                  <c:v>96.958848321257662</c:v>
                </c:pt>
                <c:pt idx="251">
                  <c:v>97.705166453568211</c:v>
                </c:pt>
                <c:pt idx="252">
                  <c:v>98.01581664062131</c:v>
                </c:pt>
                <c:pt idx="253">
                  <c:v>98.116209688876523</c:v>
                </c:pt>
                <c:pt idx="254">
                  <c:v>98.058436330918042</c:v>
                </c:pt>
                <c:pt idx="255">
                  <c:v>98.058436330918042</c:v>
                </c:pt>
                <c:pt idx="256">
                  <c:v>98.058436330918042</c:v>
                </c:pt>
                <c:pt idx="257">
                  <c:v>98.307524743098114</c:v>
                </c:pt>
                <c:pt idx="258">
                  <c:v>98.191030922952962</c:v>
                </c:pt>
                <c:pt idx="259">
                  <c:v>98.01581664062131</c:v>
                </c:pt>
                <c:pt idx="260">
                  <c:v>98.796230525169321</c:v>
                </c:pt>
                <c:pt idx="261">
                  <c:v>98.943978784865266</c:v>
                </c:pt>
                <c:pt idx="262">
                  <c:v>98.943978784865266</c:v>
                </c:pt>
                <c:pt idx="263">
                  <c:v>98.943978784865266</c:v>
                </c:pt>
                <c:pt idx="264">
                  <c:v>98.574608135625127</c:v>
                </c:pt>
                <c:pt idx="265">
                  <c:v>98.492210067718133</c:v>
                </c:pt>
                <c:pt idx="266">
                  <c:v>98.494104276175804</c:v>
                </c:pt>
                <c:pt idx="267">
                  <c:v>98.752663730643576</c:v>
                </c:pt>
                <c:pt idx="268">
                  <c:v>98.906094615712647</c:v>
                </c:pt>
                <c:pt idx="269">
                  <c:v>98.906094615712647</c:v>
                </c:pt>
                <c:pt idx="270">
                  <c:v>98.906094615712647</c:v>
                </c:pt>
                <c:pt idx="271">
                  <c:v>99.813420466922423</c:v>
                </c:pt>
                <c:pt idx="272">
                  <c:v>99.939385329355517</c:v>
                </c:pt>
                <c:pt idx="273">
                  <c:v>100.6288772079364</c:v>
                </c:pt>
                <c:pt idx="274">
                  <c:v>100.5237486385376</c:v>
                </c:pt>
                <c:pt idx="275">
                  <c:v>100.59288724724161</c:v>
                </c:pt>
                <c:pt idx="276">
                  <c:v>100.59288724724161</c:v>
                </c:pt>
                <c:pt idx="277">
                  <c:v>100.59288724724161</c:v>
                </c:pt>
                <c:pt idx="278">
                  <c:v>101.24449495667</c:v>
                </c:pt>
                <c:pt idx="279">
                  <c:v>100.9707818345406</c:v>
                </c:pt>
                <c:pt idx="280">
                  <c:v>101.7332007387413</c:v>
                </c:pt>
                <c:pt idx="281">
                  <c:v>100.8097741156412</c:v>
                </c:pt>
                <c:pt idx="282">
                  <c:v>101.3827721740775</c:v>
                </c:pt>
                <c:pt idx="283">
                  <c:v>101.3827721740775</c:v>
                </c:pt>
                <c:pt idx="284">
                  <c:v>101.3827721740775</c:v>
                </c:pt>
                <c:pt idx="285">
                  <c:v>101.1317895534403</c:v>
                </c:pt>
                <c:pt idx="286">
                  <c:v>100.8287162002178</c:v>
                </c:pt>
                <c:pt idx="287">
                  <c:v>100.6705497940047</c:v>
                </c:pt>
                <c:pt idx="288">
                  <c:v>100.54458493157171</c:v>
                </c:pt>
                <c:pt idx="289">
                  <c:v>100.94236870767629</c:v>
                </c:pt>
                <c:pt idx="290">
                  <c:v>100.94236870767629</c:v>
                </c:pt>
                <c:pt idx="291">
                  <c:v>100.94236870767629</c:v>
                </c:pt>
                <c:pt idx="292">
                  <c:v>100.3693706492401</c:v>
                </c:pt>
                <c:pt idx="293">
                  <c:v>99.896765639058586</c:v>
                </c:pt>
                <c:pt idx="294">
                  <c:v>99.579485722403504</c:v>
                </c:pt>
                <c:pt idx="295">
                  <c:v>100.02746602263581</c:v>
                </c:pt>
                <c:pt idx="296">
                  <c:v>100.1562721977551</c:v>
                </c:pt>
                <c:pt idx="297">
                  <c:v>100.1562721977551</c:v>
                </c:pt>
                <c:pt idx="298">
                  <c:v>100.1562721977551</c:v>
                </c:pt>
                <c:pt idx="299">
                  <c:v>99.659042477624283</c:v>
                </c:pt>
                <c:pt idx="300">
                  <c:v>99.406165648529623</c:v>
                </c:pt>
                <c:pt idx="301">
                  <c:v>99.193067197045039</c:v>
                </c:pt>
                <c:pt idx="302">
                  <c:v>99.976322394279478</c:v>
                </c:pt>
                <c:pt idx="303">
                  <c:v>101.2283941847799</c:v>
                </c:pt>
                <c:pt idx="304">
                  <c:v>101.2283941847799</c:v>
                </c:pt>
                <c:pt idx="305">
                  <c:v>101.2283941847799</c:v>
                </c:pt>
                <c:pt idx="306">
                  <c:v>101.5949235213338</c:v>
                </c:pt>
                <c:pt idx="307">
                  <c:v>101.97281810863269</c:v>
                </c:pt>
                <c:pt idx="308">
                  <c:v>102.6140076715443</c:v>
                </c:pt>
                <c:pt idx="309">
                  <c:v>102.64431500686651</c:v>
                </c:pt>
                <c:pt idx="310">
                  <c:v>103.55921769190699</c:v>
                </c:pt>
                <c:pt idx="311">
                  <c:v>103.55921769190699</c:v>
                </c:pt>
                <c:pt idx="312">
                  <c:v>103.55921769190699</c:v>
                </c:pt>
                <c:pt idx="313">
                  <c:v>102.7560733058673</c:v>
                </c:pt>
                <c:pt idx="314">
                  <c:v>103.3953686603211</c:v>
                </c:pt>
                <c:pt idx="315">
                  <c:v>103.8073589998579</c:v>
                </c:pt>
                <c:pt idx="316">
                  <c:v>103.87460340010421</c:v>
                </c:pt>
                <c:pt idx="317">
                  <c:v>104.2553393000897</c:v>
                </c:pt>
                <c:pt idx="318">
                  <c:v>104.2553393000897</c:v>
                </c:pt>
                <c:pt idx="319">
                  <c:v>104.2553393000897</c:v>
                </c:pt>
                <c:pt idx="320">
                  <c:v>103.606572903348</c:v>
                </c:pt>
                <c:pt idx="321">
                  <c:v>104.1132736657671</c:v>
                </c:pt>
                <c:pt idx="322">
                  <c:v>104.78855898091599</c:v>
                </c:pt>
                <c:pt idx="323">
                  <c:v>105.61064545153189</c:v>
                </c:pt>
                <c:pt idx="324">
                  <c:v>105.484680589099</c:v>
                </c:pt>
                <c:pt idx="325">
                  <c:v>105.484680589099</c:v>
                </c:pt>
                <c:pt idx="326">
                  <c:v>105.484680589099</c:v>
                </c:pt>
                <c:pt idx="327">
                  <c:v>105.3681867689539</c:v>
                </c:pt>
                <c:pt idx="328">
                  <c:v>105.05658947767201</c:v>
                </c:pt>
                <c:pt idx="329">
                  <c:v>104.8093952739498</c:v>
                </c:pt>
                <c:pt idx="330">
                  <c:v>104.02614007671539</c:v>
                </c:pt>
                <c:pt idx="331">
                  <c:v>104.94483117867119</c:v>
                </c:pt>
                <c:pt idx="332">
                  <c:v>104.94483117867119</c:v>
                </c:pt>
                <c:pt idx="333">
                  <c:v>104.94483117867119</c:v>
                </c:pt>
                <c:pt idx="334">
                  <c:v>105.4695269214378</c:v>
                </c:pt>
                <c:pt idx="335">
                  <c:v>104.8207605246957</c:v>
                </c:pt>
                <c:pt idx="336">
                  <c:v>105.3937585831321</c:v>
                </c:pt>
                <c:pt idx="337">
                  <c:v>105.6456883079982</c:v>
                </c:pt>
                <c:pt idx="338">
                  <c:v>105.5036226736753</c:v>
                </c:pt>
                <c:pt idx="339">
                  <c:v>105.5036226736753</c:v>
                </c:pt>
                <c:pt idx="340">
                  <c:v>105.5036226736753</c:v>
                </c:pt>
                <c:pt idx="341">
                  <c:v>105.8455273002794</c:v>
                </c:pt>
                <c:pt idx="342">
                  <c:v>104.9154709475778</c:v>
                </c:pt>
                <c:pt idx="343">
                  <c:v>104.4125586020742</c:v>
                </c:pt>
                <c:pt idx="344">
                  <c:v>104.261021925463</c:v>
                </c:pt>
                <c:pt idx="345">
                  <c:v>104.4788558980915</c:v>
                </c:pt>
                <c:pt idx="346">
                  <c:v>104.4788558980915</c:v>
                </c:pt>
                <c:pt idx="347">
                  <c:v>104.4788558980915</c:v>
                </c:pt>
                <c:pt idx="348">
                  <c:v>104.1094852488515</c:v>
                </c:pt>
                <c:pt idx="349">
                  <c:v>102.89719183596149</c:v>
                </c:pt>
                <c:pt idx="350">
                  <c:v>103.6889709712553</c:v>
                </c:pt>
                <c:pt idx="351">
                  <c:v>104.3945636217267</c:v>
                </c:pt>
                <c:pt idx="352">
                  <c:v>104.3680447033196</c:v>
                </c:pt>
                <c:pt idx="353">
                  <c:v>104.3680447033196</c:v>
                </c:pt>
                <c:pt idx="354">
                  <c:v>104.3680447033196</c:v>
                </c:pt>
                <c:pt idx="355">
                  <c:v>103.82819529289181</c:v>
                </c:pt>
                <c:pt idx="356">
                  <c:v>104.44191883316761</c:v>
                </c:pt>
                <c:pt idx="357">
                  <c:v>104.450442771227</c:v>
                </c:pt>
                <c:pt idx="358">
                  <c:v>104.4087701851588</c:v>
                </c:pt>
                <c:pt idx="359">
                  <c:v>104.0621300374105</c:v>
                </c:pt>
                <c:pt idx="360">
                  <c:v>104.0621300374105</c:v>
                </c:pt>
                <c:pt idx="361">
                  <c:v>104.0621300374105</c:v>
                </c:pt>
                <c:pt idx="362">
                  <c:v>103.9588956764691</c:v>
                </c:pt>
                <c:pt idx="363">
                  <c:v>104.0914902685041</c:v>
                </c:pt>
                <c:pt idx="364">
                  <c:v>103.3271771558459</c:v>
                </c:pt>
                <c:pt idx="365">
                  <c:v>103.6084671118056</c:v>
                </c:pt>
                <c:pt idx="366">
                  <c:v>104.5072690249563</c:v>
                </c:pt>
                <c:pt idx="367">
                  <c:v>104.5072690249563</c:v>
                </c:pt>
                <c:pt idx="368">
                  <c:v>104.5072690249563</c:v>
                </c:pt>
                <c:pt idx="369">
                  <c:v>105.09920916796899</c:v>
                </c:pt>
                <c:pt idx="370">
                  <c:v>104.0536060993513</c:v>
                </c:pt>
                <c:pt idx="371">
                  <c:v>104.1700999194961</c:v>
                </c:pt>
                <c:pt idx="372">
                  <c:v>103.886915755079</c:v>
                </c:pt>
                <c:pt idx="373">
                  <c:v>103.20405360609939</c:v>
                </c:pt>
                <c:pt idx="374">
                  <c:v>103.20405360609939</c:v>
                </c:pt>
                <c:pt idx="375">
                  <c:v>103.20405360609939</c:v>
                </c:pt>
                <c:pt idx="376">
                  <c:v>102.4283752426954</c:v>
                </c:pt>
                <c:pt idx="377">
                  <c:v>102.6054837334845</c:v>
                </c:pt>
                <c:pt idx="378">
                  <c:v>102.4738362456789</c:v>
                </c:pt>
                <c:pt idx="379">
                  <c:v>102.59411848273901</c:v>
                </c:pt>
                <c:pt idx="380">
                  <c:v>102.02490884121799</c:v>
                </c:pt>
                <c:pt idx="381">
                  <c:v>102.02490884121799</c:v>
                </c:pt>
                <c:pt idx="382">
                  <c:v>102.02490884121799</c:v>
                </c:pt>
                <c:pt idx="383">
                  <c:v>102.0987829710659</c:v>
                </c:pt>
                <c:pt idx="384">
                  <c:v>103.0761945352086</c:v>
                </c:pt>
                <c:pt idx="385">
                  <c:v>102.599801108112</c:v>
                </c:pt>
                <c:pt idx="386">
                  <c:v>102.7570204100961</c:v>
                </c:pt>
                <c:pt idx="387">
                  <c:v>102.6679926125867</c:v>
                </c:pt>
                <c:pt idx="388">
                  <c:v>102.6679926125867</c:v>
                </c:pt>
                <c:pt idx="389">
                  <c:v>102.6679926125867</c:v>
                </c:pt>
                <c:pt idx="390">
                  <c:v>102.3611308424491</c:v>
                </c:pt>
                <c:pt idx="391">
                  <c:v>102.2635791068806</c:v>
                </c:pt>
                <c:pt idx="392">
                  <c:v>102.7077709901975</c:v>
                </c:pt>
                <c:pt idx="393">
                  <c:v>103.60752000757689</c:v>
                </c:pt>
                <c:pt idx="394">
                  <c:v>103.5828952976274</c:v>
                </c:pt>
                <c:pt idx="395">
                  <c:v>103.5828952976274</c:v>
                </c:pt>
                <c:pt idx="396">
                  <c:v>103.5828952976274</c:v>
                </c:pt>
                <c:pt idx="397">
                  <c:v>104.48737983615079</c:v>
                </c:pt>
                <c:pt idx="398">
                  <c:v>103.9437420088081</c:v>
                </c:pt>
                <c:pt idx="399">
                  <c:v>102.7248188663162</c:v>
                </c:pt>
                <c:pt idx="400">
                  <c:v>103.35937869962569</c:v>
                </c:pt>
                <c:pt idx="401">
                  <c:v>103.2135246483879</c:v>
                </c:pt>
                <c:pt idx="402">
                  <c:v>103.2135246483879</c:v>
                </c:pt>
                <c:pt idx="403">
                  <c:v>103.2135246483879</c:v>
                </c:pt>
                <c:pt idx="404">
                  <c:v>103.6842354501113</c:v>
                </c:pt>
                <c:pt idx="405">
                  <c:v>103.1907941468958</c:v>
                </c:pt>
                <c:pt idx="406">
                  <c:v>103.929535445376</c:v>
                </c:pt>
                <c:pt idx="407">
                  <c:v>105.20244352891039</c:v>
                </c:pt>
                <c:pt idx="408">
                  <c:v>103.8859686508499</c:v>
                </c:pt>
                <c:pt idx="409">
                  <c:v>103.8859686508499</c:v>
                </c:pt>
                <c:pt idx="410">
                  <c:v>103.8859686508499</c:v>
                </c:pt>
                <c:pt idx="411">
                  <c:v>104.396457830184</c:v>
                </c:pt>
                <c:pt idx="412">
                  <c:v>104.38793389212459</c:v>
                </c:pt>
                <c:pt idx="413">
                  <c:v>105.1778188189607</c:v>
                </c:pt>
                <c:pt idx="414">
                  <c:v>104.9846095562817</c:v>
                </c:pt>
                <c:pt idx="415">
                  <c:v>105.3321968082587</c:v>
                </c:pt>
                <c:pt idx="416">
                  <c:v>105.3321968082587</c:v>
                </c:pt>
                <c:pt idx="417">
                  <c:v>105.3321968082587</c:v>
                </c:pt>
                <c:pt idx="418">
                  <c:v>105.009234266231</c:v>
                </c:pt>
                <c:pt idx="419">
                  <c:v>105.1153099398589</c:v>
                </c:pt>
                <c:pt idx="420">
                  <c:v>104.0962257896484</c:v>
                </c:pt>
                <c:pt idx="421">
                  <c:v>103.9314296538335</c:v>
                </c:pt>
                <c:pt idx="422">
                  <c:v>103.992044324478</c:v>
                </c:pt>
                <c:pt idx="423">
                  <c:v>103.992044324478</c:v>
                </c:pt>
                <c:pt idx="424">
                  <c:v>103.992044324478</c:v>
                </c:pt>
                <c:pt idx="425">
                  <c:v>104.2543921958611</c:v>
                </c:pt>
                <c:pt idx="426">
                  <c:v>103.8319837098074</c:v>
                </c:pt>
                <c:pt idx="427">
                  <c:v>103.9636311976133</c:v>
                </c:pt>
                <c:pt idx="428">
                  <c:v>104.2761755931239</c:v>
                </c:pt>
                <c:pt idx="429">
                  <c:v>104.06875976701239</c:v>
                </c:pt>
                <c:pt idx="430">
                  <c:v>104.06875976701239</c:v>
                </c:pt>
                <c:pt idx="431">
                  <c:v>104.06875976701239</c:v>
                </c:pt>
                <c:pt idx="432">
                  <c:v>105.335985225174</c:v>
                </c:pt>
                <c:pt idx="433">
                  <c:v>106.32949756120659</c:v>
                </c:pt>
                <c:pt idx="434">
                  <c:v>106.6770848131834</c:v>
                </c:pt>
                <c:pt idx="435">
                  <c:v>106.6827674385563</c:v>
                </c:pt>
                <c:pt idx="436">
                  <c:v>106.89965430695651</c:v>
                </c:pt>
                <c:pt idx="437">
                  <c:v>106.89965430695651</c:v>
                </c:pt>
                <c:pt idx="438">
                  <c:v>106.89965430695651</c:v>
                </c:pt>
                <c:pt idx="439">
                  <c:v>107.181891367145</c:v>
                </c:pt>
                <c:pt idx="440">
                  <c:v>106.918596391533</c:v>
                </c:pt>
                <c:pt idx="441">
                  <c:v>107.00099445944031</c:v>
                </c:pt>
                <c:pt idx="442">
                  <c:v>105.81427286072829</c:v>
                </c:pt>
                <c:pt idx="443">
                  <c:v>106.348439645783</c:v>
                </c:pt>
                <c:pt idx="444">
                  <c:v>106.348439645783</c:v>
                </c:pt>
                <c:pt idx="445">
                  <c:v>106.348439645783</c:v>
                </c:pt>
                <c:pt idx="446">
                  <c:v>105.56329024009101</c:v>
                </c:pt>
                <c:pt idx="447">
                  <c:v>104.6284983662451</c:v>
                </c:pt>
                <c:pt idx="448">
                  <c:v>104.27806980158159</c:v>
                </c:pt>
                <c:pt idx="449">
                  <c:v>104.9126296348914</c:v>
                </c:pt>
                <c:pt idx="450">
                  <c:v>104.4949566699816</c:v>
                </c:pt>
                <c:pt idx="451">
                  <c:v>104.4949566699816</c:v>
                </c:pt>
                <c:pt idx="452">
                  <c:v>104.4949566699816</c:v>
                </c:pt>
                <c:pt idx="453">
                  <c:v>104.6550172846521</c:v>
                </c:pt>
                <c:pt idx="454">
                  <c:v>105.09920916796899</c:v>
                </c:pt>
                <c:pt idx="455">
                  <c:v>104.38982810058231</c:v>
                </c:pt>
                <c:pt idx="456">
                  <c:v>103.760003788417</c:v>
                </c:pt>
                <c:pt idx="457">
                  <c:v>103.522280626983</c:v>
                </c:pt>
                <c:pt idx="458">
                  <c:v>103.522280626983</c:v>
                </c:pt>
                <c:pt idx="459">
                  <c:v>103.522280626983</c:v>
                </c:pt>
                <c:pt idx="460">
                  <c:v>102.763650139698</c:v>
                </c:pt>
                <c:pt idx="461">
                  <c:v>103.0856655774967</c:v>
                </c:pt>
                <c:pt idx="462">
                  <c:v>103.3262300516172</c:v>
                </c:pt>
                <c:pt idx="463">
                  <c:v>103.4806080409151</c:v>
                </c:pt>
                <c:pt idx="464">
                  <c:v>103.4881848747455</c:v>
                </c:pt>
                <c:pt idx="465">
                  <c:v>103.4881848747455</c:v>
                </c:pt>
                <c:pt idx="466">
                  <c:v>103.4881848747455</c:v>
                </c:pt>
                <c:pt idx="467">
                  <c:v>104.0346640147748</c:v>
                </c:pt>
                <c:pt idx="468">
                  <c:v>103.6255149879244</c:v>
                </c:pt>
                <c:pt idx="469">
                  <c:v>103.8897570677652</c:v>
                </c:pt>
                <c:pt idx="470">
                  <c:v>103.1131316001326</c:v>
                </c:pt>
                <c:pt idx="471">
                  <c:v>102.6320026518918</c:v>
                </c:pt>
                <c:pt idx="472">
                  <c:v>102.6320026518918</c:v>
                </c:pt>
                <c:pt idx="473">
                  <c:v>102.6320026518918</c:v>
                </c:pt>
                <c:pt idx="474">
                  <c:v>102.2124354785243</c:v>
                </c:pt>
                <c:pt idx="475">
                  <c:v>102.6016953165694</c:v>
                </c:pt>
                <c:pt idx="476">
                  <c:v>102.2484254392197</c:v>
                </c:pt>
                <c:pt idx="477">
                  <c:v>102.49088412179761</c:v>
                </c:pt>
                <c:pt idx="478">
                  <c:v>102.2427428138465</c:v>
                </c:pt>
                <c:pt idx="479">
                  <c:v>102.2427428138465</c:v>
                </c:pt>
                <c:pt idx="480">
                  <c:v>102.2427428138465</c:v>
                </c:pt>
                <c:pt idx="481">
                  <c:v>101.62523085665541</c:v>
                </c:pt>
                <c:pt idx="482">
                  <c:v>101.3420466922385</c:v>
                </c:pt>
                <c:pt idx="483">
                  <c:v>101.20187526637309</c:v>
                </c:pt>
                <c:pt idx="484">
                  <c:v>101.5570393521806</c:v>
                </c:pt>
                <c:pt idx="485">
                  <c:v>102.0457451342517</c:v>
                </c:pt>
                <c:pt idx="486">
                  <c:v>102.0457451342517</c:v>
                </c:pt>
                <c:pt idx="487">
                  <c:v>102.0457451342517</c:v>
                </c:pt>
                <c:pt idx="488">
                  <c:v>102.1906520812615</c:v>
                </c:pt>
                <c:pt idx="489">
                  <c:v>102.515508831747</c:v>
                </c:pt>
                <c:pt idx="490">
                  <c:v>102.30430458872</c:v>
                </c:pt>
                <c:pt idx="491">
                  <c:v>103.1936354595823</c:v>
                </c:pt>
                <c:pt idx="492">
                  <c:v>103.0771416394374</c:v>
                </c:pt>
                <c:pt idx="493">
                  <c:v>103.0771416394374</c:v>
                </c:pt>
                <c:pt idx="494">
                  <c:v>103.0771416394374</c:v>
                </c:pt>
                <c:pt idx="495">
                  <c:v>103.3688497419141</c:v>
                </c:pt>
                <c:pt idx="496">
                  <c:v>103.7884169152814</c:v>
                </c:pt>
                <c:pt idx="497">
                  <c:v>104.1539991476061</c:v>
                </c:pt>
                <c:pt idx="498">
                  <c:v>103.2760335274894</c:v>
                </c:pt>
                <c:pt idx="499">
                  <c:v>102.8223706018845</c:v>
                </c:pt>
                <c:pt idx="500">
                  <c:v>102.8223706018845</c:v>
                </c:pt>
                <c:pt idx="501">
                  <c:v>102.8223706018845</c:v>
                </c:pt>
                <c:pt idx="502">
                  <c:v>102.809111142681</c:v>
                </c:pt>
                <c:pt idx="503">
                  <c:v>103.05535824217429</c:v>
                </c:pt>
                <c:pt idx="504">
                  <c:v>103.7997821660273</c:v>
                </c:pt>
                <c:pt idx="505">
                  <c:v>103.60752000757689</c:v>
                </c:pt>
                <c:pt idx="506">
                  <c:v>103.2447790879386</c:v>
                </c:pt>
                <c:pt idx="507">
                  <c:v>103.2447790879386</c:v>
                </c:pt>
                <c:pt idx="508">
                  <c:v>103.2447790879386</c:v>
                </c:pt>
                <c:pt idx="509">
                  <c:v>104.0668655585546</c:v>
                </c:pt>
                <c:pt idx="510">
                  <c:v>104.27996401003929</c:v>
                </c:pt>
                <c:pt idx="511">
                  <c:v>104.7090022256948</c:v>
                </c:pt>
                <c:pt idx="512">
                  <c:v>104.7610929582801</c:v>
                </c:pt>
                <c:pt idx="513">
                  <c:v>104.957143533646</c:v>
                </c:pt>
                <c:pt idx="514">
                  <c:v>104.957143533646</c:v>
                </c:pt>
                <c:pt idx="515">
                  <c:v>104.957143533646</c:v>
                </c:pt>
                <c:pt idx="516">
                  <c:v>105.14656437940999</c:v>
                </c:pt>
                <c:pt idx="517">
                  <c:v>105.36060993512341</c:v>
                </c:pt>
                <c:pt idx="518">
                  <c:v>104.6171331154993</c:v>
                </c:pt>
                <c:pt idx="519">
                  <c:v>105.4837334848701</c:v>
                </c:pt>
                <c:pt idx="520">
                  <c:v>105.2365392811483</c:v>
                </c:pt>
                <c:pt idx="521">
                  <c:v>105.2365392811483</c:v>
                </c:pt>
                <c:pt idx="522">
                  <c:v>105.2365392811483</c:v>
                </c:pt>
                <c:pt idx="523">
                  <c:v>106.38821802339351</c:v>
                </c:pt>
                <c:pt idx="524">
                  <c:v>105.9629682246531</c:v>
                </c:pt>
                <c:pt idx="525">
                  <c:v>104.9391485532983</c:v>
                </c:pt>
                <c:pt idx="526">
                  <c:v>104.99408059856989</c:v>
                </c:pt>
                <c:pt idx="527">
                  <c:v>105.56707865700621</c:v>
                </c:pt>
                <c:pt idx="528">
                  <c:v>105.56707865700621</c:v>
                </c:pt>
                <c:pt idx="529">
                  <c:v>105.56707865700621</c:v>
                </c:pt>
                <c:pt idx="530">
                  <c:v>105.81711417341479</c:v>
                </c:pt>
                <c:pt idx="531">
                  <c:v>105.932660889331</c:v>
                </c:pt>
                <c:pt idx="532">
                  <c:v>105.8606809679405</c:v>
                </c:pt>
                <c:pt idx="533">
                  <c:v>104.8558033811621</c:v>
                </c:pt>
                <c:pt idx="534">
                  <c:v>104.84917365156041</c:v>
                </c:pt>
                <c:pt idx="535">
                  <c:v>104.84917365156041</c:v>
                </c:pt>
                <c:pt idx="536">
                  <c:v>104.84917365156041</c:v>
                </c:pt>
                <c:pt idx="537">
                  <c:v>104.08391343467351</c:v>
                </c:pt>
                <c:pt idx="538">
                  <c:v>104.6266041577875</c:v>
                </c:pt>
                <c:pt idx="539">
                  <c:v>104.9874508689682</c:v>
                </c:pt>
                <c:pt idx="540">
                  <c:v>105.14751148363879</c:v>
                </c:pt>
                <c:pt idx="541">
                  <c:v>105.7385045224226</c:v>
                </c:pt>
                <c:pt idx="542">
                  <c:v>105.7385045224226</c:v>
                </c:pt>
                <c:pt idx="543">
                  <c:v>105.7385045224226</c:v>
                </c:pt>
                <c:pt idx="544">
                  <c:v>106.5672207226406</c:v>
                </c:pt>
                <c:pt idx="545">
                  <c:v>105.6485296206848</c:v>
                </c:pt>
                <c:pt idx="546">
                  <c:v>105.8474215087371</c:v>
                </c:pt>
                <c:pt idx="547">
                  <c:v>106.549225742293</c:v>
                </c:pt>
                <c:pt idx="548">
                  <c:v>106.3569635838425</c:v>
                </c:pt>
                <c:pt idx="549">
                  <c:v>106.3569635838425</c:v>
                </c:pt>
                <c:pt idx="550">
                  <c:v>106.3569635838425</c:v>
                </c:pt>
                <c:pt idx="551">
                  <c:v>106.68560875124309</c:v>
                </c:pt>
                <c:pt idx="552">
                  <c:v>107.04171994127979</c:v>
                </c:pt>
                <c:pt idx="553">
                  <c:v>107.6592318984703</c:v>
                </c:pt>
                <c:pt idx="554">
                  <c:v>107.3930956101719</c:v>
                </c:pt>
                <c:pt idx="555">
                  <c:v>106.9773168537197</c:v>
                </c:pt>
                <c:pt idx="556">
                  <c:v>106.9773168537197</c:v>
                </c:pt>
                <c:pt idx="557">
                  <c:v>106.9773168537197</c:v>
                </c:pt>
                <c:pt idx="558">
                  <c:v>107.0710801723729</c:v>
                </c:pt>
                <c:pt idx="559">
                  <c:v>108.1649855566604</c:v>
                </c:pt>
                <c:pt idx="560">
                  <c:v>108.3061040867547</c:v>
                </c:pt>
                <c:pt idx="561">
                  <c:v>108.84595349718241</c:v>
                </c:pt>
                <c:pt idx="562">
                  <c:v>108.67926315291</c:v>
                </c:pt>
                <c:pt idx="563">
                  <c:v>108.67926315291</c:v>
                </c:pt>
                <c:pt idx="564">
                  <c:v>108.67926315291</c:v>
                </c:pt>
                <c:pt idx="565">
                  <c:v>109.1253492446841</c:v>
                </c:pt>
                <c:pt idx="566">
                  <c:v>109.6955059904342</c:v>
                </c:pt>
                <c:pt idx="567">
                  <c:v>109.2484727944309</c:v>
                </c:pt>
                <c:pt idx="568">
                  <c:v>110.313965051854</c:v>
                </c:pt>
                <c:pt idx="569">
                  <c:v>110.609461571246</c:v>
                </c:pt>
                <c:pt idx="570">
                  <c:v>110.609461571246</c:v>
                </c:pt>
                <c:pt idx="571">
                  <c:v>110.609461571246</c:v>
                </c:pt>
                <c:pt idx="572">
                  <c:v>110.5270635033386</c:v>
                </c:pt>
                <c:pt idx="573">
                  <c:v>110.3082824264808</c:v>
                </c:pt>
                <c:pt idx="574">
                  <c:v>109.7324430553583</c:v>
                </c:pt>
                <c:pt idx="575">
                  <c:v>110.64261021925461</c:v>
                </c:pt>
                <c:pt idx="576">
                  <c:v>110.84055500307809</c:v>
                </c:pt>
                <c:pt idx="577">
                  <c:v>110.84055500307809</c:v>
                </c:pt>
                <c:pt idx="578">
                  <c:v>110.84055500307809</c:v>
                </c:pt>
                <c:pt idx="579">
                  <c:v>110.4228820381682</c:v>
                </c:pt>
                <c:pt idx="580">
                  <c:v>110.3774210351848</c:v>
                </c:pt>
                <c:pt idx="581">
                  <c:v>111.1483638774446</c:v>
                </c:pt>
                <c:pt idx="582">
                  <c:v>110.43519439314299</c:v>
                </c:pt>
                <c:pt idx="583">
                  <c:v>110.5706302978642</c:v>
                </c:pt>
                <c:pt idx="584">
                  <c:v>110.5706302978642</c:v>
                </c:pt>
                <c:pt idx="585">
                  <c:v>110.5706302978642</c:v>
                </c:pt>
                <c:pt idx="586">
                  <c:v>110.160534166785</c:v>
                </c:pt>
                <c:pt idx="587">
                  <c:v>111.65790595255</c:v>
                </c:pt>
                <c:pt idx="588">
                  <c:v>112.74707581569351</c:v>
                </c:pt>
                <c:pt idx="589">
                  <c:v>111.15499360704651</c:v>
                </c:pt>
                <c:pt idx="590">
                  <c:v>111.8132310460766</c:v>
                </c:pt>
                <c:pt idx="591">
                  <c:v>111.8132310460766</c:v>
                </c:pt>
                <c:pt idx="592">
                  <c:v>111.8132310460766</c:v>
                </c:pt>
                <c:pt idx="593">
                  <c:v>112.02443528910359</c:v>
                </c:pt>
                <c:pt idx="594">
                  <c:v>112.2460576786476</c:v>
                </c:pt>
                <c:pt idx="595">
                  <c:v>112.28204763934269</c:v>
                </c:pt>
                <c:pt idx="596">
                  <c:v>112.2479518871053</c:v>
                </c:pt>
                <c:pt idx="597">
                  <c:v>113.161907467917</c:v>
                </c:pt>
                <c:pt idx="598">
                  <c:v>113.161907467917</c:v>
                </c:pt>
                <c:pt idx="599">
                  <c:v>113.161907467917</c:v>
                </c:pt>
                <c:pt idx="600">
                  <c:v>113.5511673059621</c:v>
                </c:pt>
                <c:pt idx="601">
                  <c:v>113.2291518681631</c:v>
                </c:pt>
                <c:pt idx="602">
                  <c:v>112.3095136619788</c:v>
                </c:pt>
                <c:pt idx="603">
                  <c:v>112.2413221575034</c:v>
                </c:pt>
                <c:pt idx="604">
                  <c:v>111.1805654212246</c:v>
                </c:pt>
                <c:pt idx="605">
                  <c:v>111.1805654212246</c:v>
                </c:pt>
                <c:pt idx="606">
                  <c:v>111.1805654212246</c:v>
                </c:pt>
                <c:pt idx="607">
                  <c:v>112.032959227163</c:v>
                </c:pt>
                <c:pt idx="608">
                  <c:v>110.972202490884</c:v>
                </c:pt>
                <c:pt idx="609">
                  <c:v>111.83217313065281</c:v>
                </c:pt>
                <c:pt idx="610">
                  <c:v>112.7319221480324</c:v>
                </c:pt>
                <c:pt idx="611">
                  <c:v>113.00563527016151</c:v>
                </c:pt>
                <c:pt idx="612">
                  <c:v>113.00563527016151</c:v>
                </c:pt>
                <c:pt idx="613">
                  <c:v>113.00563527016151</c:v>
                </c:pt>
                <c:pt idx="614">
                  <c:v>114.0332433584316</c:v>
                </c:pt>
                <c:pt idx="615">
                  <c:v>113.72069896292091</c:v>
                </c:pt>
              </c:numCache>
            </c:numRef>
          </c:val>
          <c:smooth val="0"/>
        </c:ser>
        <c:ser>
          <c:idx val="3"/>
          <c:order val="2"/>
          <c:tx>
            <c:strRef>
              <c:f>Sheet1!$E$1</c:f>
              <c:strCache>
                <c:ptCount val="1"/>
                <c:pt idx="0">
                  <c:v>Thailand</c:v>
                </c:pt>
              </c:strCache>
            </c:strRef>
          </c:tx>
          <c:spPr>
            <a:ln w="12700">
              <a:solidFill>
                <a:schemeClr val="accent6">
                  <a:lumMod val="75000"/>
                </a:schemeClr>
              </a:solidFill>
            </a:ln>
          </c:spPr>
          <c:marker>
            <c:symbol val="none"/>
          </c:marke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E$2:$E$634</c:f>
              <c:numCache>
                <c:formatCode>General</c:formatCode>
                <c:ptCount val="633"/>
                <c:pt idx="0">
                  <c:v>100</c:v>
                </c:pt>
                <c:pt idx="1">
                  <c:v>100.73954099562999</c:v>
                </c:pt>
                <c:pt idx="2">
                  <c:v>100.86177917672561</c:v>
                </c:pt>
                <c:pt idx="3">
                  <c:v>100.86177917672561</c:v>
                </c:pt>
                <c:pt idx="4">
                  <c:v>100.86177917672561</c:v>
                </c:pt>
                <c:pt idx="5">
                  <c:v>101.09097576628059</c:v>
                </c:pt>
                <c:pt idx="6">
                  <c:v>101.06041622100661</c:v>
                </c:pt>
                <c:pt idx="7">
                  <c:v>101.0298566757327</c:v>
                </c:pt>
                <c:pt idx="8">
                  <c:v>100.89233872199959</c:v>
                </c:pt>
                <c:pt idx="9">
                  <c:v>100.87705894936281</c:v>
                </c:pt>
                <c:pt idx="10">
                  <c:v>100.87705894936281</c:v>
                </c:pt>
                <c:pt idx="11">
                  <c:v>100.87705894936281</c:v>
                </c:pt>
                <c:pt idx="12">
                  <c:v>100.72426122299299</c:v>
                </c:pt>
                <c:pt idx="13">
                  <c:v>100.15890963542439</c:v>
                </c:pt>
                <c:pt idx="14">
                  <c:v>100.4492253155274</c:v>
                </c:pt>
                <c:pt idx="15">
                  <c:v>100.14362986278771</c:v>
                </c:pt>
                <c:pt idx="16">
                  <c:v>100.2658680438834</c:v>
                </c:pt>
                <c:pt idx="17">
                  <c:v>100.2658680438834</c:v>
                </c:pt>
                <c:pt idx="18">
                  <c:v>100.2658680438834</c:v>
                </c:pt>
                <c:pt idx="19">
                  <c:v>100.2658680438834</c:v>
                </c:pt>
                <c:pt idx="20">
                  <c:v>100.5867432692603</c:v>
                </c:pt>
                <c:pt idx="21">
                  <c:v>100.6050789964241</c:v>
                </c:pt>
                <c:pt idx="22">
                  <c:v>100.4828408153286</c:v>
                </c:pt>
                <c:pt idx="23">
                  <c:v>100.35754667970539</c:v>
                </c:pt>
                <c:pt idx="24">
                  <c:v>100.35754667970539</c:v>
                </c:pt>
                <c:pt idx="25">
                  <c:v>100.35754667970539</c:v>
                </c:pt>
                <c:pt idx="26">
                  <c:v>100.5714634966232</c:v>
                </c:pt>
                <c:pt idx="27">
                  <c:v>100.6020230418972</c:v>
                </c:pt>
                <c:pt idx="28">
                  <c:v>100.69370167771901</c:v>
                </c:pt>
                <c:pt idx="29">
                  <c:v>100.87705894936281</c:v>
                </c:pt>
                <c:pt idx="30">
                  <c:v>100.90761849463679</c:v>
                </c:pt>
                <c:pt idx="31">
                  <c:v>100.90761849463679</c:v>
                </c:pt>
                <c:pt idx="32">
                  <c:v>100.90761849463679</c:v>
                </c:pt>
                <c:pt idx="33">
                  <c:v>100.6631421324448</c:v>
                </c:pt>
                <c:pt idx="34">
                  <c:v>100.0855667267671</c:v>
                </c:pt>
                <c:pt idx="35">
                  <c:v>100.12529413562309</c:v>
                </c:pt>
                <c:pt idx="36">
                  <c:v>100.22614063502731</c:v>
                </c:pt>
                <c:pt idx="37">
                  <c:v>100.2353084986094</c:v>
                </c:pt>
                <c:pt idx="38">
                  <c:v>100.2353084986094</c:v>
                </c:pt>
                <c:pt idx="39">
                  <c:v>100.2353084986094</c:v>
                </c:pt>
                <c:pt idx="40">
                  <c:v>100.2811478165202</c:v>
                </c:pt>
                <c:pt idx="41">
                  <c:v>100.0458393179109</c:v>
                </c:pt>
                <c:pt idx="42">
                  <c:v>99.419368639794641</c:v>
                </c:pt>
                <c:pt idx="43">
                  <c:v>99.54771872994543</c:v>
                </c:pt>
                <c:pt idx="44">
                  <c:v>98.829569416007104</c:v>
                </c:pt>
                <c:pt idx="45">
                  <c:v>98.829569416007104</c:v>
                </c:pt>
                <c:pt idx="46">
                  <c:v>98.829569416007104</c:v>
                </c:pt>
                <c:pt idx="47">
                  <c:v>98.493414417993435</c:v>
                </c:pt>
                <c:pt idx="48">
                  <c:v>99.294074504171377</c:v>
                </c:pt>
                <c:pt idx="49">
                  <c:v>99.587446138801269</c:v>
                </c:pt>
                <c:pt idx="50">
                  <c:v>99.486599639397625</c:v>
                </c:pt>
                <c:pt idx="51">
                  <c:v>99.364361458301502</c:v>
                </c:pt>
                <c:pt idx="52">
                  <c:v>99.364361458301502</c:v>
                </c:pt>
                <c:pt idx="53">
                  <c:v>99.364361458301502</c:v>
                </c:pt>
                <c:pt idx="54">
                  <c:v>99.440760321486408</c:v>
                </c:pt>
                <c:pt idx="55">
                  <c:v>99.471319866760382</c:v>
                </c:pt>
                <c:pt idx="56">
                  <c:v>99.593558047856249</c:v>
                </c:pt>
                <c:pt idx="57">
                  <c:v>99.562998502582005</c:v>
                </c:pt>
                <c:pt idx="58">
                  <c:v>99.501879412034185</c:v>
                </c:pt>
                <c:pt idx="59">
                  <c:v>99.501879412034185</c:v>
                </c:pt>
                <c:pt idx="60">
                  <c:v>99.501879412034185</c:v>
                </c:pt>
                <c:pt idx="61">
                  <c:v>99.410200776212605</c:v>
                </c:pt>
                <c:pt idx="62">
                  <c:v>98.79900987073313</c:v>
                </c:pt>
                <c:pt idx="63">
                  <c:v>98.69205146227425</c:v>
                </c:pt>
                <c:pt idx="64">
                  <c:v>98.539253735904424</c:v>
                </c:pt>
                <c:pt idx="65">
                  <c:v>98.737890780185225</c:v>
                </c:pt>
                <c:pt idx="66">
                  <c:v>98.737890780185225</c:v>
                </c:pt>
                <c:pt idx="67">
                  <c:v>98.737890780185225</c:v>
                </c:pt>
                <c:pt idx="68">
                  <c:v>98.95180759710297</c:v>
                </c:pt>
                <c:pt idx="69">
                  <c:v>98.921248051828982</c:v>
                </c:pt>
                <c:pt idx="70">
                  <c:v>98.985423096904313</c:v>
                </c:pt>
                <c:pt idx="71">
                  <c:v>98.829569416007104</c:v>
                </c:pt>
                <c:pt idx="72">
                  <c:v>98.646212144363304</c:v>
                </c:pt>
                <c:pt idx="73">
                  <c:v>98.646212144363304</c:v>
                </c:pt>
                <c:pt idx="74">
                  <c:v>98.646212144363304</c:v>
                </c:pt>
                <c:pt idx="75">
                  <c:v>98.487302508938683</c:v>
                </c:pt>
                <c:pt idx="76">
                  <c:v>98.126699874705849</c:v>
                </c:pt>
                <c:pt idx="77">
                  <c:v>98.72261100754821</c:v>
                </c:pt>
                <c:pt idx="78">
                  <c:v>98.967087369739943</c:v>
                </c:pt>
                <c:pt idx="79">
                  <c:v>98.982367142376802</c:v>
                </c:pt>
                <c:pt idx="80">
                  <c:v>98.982367142376802</c:v>
                </c:pt>
                <c:pt idx="81">
                  <c:v>98.982367142376802</c:v>
                </c:pt>
                <c:pt idx="82">
                  <c:v>99.165724414020602</c:v>
                </c:pt>
                <c:pt idx="83">
                  <c:v>99.532438957308202</c:v>
                </c:pt>
                <c:pt idx="84">
                  <c:v>99.523271093725867</c:v>
                </c:pt>
                <c:pt idx="85">
                  <c:v>99.349081685664515</c:v>
                </c:pt>
                <c:pt idx="86">
                  <c:v>99.318522140390556</c:v>
                </c:pt>
                <c:pt idx="87">
                  <c:v>99.318522140390556</c:v>
                </c:pt>
                <c:pt idx="88">
                  <c:v>99.318522140390556</c:v>
                </c:pt>
                <c:pt idx="89">
                  <c:v>99.067933869144113</c:v>
                </c:pt>
                <c:pt idx="90">
                  <c:v>98.844849188644062</c:v>
                </c:pt>
                <c:pt idx="91">
                  <c:v>99.119885096109599</c:v>
                </c:pt>
                <c:pt idx="92">
                  <c:v>99.287962595116625</c:v>
                </c:pt>
                <c:pt idx="93">
                  <c:v>99.226843504568649</c:v>
                </c:pt>
                <c:pt idx="94">
                  <c:v>99.226843504568649</c:v>
                </c:pt>
                <c:pt idx="95">
                  <c:v>99.226843504568649</c:v>
                </c:pt>
                <c:pt idx="96">
                  <c:v>99.193228004767306</c:v>
                </c:pt>
                <c:pt idx="97">
                  <c:v>98.60037282645186</c:v>
                </c:pt>
                <c:pt idx="98">
                  <c:v>98.371176236897398</c:v>
                </c:pt>
                <c:pt idx="99">
                  <c:v>98.621764508144111</c:v>
                </c:pt>
                <c:pt idx="100">
                  <c:v>98.676771689637249</c:v>
                </c:pt>
                <c:pt idx="101">
                  <c:v>98.676771689637249</c:v>
                </c:pt>
                <c:pt idx="102">
                  <c:v>98.676771689637249</c:v>
                </c:pt>
                <c:pt idx="103">
                  <c:v>98.585093053815356</c:v>
                </c:pt>
                <c:pt idx="104">
                  <c:v>98.774562234513951</c:v>
                </c:pt>
                <c:pt idx="105">
                  <c:v>98.502582281575641</c:v>
                </c:pt>
                <c:pt idx="106">
                  <c:v>98.383400055007201</c:v>
                </c:pt>
                <c:pt idx="107">
                  <c:v>98.340616691623623</c:v>
                </c:pt>
                <c:pt idx="108">
                  <c:v>98.340616691623623</c:v>
                </c:pt>
                <c:pt idx="109">
                  <c:v>98.340616691623623</c:v>
                </c:pt>
                <c:pt idx="110">
                  <c:v>98.523973963267423</c:v>
                </c:pt>
                <c:pt idx="111">
                  <c:v>98.768450325459</c:v>
                </c:pt>
                <c:pt idx="112">
                  <c:v>98.847905143171445</c:v>
                </c:pt>
                <c:pt idx="113">
                  <c:v>98.933471869938586</c:v>
                </c:pt>
                <c:pt idx="114">
                  <c:v>98.554533508541383</c:v>
                </c:pt>
                <c:pt idx="115">
                  <c:v>98.554533508541383</c:v>
                </c:pt>
                <c:pt idx="116">
                  <c:v>98.554533508541383</c:v>
                </c:pt>
                <c:pt idx="117">
                  <c:v>98.569813281178625</c:v>
                </c:pt>
                <c:pt idx="118">
                  <c:v>98.563701372123305</c:v>
                </c:pt>
                <c:pt idx="119">
                  <c:v>98.905968279191981</c:v>
                </c:pt>
                <c:pt idx="120">
                  <c:v>98.918192097301599</c:v>
                </c:pt>
                <c:pt idx="121">
                  <c:v>99.022094551233081</c:v>
                </c:pt>
                <c:pt idx="122">
                  <c:v>99.022094551233081</c:v>
                </c:pt>
                <c:pt idx="123">
                  <c:v>99.022094551233081</c:v>
                </c:pt>
                <c:pt idx="124">
                  <c:v>98.860128961281063</c:v>
                </c:pt>
                <c:pt idx="125">
                  <c:v>98.869296824863255</c:v>
                </c:pt>
                <c:pt idx="126">
                  <c:v>98.954863551630424</c:v>
                </c:pt>
                <c:pt idx="127">
                  <c:v>99.284906640589185</c:v>
                </c:pt>
                <c:pt idx="128">
                  <c:v>99.685236683678141</c:v>
                </c:pt>
                <c:pt idx="129">
                  <c:v>99.685236683678141</c:v>
                </c:pt>
                <c:pt idx="130">
                  <c:v>99.685236683678141</c:v>
                </c:pt>
                <c:pt idx="131">
                  <c:v>99.654677138403841</c:v>
                </c:pt>
                <c:pt idx="132">
                  <c:v>99.654677138403841</c:v>
                </c:pt>
                <c:pt idx="133">
                  <c:v>99.074045778198808</c:v>
                </c:pt>
                <c:pt idx="134">
                  <c:v>99.379641230938432</c:v>
                </c:pt>
                <c:pt idx="135">
                  <c:v>99.318522140390556</c:v>
                </c:pt>
                <c:pt idx="136">
                  <c:v>99.318522140390556</c:v>
                </c:pt>
                <c:pt idx="137">
                  <c:v>99.318522140390556</c:v>
                </c:pt>
                <c:pt idx="138">
                  <c:v>99.278794731534134</c:v>
                </c:pt>
                <c:pt idx="139">
                  <c:v>99.410200776212605</c:v>
                </c:pt>
                <c:pt idx="140">
                  <c:v>99.208507777404037</c:v>
                </c:pt>
                <c:pt idx="141">
                  <c:v>99.535494911835713</c:v>
                </c:pt>
                <c:pt idx="142">
                  <c:v>99.501879412034185</c:v>
                </c:pt>
                <c:pt idx="143">
                  <c:v>99.501879412034185</c:v>
                </c:pt>
                <c:pt idx="144">
                  <c:v>99.501879412034185</c:v>
                </c:pt>
                <c:pt idx="145">
                  <c:v>99.562998502582005</c:v>
                </c:pt>
                <c:pt idx="146">
                  <c:v>99.685236683678141</c:v>
                </c:pt>
                <c:pt idx="147">
                  <c:v>99.902209455123327</c:v>
                </c:pt>
                <c:pt idx="148">
                  <c:v>100.2383644531369</c:v>
                </c:pt>
                <c:pt idx="149">
                  <c:v>100.35754667970539</c:v>
                </c:pt>
                <c:pt idx="150">
                  <c:v>100.35754667970539</c:v>
                </c:pt>
                <c:pt idx="151">
                  <c:v>100.35754667970539</c:v>
                </c:pt>
                <c:pt idx="152">
                  <c:v>100.3636585887602</c:v>
                </c:pt>
                <c:pt idx="153">
                  <c:v>99.685236683678141</c:v>
                </c:pt>
                <c:pt idx="154">
                  <c:v>99.838034410047982</c:v>
                </c:pt>
                <c:pt idx="155">
                  <c:v>99.746355774226075</c:v>
                </c:pt>
                <c:pt idx="156">
                  <c:v>99.257403049842836</c:v>
                </c:pt>
                <c:pt idx="157">
                  <c:v>99.257403049842836</c:v>
                </c:pt>
                <c:pt idx="158">
                  <c:v>99.257403049842836</c:v>
                </c:pt>
                <c:pt idx="159">
                  <c:v>99.074045778198808</c:v>
                </c:pt>
                <c:pt idx="160">
                  <c:v>99.226843504568649</c:v>
                </c:pt>
                <c:pt idx="161">
                  <c:v>99.257403049842836</c:v>
                </c:pt>
                <c:pt idx="162">
                  <c:v>99.159612504965878</c:v>
                </c:pt>
                <c:pt idx="163">
                  <c:v>98.936527824465969</c:v>
                </c:pt>
                <c:pt idx="164">
                  <c:v>98.936527824465969</c:v>
                </c:pt>
                <c:pt idx="165">
                  <c:v>98.936527824465969</c:v>
                </c:pt>
                <c:pt idx="166">
                  <c:v>98.881520642973001</c:v>
                </c:pt>
                <c:pt idx="167">
                  <c:v>99.318522140390556</c:v>
                </c:pt>
                <c:pt idx="168">
                  <c:v>99.165724414020602</c:v>
                </c:pt>
                <c:pt idx="169">
                  <c:v>99.217675640986599</c:v>
                </c:pt>
                <c:pt idx="170">
                  <c:v>99.202395868349498</c:v>
                </c:pt>
                <c:pt idx="171">
                  <c:v>99.202395868349498</c:v>
                </c:pt>
                <c:pt idx="172">
                  <c:v>99.202395868349498</c:v>
                </c:pt>
                <c:pt idx="173">
                  <c:v>99.132108914219302</c:v>
                </c:pt>
                <c:pt idx="174">
                  <c:v>99.165724414020602</c:v>
                </c:pt>
                <c:pt idx="175">
                  <c:v>99.196283959294675</c:v>
                </c:pt>
                <c:pt idx="176">
                  <c:v>99.257403049842836</c:v>
                </c:pt>
                <c:pt idx="177">
                  <c:v>99.196283959294675</c:v>
                </c:pt>
                <c:pt idx="178">
                  <c:v>99.196283959294675</c:v>
                </c:pt>
                <c:pt idx="179">
                  <c:v>99.196283959294675</c:v>
                </c:pt>
                <c:pt idx="180">
                  <c:v>99.135164868746756</c:v>
                </c:pt>
                <c:pt idx="181">
                  <c:v>98.982367142376802</c:v>
                </c:pt>
                <c:pt idx="182">
                  <c:v>98.942639733520778</c:v>
                </c:pt>
                <c:pt idx="183">
                  <c:v>99.009870733123208</c:v>
                </c:pt>
                <c:pt idx="184">
                  <c:v>98.921248051828982</c:v>
                </c:pt>
                <c:pt idx="185">
                  <c:v>98.921248051828982</c:v>
                </c:pt>
                <c:pt idx="186">
                  <c:v>98.921248051828982</c:v>
                </c:pt>
                <c:pt idx="187">
                  <c:v>99.052654096507041</c:v>
                </c:pt>
                <c:pt idx="188">
                  <c:v>98.957919506157737</c:v>
                </c:pt>
                <c:pt idx="189">
                  <c:v>98.340616691623623</c:v>
                </c:pt>
                <c:pt idx="190">
                  <c:v>98.371176236897398</c:v>
                </c:pt>
                <c:pt idx="191">
                  <c:v>98.218378510527458</c:v>
                </c:pt>
                <c:pt idx="192">
                  <c:v>98.218378510527458</c:v>
                </c:pt>
                <c:pt idx="193">
                  <c:v>98.218378510527458</c:v>
                </c:pt>
                <c:pt idx="194">
                  <c:v>98.215322556000331</c:v>
                </c:pt>
                <c:pt idx="195">
                  <c:v>98.218378510527458</c:v>
                </c:pt>
                <c:pt idx="196">
                  <c:v>98.126699874705849</c:v>
                </c:pt>
                <c:pt idx="197">
                  <c:v>98.368120282370313</c:v>
                </c:pt>
                <c:pt idx="198">
                  <c:v>98.218378510527458</c:v>
                </c:pt>
                <c:pt idx="199">
                  <c:v>98.218378510527458</c:v>
                </c:pt>
                <c:pt idx="200">
                  <c:v>98.218378510527458</c:v>
                </c:pt>
                <c:pt idx="201">
                  <c:v>97.466613696788315</c:v>
                </c:pt>
                <c:pt idx="202">
                  <c:v>97.057115790117294</c:v>
                </c:pt>
                <c:pt idx="203">
                  <c:v>97.099899153500502</c:v>
                </c:pt>
                <c:pt idx="204">
                  <c:v>97.304648106835998</c:v>
                </c:pt>
                <c:pt idx="205">
                  <c:v>97.332151697582631</c:v>
                </c:pt>
                <c:pt idx="206">
                  <c:v>97.332151697582631</c:v>
                </c:pt>
                <c:pt idx="207">
                  <c:v>97.332151697582631</c:v>
                </c:pt>
                <c:pt idx="208">
                  <c:v>97.209913516486637</c:v>
                </c:pt>
                <c:pt idx="209">
                  <c:v>97.301592152308629</c:v>
                </c:pt>
                <c:pt idx="210">
                  <c:v>97.662194786541548</c:v>
                </c:pt>
                <c:pt idx="211">
                  <c:v>98.371176236897398</c:v>
                </c:pt>
                <c:pt idx="212">
                  <c:v>98.218378510527458</c:v>
                </c:pt>
                <c:pt idx="213">
                  <c:v>98.218378510527458</c:v>
                </c:pt>
                <c:pt idx="214">
                  <c:v>98.218378510527458</c:v>
                </c:pt>
                <c:pt idx="215">
                  <c:v>98.261161873911334</c:v>
                </c:pt>
                <c:pt idx="216">
                  <c:v>98.450631054609801</c:v>
                </c:pt>
                <c:pt idx="217">
                  <c:v>98.33756073709624</c:v>
                </c:pt>
                <c:pt idx="218">
                  <c:v>98.554533508541383</c:v>
                </c:pt>
                <c:pt idx="219">
                  <c:v>98.157259419979823</c:v>
                </c:pt>
                <c:pt idx="220">
                  <c:v>98.157259419979823</c:v>
                </c:pt>
                <c:pt idx="221">
                  <c:v>98.157259419979823</c:v>
                </c:pt>
                <c:pt idx="222">
                  <c:v>98.065580784157945</c:v>
                </c:pt>
                <c:pt idx="223">
                  <c:v>98.031965284356716</c:v>
                </c:pt>
                <c:pt idx="224">
                  <c:v>97.637747150322227</c:v>
                </c:pt>
                <c:pt idx="225">
                  <c:v>97.332151697582631</c:v>
                </c:pt>
                <c:pt idx="226">
                  <c:v>97.423830333404283</c:v>
                </c:pt>
                <c:pt idx="227">
                  <c:v>97.423830333404283</c:v>
                </c:pt>
                <c:pt idx="228">
                  <c:v>97.423830333404283</c:v>
                </c:pt>
                <c:pt idx="229">
                  <c:v>97.295480243253948</c:v>
                </c:pt>
                <c:pt idx="230">
                  <c:v>97.515508969226545</c:v>
                </c:pt>
                <c:pt idx="231">
                  <c:v>97.821104421966226</c:v>
                </c:pt>
                <c:pt idx="232">
                  <c:v>97.729425786144304</c:v>
                </c:pt>
                <c:pt idx="233">
                  <c:v>97.607187605048424</c:v>
                </c:pt>
                <c:pt idx="234">
                  <c:v>97.607187605048424</c:v>
                </c:pt>
                <c:pt idx="235">
                  <c:v>97.607187605048424</c:v>
                </c:pt>
                <c:pt idx="236">
                  <c:v>97.70497814992514</c:v>
                </c:pt>
                <c:pt idx="237">
                  <c:v>97.576628059774478</c:v>
                </c:pt>
                <c:pt idx="238">
                  <c:v>97.515508969226545</c:v>
                </c:pt>
                <c:pt idx="239">
                  <c:v>97.607187605048424</c:v>
                </c:pt>
                <c:pt idx="240">
                  <c:v>97.607187605048424</c:v>
                </c:pt>
                <c:pt idx="241">
                  <c:v>97.607187605048424</c:v>
                </c:pt>
                <c:pt idx="242">
                  <c:v>97.607187605048424</c:v>
                </c:pt>
                <c:pt idx="243">
                  <c:v>97.729425786144304</c:v>
                </c:pt>
                <c:pt idx="244">
                  <c:v>98.181707056198704</c:v>
                </c:pt>
                <c:pt idx="245">
                  <c:v>97.882223512514031</c:v>
                </c:pt>
                <c:pt idx="246">
                  <c:v>98.035021238883814</c:v>
                </c:pt>
                <c:pt idx="247">
                  <c:v>97.75998533141825</c:v>
                </c:pt>
                <c:pt idx="248">
                  <c:v>97.75998533141825</c:v>
                </c:pt>
                <c:pt idx="249">
                  <c:v>97.75998533141825</c:v>
                </c:pt>
                <c:pt idx="250">
                  <c:v>98.004461693609983</c:v>
                </c:pt>
                <c:pt idx="251">
                  <c:v>98.065580784157945</c:v>
                </c:pt>
                <c:pt idx="252">
                  <c:v>98.316169055404444</c:v>
                </c:pt>
                <c:pt idx="253">
                  <c:v>98.374232191424653</c:v>
                </c:pt>
                <c:pt idx="254">
                  <c:v>98.539253735904424</c:v>
                </c:pt>
                <c:pt idx="255">
                  <c:v>98.539253735904424</c:v>
                </c:pt>
                <c:pt idx="256">
                  <c:v>98.539253735904424</c:v>
                </c:pt>
                <c:pt idx="257">
                  <c:v>98.637044280781112</c:v>
                </c:pt>
                <c:pt idx="258">
                  <c:v>98.401735782171571</c:v>
                </c:pt>
                <c:pt idx="259">
                  <c:v>98.707331234911209</c:v>
                </c:pt>
                <c:pt idx="260">
                  <c:v>98.563701372123305</c:v>
                </c:pt>
                <c:pt idx="261">
                  <c:v>98.401735782171571</c:v>
                </c:pt>
                <c:pt idx="262">
                  <c:v>98.401735782171571</c:v>
                </c:pt>
                <c:pt idx="263">
                  <c:v>98.401735782171571</c:v>
                </c:pt>
                <c:pt idx="264">
                  <c:v>98.585093053815356</c:v>
                </c:pt>
                <c:pt idx="265">
                  <c:v>98.557589463068766</c:v>
                </c:pt>
                <c:pt idx="266">
                  <c:v>98.43229532744553</c:v>
                </c:pt>
                <c:pt idx="267">
                  <c:v>98.670659780582454</c:v>
                </c:pt>
                <c:pt idx="268">
                  <c:v>98.808177734315308</c:v>
                </c:pt>
                <c:pt idx="269">
                  <c:v>98.808177734315308</c:v>
                </c:pt>
                <c:pt idx="270">
                  <c:v>98.808177734315308</c:v>
                </c:pt>
                <c:pt idx="271">
                  <c:v>99.012926687650875</c:v>
                </c:pt>
                <c:pt idx="272">
                  <c:v>99.107661278000165</c:v>
                </c:pt>
                <c:pt idx="273">
                  <c:v>99.080157687253603</c:v>
                </c:pt>
                <c:pt idx="274">
                  <c:v>99.153500595911112</c:v>
                </c:pt>
                <c:pt idx="275">
                  <c:v>99.746355774226075</c:v>
                </c:pt>
                <c:pt idx="276">
                  <c:v>99.746355774226075</c:v>
                </c:pt>
                <c:pt idx="277">
                  <c:v>99.746355774226075</c:v>
                </c:pt>
                <c:pt idx="278">
                  <c:v>99.593558047856249</c:v>
                </c:pt>
                <c:pt idx="279">
                  <c:v>99.587446138801269</c:v>
                </c:pt>
                <c:pt idx="280">
                  <c:v>99.501879412034185</c:v>
                </c:pt>
                <c:pt idx="281">
                  <c:v>99.095437459890462</c:v>
                </c:pt>
                <c:pt idx="282">
                  <c:v>99.208507777404037</c:v>
                </c:pt>
                <c:pt idx="283">
                  <c:v>99.208507777404037</c:v>
                </c:pt>
                <c:pt idx="284">
                  <c:v>99.208507777404037</c:v>
                </c:pt>
                <c:pt idx="285">
                  <c:v>99.074045778198808</c:v>
                </c:pt>
                <c:pt idx="286">
                  <c:v>99.309354276808349</c:v>
                </c:pt>
                <c:pt idx="287">
                  <c:v>99.074045778198808</c:v>
                </c:pt>
                <c:pt idx="288">
                  <c:v>99.046542187452161</c:v>
                </c:pt>
                <c:pt idx="289">
                  <c:v>99.074045778198808</c:v>
                </c:pt>
                <c:pt idx="290">
                  <c:v>99.074045778198808</c:v>
                </c:pt>
                <c:pt idx="291">
                  <c:v>99.074045778198808</c:v>
                </c:pt>
                <c:pt idx="292">
                  <c:v>98.646212144363304</c:v>
                </c:pt>
                <c:pt idx="293">
                  <c:v>98.582037099287902</c:v>
                </c:pt>
                <c:pt idx="294">
                  <c:v>98.829569416007104</c:v>
                </c:pt>
                <c:pt idx="295">
                  <c:v>98.921248051828982</c:v>
                </c:pt>
                <c:pt idx="296">
                  <c:v>99.037374323870068</c:v>
                </c:pt>
                <c:pt idx="297">
                  <c:v>99.037374323870068</c:v>
                </c:pt>
                <c:pt idx="298">
                  <c:v>99.037374323870068</c:v>
                </c:pt>
                <c:pt idx="299">
                  <c:v>99.135164868746756</c:v>
                </c:pt>
                <c:pt idx="300">
                  <c:v>99.135164868746756</c:v>
                </c:pt>
                <c:pt idx="301">
                  <c:v>99.379641230938432</c:v>
                </c:pt>
                <c:pt idx="302">
                  <c:v>99.504935366561568</c:v>
                </c:pt>
                <c:pt idx="303">
                  <c:v>99.624117593130208</c:v>
                </c:pt>
                <c:pt idx="304">
                  <c:v>99.624117593130208</c:v>
                </c:pt>
                <c:pt idx="305">
                  <c:v>99.624117593130208</c:v>
                </c:pt>
                <c:pt idx="306">
                  <c:v>99.960272591143834</c:v>
                </c:pt>
                <c:pt idx="307">
                  <c:v>99.862482046267061</c:v>
                </c:pt>
                <c:pt idx="308">
                  <c:v>100.1039024539314</c:v>
                </c:pt>
                <c:pt idx="309">
                  <c:v>100.35754667970539</c:v>
                </c:pt>
                <c:pt idx="310">
                  <c:v>100.1955810897534</c:v>
                </c:pt>
                <c:pt idx="311">
                  <c:v>100.1955810897534</c:v>
                </c:pt>
                <c:pt idx="312">
                  <c:v>100.1955810897534</c:v>
                </c:pt>
                <c:pt idx="313">
                  <c:v>100.3178192708493</c:v>
                </c:pt>
                <c:pt idx="314">
                  <c:v>100.4186657702534</c:v>
                </c:pt>
                <c:pt idx="315">
                  <c:v>100.3881062249794</c:v>
                </c:pt>
                <c:pt idx="316">
                  <c:v>100.2353084986094</c:v>
                </c:pt>
                <c:pt idx="317">
                  <c:v>100.2353084986094</c:v>
                </c:pt>
                <c:pt idx="318">
                  <c:v>100.2353084986094</c:v>
                </c:pt>
                <c:pt idx="319">
                  <c:v>100.2353084986094</c:v>
                </c:pt>
                <c:pt idx="320">
                  <c:v>100.2353084986094</c:v>
                </c:pt>
                <c:pt idx="321">
                  <c:v>100.1130703175135</c:v>
                </c:pt>
                <c:pt idx="322">
                  <c:v>100.354490725178</c:v>
                </c:pt>
                <c:pt idx="323">
                  <c:v>100.2353084986094</c:v>
                </c:pt>
                <c:pt idx="324">
                  <c:v>100.14362986278771</c:v>
                </c:pt>
                <c:pt idx="325">
                  <c:v>100.14362986278771</c:v>
                </c:pt>
                <c:pt idx="326">
                  <c:v>100.14362986278771</c:v>
                </c:pt>
                <c:pt idx="327">
                  <c:v>100.330043088959</c:v>
                </c:pt>
                <c:pt idx="328">
                  <c:v>100.1833572716437</c:v>
                </c:pt>
                <c:pt idx="329">
                  <c:v>100.1130703175135</c:v>
                </c:pt>
                <c:pt idx="330">
                  <c:v>100.14362986278771</c:v>
                </c:pt>
                <c:pt idx="331">
                  <c:v>100.3881062249794</c:v>
                </c:pt>
                <c:pt idx="332">
                  <c:v>100.3881062249794</c:v>
                </c:pt>
                <c:pt idx="333">
                  <c:v>100.3881062249794</c:v>
                </c:pt>
                <c:pt idx="334">
                  <c:v>100.2016929988083</c:v>
                </c:pt>
                <c:pt idx="335">
                  <c:v>100.4797848608012</c:v>
                </c:pt>
                <c:pt idx="336">
                  <c:v>100.4522812700546</c:v>
                </c:pt>
                <c:pt idx="337">
                  <c:v>100.54090395134941</c:v>
                </c:pt>
                <c:pt idx="338">
                  <c:v>100.9381780399108</c:v>
                </c:pt>
                <c:pt idx="339">
                  <c:v>100.9381780399108</c:v>
                </c:pt>
                <c:pt idx="340">
                  <c:v>100.9381780399108</c:v>
                </c:pt>
                <c:pt idx="341">
                  <c:v>100.85872322219841</c:v>
                </c:pt>
                <c:pt idx="342">
                  <c:v>100.3850502704517</c:v>
                </c:pt>
                <c:pt idx="343">
                  <c:v>100.1558536808972</c:v>
                </c:pt>
                <c:pt idx="344">
                  <c:v>100.2964275891576</c:v>
                </c:pt>
                <c:pt idx="345">
                  <c:v>100.32393117990389</c:v>
                </c:pt>
                <c:pt idx="346">
                  <c:v>100.32393117990389</c:v>
                </c:pt>
                <c:pt idx="347">
                  <c:v>100.32393117990389</c:v>
                </c:pt>
                <c:pt idx="348">
                  <c:v>100.75482076826719</c:v>
                </c:pt>
                <c:pt idx="349">
                  <c:v>100.7853803135406</c:v>
                </c:pt>
                <c:pt idx="350">
                  <c:v>100.6020230418972</c:v>
                </c:pt>
                <c:pt idx="351">
                  <c:v>100.4492253155274</c:v>
                </c:pt>
                <c:pt idx="352">
                  <c:v>100.42477767930809</c:v>
                </c:pt>
                <c:pt idx="353">
                  <c:v>100.42477767930809</c:v>
                </c:pt>
                <c:pt idx="354">
                  <c:v>100.42477767930809</c:v>
                </c:pt>
                <c:pt idx="355">
                  <c:v>100.54090395134941</c:v>
                </c:pt>
                <c:pt idx="356">
                  <c:v>100.5653515875683</c:v>
                </c:pt>
                <c:pt idx="357">
                  <c:v>100.54090395134941</c:v>
                </c:pt>
                <c:pt idx="358">
                  <c:v>100.4522812700546</c:v>
                </c:pt>
                <c:pt idx="359">
                  <c:v>100.58979922378759</c:v>
                </c:pt>
                <c:pt idx="360">
                  <c:v>100.58979922378759</c:v>
                </c:pt>
                <c:pt idx="361">
                  <c:v>100.58979922378759</c:v>
                </c:pt>
                <c:pt idx="362">
                  <c:v>100.69370167771901</c:v>
                </c:pt>
                <c:pt idx="363">
                  <c:v>100.4186657702534</c:v>
                </c:pt>
                <c:pt idx="364">
                  <c:v>100.5714634966232</c:v>
                </c:pt>
                <c:pt idx="365">
                  <c:v>100.69370167771901</c:v>
                </c:pt>
                <c:pt idx="366">
                  <c:v>100.75482076826719</c:v>
                </c:pt>
                <c:pt idx="367">
                  <c:v>100.75482076826719</c:v>
                </c:pt>
                <c:pt idx="368">
                  <c:v>100.75482076826719</c:v>
                </c:pt>
                <c:pt idx="369">
                  <c:v>100.75482076826719</c:v>
                </c:pt>
                <c:pt idx="370">
                  <c:v>100.4186657702534</c:v>
                </c:pt>
                <c:pt idx="371">
                  <c:v>100.4492253155274</c:v>
                </c:pt>
                <c:pt idx="372">
                  <c:v>100.4492253155274</c:v>
                </c:pt>
                <c:pt idx="373">
                  <c:v>100.3881062249794</c:v>
                </c:pt>
                <c:pt idx="374">
                  <c:v>100.3881062249794</c:v>
                </c:pt>
                <c:pt idx="375">
                  <c:v>100.3881062249794</c:v>
                </c:pt>
                <c:pt idx="376">
                  <c:v>100.4797848608012</c:v>
                </c:pt>
                <c:pt idx="377">
                  <c:v>100.2658680438834</c:v>
                </c:pt>
                <c:pt idx="378">
                  <c:v>100.1130703175135</c:v>
                </c:pt>
                <c:pt idx="379">
                  <c:v>100.0825107722396</c:v>
                </c:pt>
                <c:pt idx="380">
                  <c:v>99.449928185068714</c:v>
                </c:pt>
                <c:pt idx="381">
                  <c:v>99.449928185068714</c:v>
                </c:pt>
                <c:pt idx="382">
                  <c:v>99.449928185068714</c:v>
                </c:pt>
                <c:pt idx="383">
                  <c:v>99.593558047856249</c:v>
                </c:pt>
                <c:pt idx="384">
                  <c:v>99.929713045869875</c:v>
                </c:pt>
                <c:pt idx="385">
                  <c:v>99.566054457109686</c:v>
                </c:pt>
                <c:pt idx="386">
                  <c:v>99.627173547657549</c:v>
                </c:pt>
                <c:pt idx="387">
                  <c:v>99.52021513919874</c:v>
                </c:pt>
                <c:pt idx="388">
                  <c:v>99.52021513919874</c:v>
                </c:pt>
                <c:pt idx="389">
                  <c:v>99.52021513919874</c:v>
                </c:pt>
                <c:pt idx="390">
                  <c:v>99.532438957308202</c:v>
                </c:pt>
                <c:pt idx="391">
                  <c:v>99.327690003972734</c:v>
                </c:pt>
                <c:pt idx="392">
                  <c:v>99.532438957308202</c:v>
                </c:pt>
                <c:pt idx="393">
                  <c:v>100.1680774990067</c:v>
                </c:pt>
                <c:pt idx="394">
                  <c:v>100.1130703175135</c:v>
                </c:pt>
                <c:pt idx="395">
                  <c:v>100.1130703175135</c:v>
                </c:pt>
                <c:pt idx="396">
                  <c:v>100.1130703175135</c:v>
                </c:pt>
                <c:pt idx="397">
                  <c:v>99.562998502582005</c:v>
                </c:pt>
                <c:pt idx="398">
                  <c:v>99.624117593130208</c:v>
                </c:pt>
                <c:pt idx="399">
                  <c:v>99.767747455917913</c:v>
                </c:pt>
                <c:pt idx="400">
                  <c:v>99.618005684075527</c:v>
                </c:pt>
                <c:pt idx="401">
                  <c:v>99.786083183082212</c:v>
                </c:pt>
                <c:pt idx="402">
                  <c:v>99.786083183082212</c:v>
                </c:pt>
                <c:pt idx="403">
                  <c:v>99.786083183082212</c:v>
                </c:pt>
                <c:pt idx="404">
                  <c:v>99.624117593130208</c:v>
                </c:pt>
                <c:pt idx="405">
                  <c:v>99.746355774226075</c:v>
                </c:pt>
                <c:pt idx="406">
                  <c:v>99.792195092137035</c:v>
                </c:pt>
                <c:pt idx="407">
                  <c:v>99.654677138403841</c:v>
                </c:pt>
                <c:pt idx="408">
                  <c:v>99.654677138403841</c:v>
                </c:pt>
                <c:pt idx="409">
                  <c:v>99.654677138403841</c:v>
                </c:pt>
                <c:pt idx="410">
                  <c:v>99.654677138403841</c:v>
                </c:pt>
                <c:pt idx="411">
                  <c:v>99.593558047856249</c:v>
                </c:pt>
                <c:pt idx="412">
                  <c:v>99.590502093328851</c:v>
                </c:pt>
                <c:pt idx="413">
                  <c:v>99.532438957308202</c:v>
                </c:pt>
                <c:pt idx="414">
                  <c:v>99.501879412034185</c:v>
                </c:pt>
                <c:pt idx="415">
                  <c:v>99.532438957308202</c:v>
                </c:pt>
                <c:pt idx="416">
                  <c:v>99.532438957308202</c:v>
                </c:pt>
                <c:pt idx="417">
                  <c:v>99.532438957308202</c:v>
                </c:pt>
                <c:pt idx="418">
                  <c:v>99.495767502979461</c:v>
                </c:pt>
                <c:pt idx="419">
                  <c:v>99.379641230938432</c:v>
                </c:pt>
                <c:pt idx="420">
                  <c:v>99.379641230938432</c:v>
                </c:pt>
                <c:pt idx="421">
                  <c:v>98.979311187849461</c:v>
                </c:pt>
                <c:pt idx="422">
                  <c:v>98.881520642973001</c:v>
                </c:pt>
                <c:pt idx="423">
                  <c:v>98.881520642973001</c:v>
                </c:pt>
                <c:pt idx="424">
                  <c:v>98.881520642973001</c:v>
                </c:pt>
                <c:pt idx="425">
                  <c:v>98.869296824863255</c:v>
                </c:pt>
                <c:pt idx="426">
                  <c:v>98.887632552027441</c:v>
                </c:pt>
                <c:pt idx="427">
                  <c:v>99.006814778596109</c:v>
                </c:pt>
                <c:pt idx="428">
                  <c:v>99.104605323472782</c:v>
                </c:pt>
                <c:pt idx="429">
                  <c:v>99.556886593527267</c:v>
                </c:pt>
                <c:pt idx="430">
                  <c:v>99.556886593527267</c:v>
                </c:pt>
                <c:pt idx="431">
                  <c:v>99.556886593527267</c:v>
                </c:pt>
                <c:pt idx="432">
                  <c:v>99.593558047856249</c:v>
                </c:pt>
                <c:pt idx="433">
                  <c:v>99.960272591143834</c:v>
                </c:pt>
                <c:pt idx="434">
                  <c:v>100.3972740885616</c:v>
                </c:pt>
                <c:pt idx="435">
                  <c:v>100.3819943159245</c:v>
                </c:pt>
                <c:pt idx="436">
                  <c:v>100.6173028145338</c:v>
                </c:pt>
                <c:pt idx="437">
                  <c:v>100.6173028145338</c:v>
                </c:pt>
                <c:pt idx="438">
                  <c:v>100.6173028145338</c:v>
                </c:pt>
                <c:pt idx="439">
                  <c:v>100.632582587171</c:v>
                </c:pt>
                <c:pt idx="440">
                  <c:v>100.6020230418972</c:v>
                </c:pt>
                <c:pt idx="441">
                  <c:v>99.899153500595901</c:v>
                </c:pt>
                <c:pt idx="442">
                  <c:v>100.0519512269658</c:v>
                </c:pt>
                <c:pt idx="443">
                  <c:v>99.501879412034185</c:v>
                </c:pt>
                <c:pt idx="444">
                  <c:v>99.501879412034185</c:v>
                </c:pt>
                <c:pt idx="445">
                  <c:v>99.501879412034185</c:v>
                </c:pt>
                <c:pt idx="446">
                  <c:v>99.404088867157654</c:v>
                </c:pt>
                <c:pt idx="447">
                  <c:v>99.287962595116625</c:v>
                </c:pt>
                <c:pt idx="448">
                  <c:v>99.419368639794641</c:v>
                </c:pt>
                <c:pt idx="449">
                  <c:v>99.489655593924752</c:v>
                </c:pt>
                <c:pt idx="450">
                  <c:v>99.532438957308202</c:v>
                </c:pt>
                <c:pt idx="451">
                  <c:v>99.532438957308202</c:v>
                </c:pt>
                <c:pt idx="452">
                  <c:v>99.532438957308202</c:v>
                </c:pt>
                <c:pt idx="453">
                  <c:v>99.624117593130208</c:v>
                </c:pt>
                <c:pt idx="454">
                  <c:v>99.456040094123409</c:v>
                </c:pt>
                <c:pt idx="455">
                  <c:v>99.257403049842836</c:v>
                </c:pt>
                <c:pt idx="456">
                  <c:v>99.226843504568649</c:v>
                </c:pt>
                <c:pt idx="457">
                  <c:v>99.034318369342799</c:v>
                </c:pt>
                <c:pt idx="458">
                  <c:v>99.034318369342799</c:v>
                </c:pt>
                <c:pt idx="459">
                  <c:v>99.034318369342799</c:v>
                </c:pt>
                <c:pt idx="460">
                  <c:v>99.144332732328678</c:v>
                </c:pt>
                <c:pt idx="461">
                  <c:v>99.495767502979461</c:v>
                </c:pt>
                <c:pt idx="462">
                  <c:v>99.495767502979461</c:v>
                </c:pt>
                <c:pt idx="463">
                  <c:v>99.523271093725867</c:v>
                </c:pt>
                <c:pt idx="464">
                  <c:v>99.456040094123409</c:v>
                </c:pt>
                <c:pt idx="465">
                  <c:v>99.456040094123409</c:v>
                </c:pt>
                <c:pt idx="466">
                  <c:v>99.456040094123409</c:v>
                </c:pt>
                <c:pt idx="467">
                  <c:v>99.504935366561568</c:v>
                </c:pt>
                <c:pt idx="468">
                  <c:v>99.257403049842836</c:v>
                </c:pt>
                <c:pt idx="469">
                  <c:v>99.104605323472782</c:v>
                </c:pt>
                <c:pt idx="470">
                  <c:v>98.994590960486505</c:v>
                </c:pt>
                <c:pt idx="471">
                  <c:v>98.847905143171445</c:v>
                </c:pt>
                <c:pt idx="472">
                  <c:v>98.847905143171445</c:v>
                </c:pt>
                <c:pt idx="473">
                  <c:v>98.847905143171445</c:v>
                </c:pt>
                <c:pt idx="474">
                  <c:v>99.012926687650875</c:v>
                </c:pt>
                <c:pt idx="475">
                  <c:v>98.942639733520778</c:v>
                </c:pt>
                <c:pt idx="476">
                  <c:v>98.939583778993367</c:v>
                </c:pt>
                <c:pt idx="477">
                  <c:v>99.129052959691677</c:v>
                </c:pt>
                <c:pt idx="478">
                  <c:v>99.501879412034185</c:v>
                </c:pt>
                <c:pt idx="479">
                  <c:v>99.501879412034185</c:v>
                </c:pt>
                <c:pt idx="480">
                  <c:v>99.501879412034185</c:v>
                </c:pt>
                <c:pt idx="481">
                  <c:v>99.611893775020604</c:v>
                </c:pt>
                <c:pt idx="482">
                  <c:v>99.724964092534279</c:v>
                </c:pt>
                <c:pt idx="483">
                  <c:v>100.34226690706841</c:v>
                </c:pt>
                <c:pt idx="484">
                  <c:v>100.9015065855821</c:v>
                </c:pt>
                <c:pt idx="485">
                  <c:v>101.5677046725544</c:v>
                </c:pt>
                <c:pt idx="486">
                  <c:v>101.5677046725544</c:v>
                </c:pt>
                <c:pt idx="487">
                  <c:v>101.5677046725544</c:v>
                </c:pt>
                <c:pt idx="488">
                  <c:v>101.8855239434037</c:v>
                </c:pt>
                <c:pt idx="489">
                  <c:v>101.9160834886781</c:v>
                </c:pt>
                <c:pt idx="490">
                  <c:v>101.65632735384889</c:v>
                </c:pt>
                <c:pt idx="491">
                  <c:v>102.4447636219177</c:v>
                </c:pt>
                <c:pt idx="492">
                  <c:v>102.5364422577391</c:v>
                </c:pt>
                <c:pt idx="493">
                  <c:v>102.5364422577391</c:v>
                </c:pt>
                <c:pt idx="494">
                  <c:v>102.5364422577391</c:v>
                </c:pt>
                <c:pt idx="495">
                  <c:v>103.07429025456101</c:v>
                </c:pt>
                <c:pt idx="496">
                  <c:v>103.1017938453077</c:v>
                </c:pt>
                <c:pt idx="497">
                  <c:v>102.3958683494789</c:v>
                </c:pt>
                <c:pt idx="498">
                  <c:v>102.2766861229105</c:v>
                </c:pt>
                <c:pt idx="499">
                  <c:v>102.32252544082139</c:v>
                </c:pt>
                <c:pt idx="500">
                  <c:v>102.32252544082139</c:v>
                </c:pt>
                <c:pt idx="501">
                  <c:v>102.32252544082139</c:v>
                </c:pt>
                <c:pt idx="502">
                  <c:v>102.0719371695748</c:v>
                </c:pt>
                <c:pt idx="503">
                  <c:v>102.39281239495141</c:v>
                </c:pt>
                <c:pt idx="504">
                  <c:v>102.6495125752529</c:v>
                </c:pt>
                <c:pt idx="505">
                  <c:v>102.0994407603215</c:v>
                </c:pt>
                <c:pt idx="506">
                  <c:v>102.3133575772391</c:v>
                </c:pt>
                <c:pt idx="507">
                  <c:v>102.3133575772391</c:v>
                </c:pt>
                <c:pt idx="508">
                  <c:v>102.3133575772391</c:v>
                </c:pt>
                <c:pt idx="509">
                  <c:v>102.65868043883511</c:v>
                </c:pt>
                <c:pt idx="510">
                  <c:v>103.0773462090884</c:v>
                </c:pt>
                <c:pt idx="511">
                  <c:v>103.22403202640319</c:v>
                </c:pt>
                <c:pt idx="512">
                  <c:v>103.1781927084923</c:v>
                </c:pt>
                <c:pt idx="513">
                  <c:v>102.9856675732665</c:v>
                </c:pt>
                <c:pt idx="514">
                  <c:v>102.9856675732665</c:v>
                </c:pt>
                <c:pt idx="515">
                  <c:v>102.9856675732665</c:v>
                </c:pt>
                <c:pt idx="516">
                  <c:v>102.93982825535559</c:v>
                </c:pt>
                <c:pt idx="517">
                  <c:v>102.9795556642118</c:v>
                </c:pt>
                <c:pt idx="518">
                  <c:v>102.8023103016226</c:v>
                </c:pt>
                <c:pt idx="519">
                  <c:v>103.0773462090884</c:v>
                </c:pt>
                <c:pt idx="520">
                  <c:v>103.6274180240198</c:v>
                </c:pt>
                <c:pt idx="521">
                  <c:v>103.6274180240198</c:v>
                </c:pt>
                <c:pt idx="522">
                  <c:v>103.6274180240198</c:v>
                </c:pt>
                <c:pt idx="523">
                  <c:v>103.13846529963639</c:v>
                </c:pt>
                <c:pt idx="524">
                  <c:v>103.02539498212271</c:v>
                </c:pt>
                <c:pt idx="525">
                  <c:v>102.6647923478896</c:v>
                </c:pt>
                <c:pt idx="526">
                  <c:v>103.0009473459035</c:v>
                </c:pt>
                <c:pt idx="527">
                  <c:v>102.8023103016226</c:v>
                </c:pt>
                <c:pt idx="528">
                  <c:v>102.8023103016226</c:v>
                </c:pt>
                <c:pt idx="529">
                  <c:v>102.8023103016226</c:v>
                </c:pt>
                <c:pt idx="530">
                  <c:v>102.92454848271861</c:v>
                </c:pt>
                <c:pt idx="531">
                  <c:v>102.942884209883</c:v>
                </c:pt>
                <c:pt idx="532">
                  <c:v>102.7167435748556</c:v>
                </c:pt>
                <c:pt idx="533">
                  <c:v>102.8175900742597</c:v>
                </c:pt>
                <c:pt idx="534">
                  <c:v>102.8328698468966</c:v>
                </c:pt>
                <c:pt idx="535">
                  <c:v>102.8328698468966</c:v>
                </c:pt>
                <c:pt idx="536">
                  <c:v>102.8328698468966</c:v>
                </c:pt>
                <c:pt idx="537">
                  <c:v>102.95816398252001</c:v>
                </c:pt>
                <c:pt idx="538">
                  <c:v>103.1843046175473</c:v>
                </c:pt>
                <c:pt idx="539">
                  <c:v>103.2331998899857</c:v>
                </c:pt>
                <c:pt idx="540">
                  <c:v>103.1843046175473</c:v>
                </c:pt>
                <c:pt idx="541">
                  <c:v>103.2301439354582</c:v>
                </c:pt>
                <c:pt idx="542">
                  <c:v>103.2301439354582</c:v>
                </c:pt>
                <c:pt idx="543">
                  <c:v>103.2301439354582</c:v>
                </c:pt>
                <c:pt idx="544">
                  <c:v>103.2454237080953</c:v>
                </c:pt>
                <c:pt idx="545">
                  <c:v>103.2912630260064</c:v>
                </c:pt>
                <c:pt idx="546">
                  <c:v>103.3646059346637</c:v>
                </c:pt>
                <c:pt idx="547">
                  <c:v>103.2912630260064</c:v>
                </c:pt>
                <c:pt idx="548">
                  <c:v>103.1995843901842</c:v>
                </c:pt>
                <c:pt idx="549">
                  <c:v>103.1995843901842</c:v>
                </c:pt>
                <c:pt idx="550">
                  <c:v>103.1995843901842</c:v>
                </c:pt>
                <c:pt idx="551">
                  <c:v>103.4440607523761</c:v>
                </c:pt>
                <c:pt idx="552">
                  <c:v>103.8810622497937</c:v>
                </c:pt>
                <c:pt idx="553">
                  <c:v>103.74048834153351</c:v>
                </c:pt>
                <c:pt idx="554">
                  <c:v>103.7160407053144</c:v>
                </c:pt>
                <c:pt idx="555">
                  <c:v>103.6885371145674</c:v>
                </c:pt>
                <c:pt idx="556">
                  <c:v>103.6885371145674</c:v>
                </c:pt>
                <c:pt idx="557">
                  <c:v>103.6885371145674</c:v>
                </c:pt>
                <c:pt idx="558">
                  <c:v>104.0033004308895</c:v>
                </c:pt>
                <c:pt idx="559">
                  <c:v>104.03691593069099</c:v>
                </c:pt>
                <c:pt idx="560">
                  <c:v>104.4586376554717</c:v>
                </c:pt>
                <c:pt idx="561">
                  <c:v>104.5136448369647</c:v>
                </c:pt>
                <c:pt idx="562">
                  <c:v>104.57476392751271</c:v>
                </c:pt>
                <c:pt idx="563">
                  <c:v>104.57476392751271</c:v>
                </c:pt>
                <c:pt idx="564">
                  <c:v>104.57476392751271</c:v>
                </c:pt>
                <c:pt idx="565">
                  <c:v>105.33875255936169</c:v>
                </c:pt>
                <c:pt idx="566">
                  <c:v>105.185954832992</c:v>
                </c:pt>
                <c:pt idx="567">
                  <c:v>106.0996852366836</c:v>
                </c:pt>
                <c:pt idx="568">
                  <c:v>106.3472175534028</c:v>
                </c:pt>
                <c:pt idx="569">
                  <c:v>106.63753323350549</c:v>
                </c:pt>
                <c:pt idx="570">
                  <c:v>106.63753323350549</c:v>
                </c:pt>
                <c:pt idx="571">
                  <c:v>106.63753323350549</c:v>
                </c:pt>
                <c:pt idx="572">
                  <c:v>106.5519665067384</c:v>
                </c:pt>
                <c:pt idx="573">
                  <c:v>106.4602878709165</c:v>
                </c:pt>
                <c:pt idx="574">
                  <c:v>106.8331143232589</c:v>
                </c:pt>
                <c:pt idx="575">
                  <c:v>107.4412492742111</c:v>
                </c:pt>
                <c:pt idx="576">
                  <c:v>106.9675763224642</c:v>
                </c:pt>
                <c:pt idx="577">
                  <c:v>106.9675763224642</c:v>
                </c:pt>
                <c:pt idx="578">
                  <c:v>106.9675763224642</c:v>
                </c:pt>
                <c:pt idx="579">
                  <c:v>107.21816459371099</c:v>
                </c:pt>
                <c:pt idx="580">
                  <c:v>107.27011582067659</c:v>
                </c:pt>
                <c:pt idx="581">
                  <c:v>107.46875286495739</c:v>
                </c:pt>
                <c:pt idx="582">
                  <c:v>107.3006753659506</c:v>
                </c:pt>
                <c:pt idx="583">
                  <c:v>107.37096232008049</c:v>
                </c:pt>
                <c:pt idx="584">
                  <c:v>107.37096232008049</c:v>
                </c:pt>
                <c:pt idx="585">
                  <c:v>107.37096232008049</c:v>
                </c:pt>
                <c:pt idx="586">
                  <c:v>107.233444366348</c:v>
                </c:pt>
                <c:pt idx="587">
                  <c:v>108.02188063441621</c:v>
                </c:pt>
                <c:pt idx="588">
                  <c:v>107.859915044464</c:v>
                </c:pt>
                <c:pt idx="589">
                  <c:v>107.435137365156</c:v>
                </c:pt>
                <c:pt idx="590">
                  <c:v>107.6184946367997</c:v>
                </c:pt>
                <c:pt idx="591">
                  <c:v>107.6184946367997</c:v>
                </c:pt>
                <c:pt idx="592">
                  <c:v>107.6184946367997</c:v>
                </c:pt>
                <c:pt idx="593">
                  <c:v>108.5964000855667</c:v>
                </c:pt>
                <c:pt idx="594">
                  <c:v>108.60556794914901</c:v>
                </c:pt>
                <c:pt idx="595">
                  <c:v>108.6147358127308</c:v>
                </c:pt>
                <c:pt idx="596">
                  <c:v>108.75530972099141</c:v>
                </c:pt>
                <c:pt idx="597">
                  <c:v>109.0945206735325</c:v>
                </c:pt>
                <c:pt idx="598">
                  <c:v>109.0945206735325</c:v>
                </c:pt>
                <c:pt idx="599">
                  <c:v>109.0945206735325</c:v>
                </c:pt>
                <c:pt idx="600">
                  <c:v>108.9783944014912</c:v>
                </c:pt>
                <c:pt idx="601">
                  <c:v>108.63918344895031</c:v>
                </c:pt>
                <c:pt idx="602">
                  <c:v>108.8439324022857</c:v>
                </c:pt>
                <c:pt idx="603">
                  <c:v>108.9447789016898</c:v>
                </c:pt>
                <c:pt idx="604">
                  <c:v>109.5406900345323</c:v>
                </c:pt>
                <c:pt idx="605">
                  <c:v>109.5406900345323</c:v>
                </c:pt>
                <c:pt idx="606">
                  <c:v>109.5406900345323</c:v>
                </c:pt>
                <c:pt idx="607">
                  <c:v>109.5070745347309</c:v>
                </c:pt>
                <c:pt idx="608">
                  <c:v>109.2412064908477</c:v>
                </c:pt>
                <c:pt idx="609">
                  <c:v>109.25648626348421</c:v>
                </c:pt>
                <c:pt idx="610">
                  <c:v>109.50096262567619</c:v>
                </c:pt>
                <c:pt idx="611">
                  <c:v>109.92268435045671</c:v>
                </c:pt>
                <c:pt idx="612">
                  <c:v>109.92268435045671</c:v>
                </c:pt>
                <c:pt idx="613">
                  <c:v>109.92268435045671</c:v>
                </c:pt>
                <c:pt idx="614">
                  <c:v>110.4116370748404</c:v>
                </c:pt>
                <c:pt idx="615">
                  <c:v>110.5277633468813</c:v>
                </c:pt>
              </c:numCache>
            </c:numRef>
          </c:val>
          <c:smooth val="0"/>
        </c:ser>
        <c:ser>
          <c:idx val="4"/>
          <c:order val="3"/>
          <c:tx>
            <c:strRef>
              <c:f>Sheet1!$F$1</c:f>
              <c:strCache>
                <c:ptCount val="1"/>
                <c:pt idx="0">
                  <c:v>Indonesia</c:v>
                </c:pt>
              </c:strCache>
            </c:strRef>
          </c:tx>
          <c:spPr>
            <a:ln w="28575" cmpd="sng">
              <a:solidFill>
                <a:srgbClr val="FF0000"/>
              </a:solidFill>
            </a:ln>
          </c:spPr>
          <c:marker>
            <c:symbol val="none"/>
          </c:marke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F$2:$F$634</c:f>
              <c:numCache>
                <c:formatCode>General</c:formatCode>
                <c:ptCount val="633"/>
                <c:pt idx="0">
                  <c:v>100</c:v>
                </c:pt>
                <c:pt idx="1">
                  <c:v>100.43481827877601</c:v>
                </c:pt>
                <c:pt idx="2">
                  <c:v>100.30355238329641</c:v>
                </c:pt>
                <c:pt idx="3">
                  <c:v>100.30355238329641</c:v>
                </c:pt>
                <c:pt idx="4">
                  <c:v>100.30355238329641</c:v>
                </c:pt>
                <c:pt idx="5">
                  <c:v>100.33636885716609</c:v>
                </c:pt>
                <c:pt idx="6">
                  <c:v>100.59890064812539</c:v>
                </c:pt>
                <c:pt idx="7">
                  <c:v>100.3281647386987</c:v>
                </c:pt>
                <c:pt idx="8">
                  <c:v>100.6071047665928</c:v>
                </c:pt>
                <c:pt idx="9">
                  <c:v>100.0656329477397</c:v>
                </c:pt>
                <c:pt idx="10">
                  <c:v>100.0656329477397</c:v>
                </c:pt>
                <c:pt idx="11">
                  <c:v>100.0656329477397</c:v>
                </c:pt>
                <c:pt idx="12">
                  <c:v>98.835015177618999</c:v>
                </c:pt>
                <c:pt idx="13">
                  <c:v>98.835015177618999</c:v>
                </c:pt>
                <c:pt idx="14">
                  <c:v>99.081138731643279</c:v>
                </c:pt>
                <c:pt idx="15">
                  <c:v>99.409303470342337</c:v>
                </c:pt>
                <c:pt idx="16">
                  <c:v>99.491344655016931</c:v>
                </c:pt>
                <c:pt idx="17">
                  <c:v>99.491344655016931</c:v>
                </c:pt>
                <c:pt idx="18">
                  <c:v>99.491344655016931</c:v>
                </c:pt>
                <c:pt idx="19">
                  <c:v>99.351874641069813</c:v>
                </c:pt>
                <c:pt idx="20">
                  <c:v>99.450324062679456</c:v>
                </c:pt>
                <c:pt idx="21">
                  <c:v>99.671835261301183</c:v>
                </c:pt>
                <c:pt idx="22">
                  <c:v>99.868734104520158</c:v>
                </c:pt>
                <c:pt idx="23">
                  <c:v>99.901550578390413</c:v>
                </c:pt>
                <c:pt idx="24">
                  <c:v>99.901550578390413</c:v>
                </c:pt>
                <c:pt idx="25">
                  <c:v>99.901550578390413</c:v>
                </c:pt>
                <c:pt idx="26">
                  <c:v>100.0738370662072</c:v>
                </c:pt>
                <c:pt idx="27">
                  <c:v>100.6399212404627</c:v>
                </c:pt>
                <c:pt idx="28">
                  <c:v>99.712855853638402</c:v>
                </c:pt>
                <c:pt idx="29">
                  <c:v>100.30355238329641</c:v>
                </c:pt>
                <c:pt idx="30">
                  <c:v>100.30355238329641</c:v>
                </c:pt>
                <c:pt idx="31">
                  <c:v>100.30355238329641</c:v>
                </c:pt>
                <c:pt idx="32">
                  <c:v>100.30355238329641</c:v>
                </c:pt>
                <c:pt idx="33">
                  <c:v>100.5086553449832</c:v>
                </c:pt>
                <c:pt idx="34">
                  <c:v>100.4840429895808</c:v>
                </c:pt>
                <c:pt idx="35">
                  <c:v>99.860529986053024</c:v>
                </c:pt>
                <c:pt idx="36">
                  <c:v>99.753876445975877</c:v>
                </c:pt>
                <c:pt idx="37">
                  <c:v>99.893346459922881</c:v>
                </c:pt>
                <c:pt idx="38">
                  <c:v>99.893346459922881</c:v>
                </c:pt>
                <c:pt idx="39">
                  <c:v>99.893346459922881</c:v>
                </c:pt>
                <c:pt idx="40">
                  <c:v>99.811305275248316</c:v>
                </c:pt>
                <c:pt idx="41">
                  <c:v>99.876938222987675</c:v>
                </c:pt>
                <c:pt idx="42">
                  <c:v>99.392895233407032</c:v>
                </c:pt>
                <c:pt idx="43">
                  <c:v>99.048322257773378</c:v>
                </c:pt>
                <c:pt idx="44">
                  <c:v>97.514152104356384</c:v>
                </c:pt>
                <c:pt idx="45">
                  <c:v>97.514152104356384</c:v>
                </c:pt>
                <c:pt idx="46">
                  <c:v>97.514152104356384</c:v>
                </c:pt>
                <c:pt idx="47">
                  <c:v>96.119451964886352</c:v>
                </c:pt>
                <c:pt idx="48">
                  <c:v>97.021904996308166</c:v>
                </c:pt>
                <c:pt idx="49">
                  <c:v>97.218803839527439</c:v>
                </c:pt>
                <c:pt idx="50">
                  <c:v>96.578882599064386</c:v>
                </c:pt>
                <c:pt idx="51">
                  <c:v>96.742964968414299</c:v>
                </c:pt>
                <c:pt idx="52">
                  <c:v>96.742964968414299</c:v>
                </c:pt>
                <c:pt idx="53">
                  <c:v>96.742964968414299</c:v>
                </c:pt>
                <c:pt idx="54">
                  <c:v>96.21790138649601</c:v>
                </c:pt>
                <c:pt idx="55">
                  <c:v>95.331856592009132</c:v>
                </c:pt>
                <c:pt idx="56">
                  <c:v>95.733858396915252</c:v>
                </c:pt>
                <c:pt idx="57">
                  <c:v>95.783083107719932</c:v>
                </c:pt>
                <c:pt idx="58">
                  <c:v>95.446714250553782</c:v>
                </c:pt>
                <c:pt idx="59">
                  <c:v>95.446714250553782</c:v>
                </c:pt>
                <c:pt idx="60">
                  <c:v>95.446714250553782</c:v>
                </c:pt>
                <c:pt idx="61">
                  <c:v>95.134957748789802</c:v>
                </c:pt>
                <c:pt idx="62">
                  <c:v>95.553367790630801</c:v>
                </c:pt>
                <c:pt idx="63">
                  <c:v>95.003691853310343</c:v>
                </c:pt>
                <c:pt idx="64">
                  <c:v>94.790384773156049</c:v>
                </c:pt>
                <c:pt idx="65">
                  <c:v>93.485929936828285</c:v>
                </c:pt>
                <c:pt idx="66">
                  <c:v>93.485929936828285</c:v>
                </c:pt>
                <c:pt idx="67">
                  <c:v>93.485929936828285</c:v>
                </c:pt>
                <c:pt idx="68">
                  <c:v>93.928952334071468</c:v>
                </c:pt>
                <c:pt idx="69">
                  <c:v>93.395684633686031</c:v>
                </c:pt>
                <c:pt idx="70">
                  <c:v>93.789482320124435</c:v>
                </c:pt>
                <c:pt idx="71">
                  <c:v>93.420296989088527</c:v>
                </c:pt>
                <c:pt idx="72">
                  <c:v>93.699237016982238</c:v>
                </c:pt>
                <c:pt idx="73">
                  <c:v>93.699237016982238</c:v>
                </c:pt>
                <c:pt idx="74">
                  <c:v>93.699237016982238</c:v>
                </c:pt>
                <c:pt idx="75">
                  <c:v>92.476823365329423</c:v>
                </c:pt>
                <c:pt idx="76">
                  <c:v>92.558864550004031</c:v>
                </c:pt>
                <c:pt idx="77">
                  <c:v>92.813192222495601</c:v>
                </c:pt>
                <c:pt idx="78">
                  <c:v>93.584379358437786</c:v>
                </c:pt>
                <c:pt idx="79">
                  <c:v>93.78127820165723</c:v>
                </c:pt>
                <c:pt idx="80">
                  <c:v>93.78127820165723</c:v>
                </c:pt>
                <c:pt idx="81">
                  <c:v>93.78127820165723</c:v>
                </c:pt>
                <c:pt idx="82">
                  <c:v>93.395684633686031</c:v>
                </c:pt>
                <c:pt idx="83">
                  <c:v>93.174173435064262</c:v>
                </c:pt>
                <c:pt idx="84">
                  <c:v>93.592583476905403</c:v>
                </c:pt>
                <c:pt idx="85">
                  <c:v>93.838707030929186</c:v>
                </c:pt>
                <c:pt idx="86">
                  <c:v>93.559767003035461</c:v>
                </c:pt>
                <c:pt idx="87">
                  <c:v>93.559767003035461</c:v>
                </c:pt>
                <c:pt idx="88">
                  <c:v>93.559767003035461</c:v>
                </c:pt>
                <c:pt idx="89">
                  <c:v>93.559767003035461</c:v>
                </c:pt>
                <c:pt idx="90">
                  <c:v>92.468619246861934</c:v>
                </c:pt>
                <c:pt idx="91">
                  <c:v>92.731151037820979</c:v>
                </c:pt>
                <c:pt idx="92">
                  <c:v>92.788579867093162</c:v>
                </c:pt>
                <c:pt idx="93">
                  <c:v>92.788579867093162</c:v>
                </c:pt>
                <c:pt idx="94">
                  <c:v>92.788579867093162</c:v>
                </c:pt>
                <c:pt idx="95">
                  <c:v>92.788579867093162</c:v>
                </c:pt>
                <c:pt idx="96">
                  <c:v>92.558864550004031</c:v>
                </c:pt>
                <c:pt idx="97">
                  <c:v>92.780375748625701</c:v>
                </c:pt>
                <c:pt idx="98">
                  <c:v>92.780375748625701</c:v>
                </c:pt>
                <c:pt idx="99">
                  <c:v>93.051111658052335</c:v>
                </c:pt>
                <c:pt idx="100">
                  <c:v>93.93715645253917</c:v>
                </c:pt>
                <c:pt idx="101">
                  <c:v>93.93715645253917</c:v>
                </c:pt>
                <c:pt idx="102">
                  <c:v>93.93715645253917</c:v>
                </c:pt>
                <c:pt idx="103">
                  <c:v>93.887931741734349</c:v>
                </c:pt>
                <c:pt idx="104">
                  <c:v>93.805890557059314</c:v>
                </c:pt>
                <c:pt idx="105">
                  <c:v>93.838707030929186</c:v>
                </c:pt>
                <c:pt idx="106">
                  <c:v>93.674624661580125</c:v>
                </c:pt>
                <c:pt idx="107">
                  <c:v>93.674624661580125</c:v>
                </c:pt>
                <c:pt idx="108">
                  <c:v>93.674624661580125</c:v>
                </c:pt>
                <c:pt idx="109">
                  <c:v>93.674624661580125</c:v>
                </c:pt>
                <c:pt idx="110">
                  <c:v>93.773074083189584</c:v>
                </c:pt>
                <c:pt idx="111">
                  <c:v>94.232504717368116</c:v>
                </c:pt>
                <c:pt idx="112">
                  <c:v>95.085733037984724</c:v>
                </c:pt>
                <c:pt idx="113">
                  <c:v>95.233407170399431</c:v>
                </c:pt>
                <c:pt idx="114">
                  <c:v>95.175978341126978</c:v>
                </c:pt>
                <c:pt idx="115">
                  <c:v>95.175978341126978</c:v>
                </c:pt>
                <c:pt idx="116">
                  <c:v>95.175978341126978</c:v>
                </c:pt>
                <c:pt idx="117">
                  <c:v>94.905242431700714</c:v>
                </c:pt>
                <c:pt idx="118">
                  <c:v>95.077528919517604</c:v>
                </c:pt>
                <c:pt idx="119">
                  <c:v>94.609894166871598</c:v>
                </c:pt>
                <c:pt idx="120">
                  <c:v>94.609894166871598</c:v>
                </c:pt>
                <c:pt idx="121">
                  <c:v>94.65091475920913</c:v>
                </c:pt>
                <c:pt idx="122">
                  <c:v>94.65091475920913</c:v>
                </c:pt>
                <c:pt idx="123">
                  <c:v>94.65091475920913</c:v>
                </c:pt>
                <c:pt idx="124">
                  <c:v>94.437607679054864</c:v>
                </c:pt>
                <c:pt idx="125">
                  <c:v>94.437607679054864</c:v>
                </c:pt>
                <c:pt idx="126">
                  <c:v>94.568873574534138</c:v>
                </c:pt>
                <c:pt idx="127">
                  <c:v>95.364673065879231</c:v>
                </c:pt>
                <c:pt idx="128">
                  <c:v>94.864221839363367</c:v>
                </c:pt>
                <c:pt idx="129">
                  <c:v>94.864221839363367</c:v>
                </c:pt>
                <c:pt idx="130">
                  <c:v>94.864221839363367</c:v>
                </c:pt>
                <c:pt idx="131">
                  <c:v>94.642710640741655</c:v>
                </c:pt>
                <c:pt idx="132">
                  <c:v>94.552465337599173</c:v>
                </c:pt>
                <c:pt idx="133">
                  <c:v>94.240708835835548</c:v>
                </c:pt>
                <c:pt idx="134">
                  <c:v>94.240708835835548</c:v>
                </c:pt>
                <c:pt idx="135">
                  <c:v>93.650012306177601</c:v>
                </c:pt>
                <c:pt idx="136">
                  <c:v>93.650012306177601</c:v>
                </c:pt>
                <c:pt idx="137">
                  <c:v>93.650012306177601</c:v>
                </c:pt>
                <c:pt idx="138">
                  <c:v>93.124948724259397</c:v>
                </c:pt>
                <c:pt idx="139">
                  <c:v>93.863319386331938</c:v>
                </c:pt>
                <c:pt idx="140">
                  <c:v>94.404791205185006</c:v>
                </c:pt>
                <c:pt idx="141">
                  <c:v>94.470424152924494</c:v>
                </c:pt>
                <c:pt idx="142">
                  <c:v>94.839609483961027</c:v>
                </c:pt>
                <c:pt idx="143">
                  <c:v>94.839609483961027</c:v>
                </c:pt>
                <c:pt idx="144">
                  <c:v>94.839609483961027</c:v>
                </c:pt>
                <c:pt idx="145">
                  <c:v>95.438510132086037</c:v>
                </c:pt>
                <c:pt idx="146">
                  <c:v>95.438510132086037</c:v>
                </c:pt>
                <c:pt idx="147">
                  <c:v>95.274427762736849</c:v>
                </c:pt>
                <c:pt idx="148">
                  <c:v>95.274427762736849</c:v>
                </c:pt>
                <c:pt idx="149">
                  <c:v>95.258019525801956</c:v>
                </c:pt>
                <c:pt idx="150">
                  <c:v>95.258019525801956</c:v>
                </c:pt>
                <c:pt idx="151">
                  <c:v>95.258019525801956</c:v>
                </c:pt>
                <c:pt idx="152">
                  <c:v>96.316350808105668</c:v>
                </c:pt>
                <c:pt idx="153">
                  <c:v>96.857822626958708</c:v>
                </c:pt>
                <c:pt idx="154">
                  <c:v>96.890639100828608</c:v>
                </c:pt>
                <c:pt idx="155">
                  <c:v>97.41570268274674</c:v>
                </c:pt>
                <c:pt idx="156">
                  <c:v>96.997292640905926</c:v>
                </c:pt>
                <c:pt idx="157">
                  <c:v>96.997292640905926</c:v>
                </c:pt>
                <c:pt idx="158">
                  <c:v>96.997292640905926</c:v>
                </c:pt>
                <c:pt idx="159">
                  <c:v>96.726556731479178</c:v>
                </c:pt>
                <c:pt idx="160">
                  <c:v>96.857822626958708</c:v>
                </c:pt>
                <c:pt idx="161">
                  <c:v>96.833210271556311</c:v>
                </c:pt>
                <c:pt idx="162">
                  <c:v>96.915251456231033</c:v>
                </c:pt>
                <c:pt idx="163">
                  <c:v>96.652719665271974</c:v>
                </c:pt>
                <c:pt idx="164">
                  <c:v>96.652719665271974</c:v>
                </c:pt>
                <c:pt idx="165">
                  <c:v>96.652719665271974</c:v>
                </c:pt>
                <c:pt idx="166">
                  <c:v>96.923455574698508</c:v>
                </c:pt>
                <c:pt idx="167">
                  <c:v>97.325457379604273</c:v>
                </c:pt>
                <c:pt idx="168">
                  <c:v>98.268931003363562</c:v>
                </c:pt>
                <c:pt idx="169">
                  <c:v>97.760275658380493</c:v>
                </c:pt>
                <c:pt idx="170">
                  <c:v>98.178685700221237</c:v>
                </c:pt>
                <c:pt idx="171">
                  <c:v>98.178685700221237</c:v>
                </c:pt>
                <c:pt idx="172">
                  <c:v>98.178685700221237</c:v>
                </c:pt>
                <c:pt idx="173">
                  <c:v>98.211502174091379</c:v>
                </c:pt>
                <c:pt idx="174">
                  <c:v>98.44942160964824</c:v>
                </c:pt>
                <c:pt idx="175">
                  <c:v>98.670932808269413</c:v>
                </c:pt>
                <c:pt idx="176">
                  <c:v>99.195996390187801</c:v>
                </c:pt>
                <c:pt idx="177">
                  <c:v>99.29444581179753</c:v>
                </c:pt>
                <c:pt idx="178">
                  <c:v>99.29444581179753</c:v>
                </c:pt>
                <c:pt idx="179">
                  <c:v>99.29444581179753</c:v>
                </c:pt>
                <c:pt idx="180">
                  <c:v>98.195093937156301</c:v>
                </c:pt>
                <c:pt idx="181">
                  <c:v>96.792189679219135</c:v>
                </c:pt>
                <c:pt idx="182">
                  <c:v>97.251620313397325</c:v>
                </c:pt>
                <c:pt idx="183">
                  <c:v>98.145869226351579</c:v>
                </c:pt>
                <c:pt idx="184">
                  <c:v>97.522356222823575</c:v>
                </c:pt>
                <c:pt idx="185">
                  <c:v>97.522356222823575</c:v>
                </c:pt>
                <c:pt idx="186">
                  <c:v>97.522356222823575</c:v>
                </c:pt>
                <c:pt idx="187">
                  <c:v>96.701944376076781</c:v>
                </c:pt>
                <c:pt idx="188">
                  <c:v>95.947165477069646</c:v>
                </c:pt>
                <c:pt idx="189">
                  <c:v>95.947165477069646</c:v>
                </c:pt>
                <c:pt idx="190">
                  <c:v>94.749364180818915</c:v>
                </c:pt>
                <c:pt idx="191">
                  <c:v>95.389285421281471</c:v>
                </c:pt>
                <c:pt idx="192">
                  <c:v>95.389285421281471</c:v>
                </c:pt>
                <c:pt idx="193">
                  <c:v>95.389285421281471</c:v>
                </c:pt>
                <c:pt idx="194">
                  <c:v>95.389285421281471</c:v>
                </c:pt>
                <c:pt idx="195">
                  <c:v>96.062023135614083</c:v>
                </c:pt>
                <c:pt idx="196">
                  <c:v>96.849618508491162</c:v>
                </c:pt>
                <c:pt idx="197">
                  <c:v>95.725654278447763</c:v>
                </c:pt>
                <c:pt idx="198">
                  <c:v>96.0374107802118</c:v>
                </c:pt>
                <c:pt idx="199">
                  <c:v>96.0374107802118</c:v>
                </c:pt>
                <c:pt idx="200">
                  <c:v>96.0374107802118</c:v>
                </c:pt>
                <c:pt idx="201">
                  <c:v>94.979079497907946</c:v>
                </c:pt>
                <c:pt idx="202">
                  <c:v>94.601690048404279</c:v>
                </c:pt>
                <c:pt idx="203">
                  <c:v>94.330954138977745</c:v>
                </c:pt>
                <c:pt idx="204">
                  <c:v>94.601690048404279</c:v>
                </c:pt>
                <c:pt idx="205">
                  <c:v>95.093937156452213</c:v>
                </c:pt>
                <c:pt idx="206">
                  <c:v>95.093937156452213</c:v>
                </c:pt>
                <c:pt idx="207">
                  <c:v>95.093937156452213</c:v>
                </c:pt>
                <c:pt idx="208">
                  <c:v>95.093937156452213</c:v>
                </c:pt>
                <c:pt idx="209">
                  <c:v>95.093937156452213</c:v>
                </c:pt>
                <c:pt idx="210">
                  <c:v>95.093937156452213</c:v>
                </c:pt>
                <c:pt idx="211">
                  <c:v>95.093937156452213</c:v>
                </c:pt>
                <c:pt idx="212">
                  <c:v>95.093937156452213</c:v>
                </c:pt>
                <c:pt idx="213">
                  <c:v>95.093937156452213</c:v>
                </c:pt>
                <c:pt idx="214">
                  <c:v>95.093937156452213</c:v>
                </c:pt>
                <c:pt idx="215">
                  <c:v>96.37377963737795</c:v>
                </c:pt>
                <c:pt idx="216">
                  <c:v>96.258921978833385</c:v>
                </c:pt>
                <c:pt idx="217">
                  <c:v>96.447616703585226</c:v>
                </c:pt>
                <c:pt idx="218">
                  <c:v>96.529657888259848</c:v>
                </c:pt>
                <c:pt idx="219">
                  <c:v>96.989088522438038</c:v>
                </c:pt>
                <c:pt idx="220">
                  <c:v>96.989088522438038</c:v>
                </c:pt>
                <c:pt idx="221">
                  <c:v>96.989088522438038</c:v>
                </c:pt>
                <c:pt idx="222">
                  <c:v>96.21790138649601</c:v>
                </c:pt>
                <c:pt idx="223">
                  <c:v>95.79949134465501</c:v>
                </c:pt>
                <c:pt idx="224">
                  <c:v>95.848716055459548</c:v>
                </c:pt>
                <c:pt idx="225">
                  <c:v>95.717450159980316</c:v>
                </c:pt>
                <c:pt idx="226">
                  <c:v>95.93075724013454</c:v>
                </c:pt>
                <c:pt idx="227">
                  <c:v>95.93075724013454</c:v>
                </c:pt>
                <c:pt idx="228">
                  <c:v>95.93075724013454</c:v>
                </c:pt>
                <c:pt idx="229">
                  <c:v>95.83230781852437</c:v>
                </c:pt>
                <c:pt idx="230">
                  <c:v>95.840511936992371</c:v>
                </c:pt>
                <c:pt idx="231">
                  <c:v>96.045614898679133</c:v>
                </c:pt>
                <c:pt idx="232">
                  <c:v>96.127656083353841</c:v>
                </c:pt>
                <c:pt idx="233">
                  <c:v>95.610796619903198</c:v>
                </c:pt>
                <c:pt idx="234">
                  <c:v>95.610796619903198</c:v>
                </c:pt>
                <c:pt idx="235">
                  <c:v>95.610796619903198</c:v>
                </c:pt>
                <c:pt idx="236">
                  <c:v>96.103043727951331</c:v>
                </c:pt>
                <c:pt idx="237">
                  <c:v>96.111247846418848</c:v>
                </c:pt>
                <c:pt idx="238">
                  <c:v>96.053819017146608</c:v>
                </c:pt>
                <c:pt idx="239">
                  <c:v>95.840511936992371</c:v>
                </c:pt>
                <c:pt idx="240">
                  <c:v>96.127656083353841</c:v>
                </c:pt>
                <c:pt idx="241">
                  <c:v>96.127656083353841</c:v>
                </c:pt>
                <c:pt idx="242">
                  <c:v>96.127656083353841</c:v>
                </c:pt>
                <c:pt idx="243">
                  <c:v>96.070227254081502</c:v>
                </c:pt>
                <c:pt idx="244">
                  <c:v>96.267126097301002</c:v>
                </c:pt>
                <c:pt idx="245">
                  <c:v>96.652719665271974</c:v>
                </c:pt>
                <c:pt idx="246">
                  <c:v>96.480433177454827</c:v>
                </c:pt>
                <c:pt idx="247">
                  <c:v>96.562474362129507</c:v>
                </c:pt>
                <c:pt idx="248">
                  <c:v>96.562474362129507</c:v>
                </c:pt>
                <c:pt idx="249">
                  <c:v>96.562474362129507</c:v>
                </c:pt>
                <c:pt idx="250">
                  <c:v>96.168676675691131</c:v>
                </c:pt>
                <c:pt idx="251">
                  <c:v>96.431208466650233</c:v>
                </c:pt>
                <c:pt idx="252">
                  <c:v>96.660923783739435</c:v>
                </c:pt>
                <c:pt idx="253">
                  <c:v>97.062925588645527</c:v>
                </c:pt>
                <c:pt idx="254">
                  <c:v>97.062925588645527</c:v>
                </c:pt>
                <c:pt idx="255">
                  <c:v>97.062925588645527</c:v>
                </c:pt>
                <c:pt idx="256">
                  <c:v>97.062925588645527</c:v>
                </c:pt>
                <c:pt idx="257">
                  <c:v>97.423906801214216</c:v>
                </c:pt>
                <c:pt idx="258">
                  <c:v>97.653622118303332</c:v>
                </c:pt>
                <c:pt idx="259">
                  <c:v>97.69464271064075</c:v>
                </c:pt>
                <c:pt idx="260">
                  <c:v>98.695545163672151</c:v>
                </c:pt>
                <c:pt idx="261">
                  <c:v>98.326359832635674</c:v>
                </c:pt>
                <c:pt idx="262">
                  <c:v>98.326359832635674</c:v>
                </c:pt>
                <c:pt idx="263">
                  <c:v>98.326359832635674</c:v>
                </c:pt>
                <c:pt idx="264">
                  <c:v>98.219706292558683</c:v>
                </c:pt>
                <c:pt idx="265">
                  <c:v>98.342768069570909</c:v>
                </c:pt>
                <c:pt idx="266">
                  <c:v>98.252522766428569</c:v>
                </c:pt>
                <c:pt idx="267">
                  <c:v>98.014603330872234</c:v>
                </c:pt>
                <c:pt idx="268">
                  <c:v>98.506850438920338</c:v>
                </c:pt>
                <c:pt idx="269">
                  <c:v>98.506850438920338</c:v>
                </c:pt>
                <c:pt idx="270">
                  <c:v>98.506850438920338</c:v>
                </c:pt>
                <c:pt idx="271">
                  <c:v>99.433915825744521</c:v>
                </c:pt>
                <c:pt idx="272">
                  <c:v>100.1886947247517</c:v>
                </c:pt>
                <c:pt idx="273">
                  <c:v>99.991795881532525</c:v>
                </c:pt>
                <c:pt idx="274">
                  <c:v>99.56518172122405</c:v>
                </c:pt>
                <c:pt idx="275">
                  <c:v>99.630814668963822</c:v>
                </c:pt>
                <c:pt idx="276">
                  <c:v>99.630814668963822</c:v>
                </c:pt>
                <c:pt idx="277">
                  <c:v>99.630814668963822</c:v>
                </c:pt>
                <c:pt idx="278">
                  <c:v>100.1886947247517</c:v>
                </c:pt>
                <c:pt idx="279">
                  <c:v>100.0082041184675</c:v>
                </c:pt>
                <c:pt idx="280">
                  <c:v>100.4266141603086</c:v>
                </c:pt>
                <c:pt idx="281">
                  <c:v>100.0082041184675</c:v>
                </c:pt>
                <c:pt idx="282">
                  <c:v>100.14767413241439</c:v>
                </c:pt>
                <c:pt idx="283">
                  <c:v>100.14767413241439</c:v>
                </c:pt>
                <c:pt idx="284">
                  <c:v>100.14767413241439</c:v>
                </c:pt>
                <c:pt idx="285">
                  <c:v>100.1066535400772</c:v>
                </c:pt>
                <c:pt idx="286">
                  <c:v>100.04922471080479</c:v>
                </c:pt>
                <c:pt idx="287">
                  <c:v>100.3281647386987</c:v>
                </c:pt>
                <c:pt idx="288">
                  <c:v>100.14767413241439</c:v>
                </c:pt>
                <c:pt idx="289">
                  <c:v>100.27073590942631</c:v>
                </c:pt>
                <c:pt idx="290">
                  <c:v>100.27073590942631</c:v>
                </c:pt>
                <c:pt idx="291">
                  <c:v>100.27073590942631</c:v>
                </c:pt>
                <c:pt idx="292">
                  <c:v>98.785790466814262</c:v>
                </c:pt>
                <c:pt idx="293">
                  <c:v>98.391992780375901</c:v>
                </c:pt>
                <c:pt idx="294">
                  <c:v>98.662728689802265</c:v>
                </c:pt>
                <c:pt idx="295">
                  <c:v>98.728361637542051</c:v>
                </c:pt>
                <c:pt idx="296">
                  <c:v>98.982689310033578</c:v>
                </c:pt>
                <c:pt idx="297">
                  <c:v>98.982689310033578</c:v>
                </c:pt>
                <c:pt idx="298">
                  <c:v>98.982689310033578</c:v>
                </c:pt>
                <c:pt idx="299">
                  <c:v>98.793994585281823</c:v>
                </c:pt>
                <c:pt idx="300">
                  <c:v>99.745672327508302</c:v>
                </c:pt>
                <c:pt idx="301">
                  <c:v>99.786692919845763</c:v>
                </c:pt>
                <c:pt idx="302">
                  <c:v>99.803101156780386</c:v>
                </c:pt>
                <c:pt idx="303">
                  <c:v>99.122159323980441</c:v>
                </c:pt>
                <c:pt idx="304">
                  <c:v>99.122159323980441</c:v>
                </c:pt>
                <c:pt idx="305">
                  <c:v>99.122159323980441</c:v>
                </c:pt>
                <c:pt idx="306">
                  <c:v>99.310854048732466</c:v>
                </c:pt>
                <c:pt idx="307">
                  <c:v>99.515957010419072</c:v>
                </c:pt>
                <c:pt idx="308">
                  <c:v>99.204200508655333</c:v>
                </c:pt>
                <c:pt idx="309">
                  <c:v>99.917958815325306</c:v>
                </c:pt>
                <c:pt idx="310">
                  <c:v>99.671835261301183</c:v>
                </c:pt>
                <c:pt idx="311">
                  <c:v>99.671835261301183</c:v>
                </c:pt>
                <c:pt idx="312">
                  <c:v>99.671835261301183</c:v>
                </c:pt>
                <c:pt idx="313">
                  <c:v>99.581589958159</c:v>
                </c:pt>
                <c:pt idx="314">
                  <c:v>99.786692919845763</c:v>
                </c:pt>
                <c:pt idx="315">
                  <c:v>100.1312658954795</c:v>
                </c:pt>
                <c:pt idx="316">
                  <c:v>100.01640823693469</c:v>
                </c:pt>
                <c:pt idx="317">
                  <c:v>100.13947001394681</c:v>
                </c:pt>
                <c:pt idx="318">
                  <c:v>100.13947001394681</c:v>
                </c:pt>
                <c:pt idx="319">
                  <c:v>100.13947001394681</c:v>
                </c:pt>
                <c:pt idx="320">
                  <c:v>100.0328164738698</c:v>
                </c:pt>
                <c:pt idx="321">
                  <c:v>99.6472229058989</c:v>
                </c:pt>
                <c:pt idx="322">
                  <c:v>99.466732299614378</c:v>
                </c:pt>
                <c:pt idx="323">
                  <c:v>99.770284682910827</c:v>
                </c:pt>
                <c:pt idx="324">
                  <c:v>99.770284682910827</c:v>
                </c:pt>
                <c:pt idx="325">
                  <c:v>99.770284682910827</c:v>
                </c:pt>
                <c:pt idx="326">
                  <c:v>99.770284682910827</c:v>
                </c:pt>
                <c:pt idx="327">
                  <c:v>99.450324062679456</c:v>
                </c:pt>
                <c:pt idx="328">
                  <c:v>99.811305275248316</c:v>
                </c:pt>
                <c:pt idx="329">
                  <c:v>99.762080564443352</c:v>
                </c:pt>
                <c:pt idx="330">
                  <c:v>99.917958815325306</c:v>
                </c:pt>
                <c:pt idx="331">
                  <c:v>100.0574288292724</c:v>
                </c:pt>
                <c:pt idx="332">
                  <c:v>100.0574288292724</c:v>
                </c:pt>
                <c:pt idx="333">
                  <c:v>100.0574288292724</c:v>
                </c:pt>
                <c:pt idx="334">
                  <c:v>100.6153088850602</c:v>
                </c:pt>
                <c:pt idx="335">
                  <c:v>100.7137583066697</c:v>
                </c:pt>
                <c:pt idx="336">
                  <c:v>100.8696365575516</c:v>
                </c:pt>
                <c:pt idx="337">
                  <c:v>101.0583312823036</c:v>
                </c:pt>
                <c:pt idx="338">
                  <c:v>100.8778406760193</c:v>
                </c:pt>
                <c:pt idx="339">
                  <c:v>100.8778406760193</c:v>
                </c:pt>
                <c:pt idx="340">
                  <c:v>100.8778406760193</c:v>
                </c:pt>
                <c:pt idx="341">
                  <c:v>101.33727131019771</c:v>
                </c:pt>
                <c:pt idx="342">
                  <c:v>101.2962507178604</c:v>
                </c:pt>
                <c:pt idx="343">
                  <c:v>101.20600541471821</c:v>
                </c:pt>
                <c:pt idx="344">
                  <c:v>101.20600541471821</c:v>
                </c:pt>
                <c:pt idx="345">
                  <c:v>101.9936007875955</c:v>
                </c:pt>
                <c:pt idx="346">
                  <c:v>101.9936007875955</c:v>
                </c:pt>
                <c:pt idx="347">
                  <c:v>101.9936007875955</c:v>
                </c:pt>
                <c:pt idx="348">
                  <c:v>103.363688571663</c:v>
                </c:pt>
                <c:pt idx="349">
                  <c:v>105.8331282303717</c:v>
                </c:pt>
                <c:pt idx="350">
                  <c:v>104.3563869062266</c:v>
                </c:pt>
                <c:pt idx="351">
                  <c:v>103.0847485437689</c:v>
                </c:pt>
                <c:pt idx="352">
                  <c:v>102.5514808433833</c:v>
                </c:pt>
                <c:pt idx="353">
                  <c:v>102.5514808433833</c:v>
                </c:pt>
                <c:pt idx="354">
                  <c:v>102.5514808433833</c:v>
                </c:pt>
                <c:pt idx="355">
                  <c:v>102.01821314299779</c:v>
                </c:pt>
                <c:pt idx="356">
                  <c:v>102.1904996308147</c:v>
                </c:pt>
                <c:pt idx="357">
                  <c:v>102.2807449339567</c:v>
                </c:pt>
                <c:pt idx="358">
                  <c:v>102.2807449339567</c:v>
                </c:pt>
                <c:pt idx="359">
                  <c:v>102.2807449339567</c:v>
                </c:pt>
                <c:pt idx="360">
                  <c:v>102.2807449339567</c:v>
                </c:pt>
                <c:pt idx="361">
                  <c:v>102.2807449339567</c:v>
                </c:pt>
                <c:pt idx="362">
                  <c:v>102.01000902453031</c:v>
                </c:pt>
                <c:pt idx="363">
                  <c:v>102.0264172614653</c:v>
                </c:pt>
                <c:pt idx="364">
                  <c:v>102.0592337353352</c:v>
                </c:pt>
                <c:pt idx="365">
                  <c:v>102.0592337353352</c:v>
                </c:pt>
                <c:pt idx="366">
                  <c:v>102.33817376322909</c:v>
                </c:pt>
                <c:pt idx="367">
                  <c:v>102.33817376322909</c:v>
                </c:pt>
                <c:pt idx="368">
                  <c:v>102.33817376322909</c:v>
                </c:pt>
                <c:pt idx="369">
                  <c:v>103.2816473869883</c:v>
                </c:pt>
                <c:pt idx="370">
                  <c:v>103.84773156124371</c:v>
                </c:pt>
                <c:pt idx="371">
                  <c:v>104.4548363278365</c:v>
                </c:pt>
                <c:pt idx="372">
                  <c:v>104.4466322093692</c:v>
                </c:pt>
                <c:pt idx="373">
                  <c:v>103.7000574288293</c:v>
                </c:pt>
                <c:pt idx="374">
                  <c:v>103.7000574288293</c:v>
                </c:pt>
                <c:pt idx="375">
                  <c:v>103.7000574288293</c:v>
                </c:pt>
                <c:pt idx="376">
                  <c:v>103.10936089917141</c:v>
                </c:pt>
                <c:pt idx="377">
                  <c:v>103.43752563787039</c:v>
                </c:pt>
                <c:pt idx="378">
                  <c:v>103.20781032078099</c:v>
                </c:pt>
                <c:pt idx="379">
                  <c:v>103.5113627040775</c:v>
                </c:pt>
                <c:pt idx="380">
                  <c:v>103.3144638608582</c:v>
                </c:pt>
                <c:pt idx="381">
                  <c:v>103.3144638608582</c:v>
                </c:pt>
                <c:pt idx="382">
                  <c:v>103.3144638608582</c:v>
                </c:pt>
                <c:pt idx="383">
                  <c:v>103.47034211174</c:v>
                </c:pt>
                <c:pt idx="384">
                  <c:v>103.85593567971119</c:v>
                </c:pt>
                <c:pt idx="385">
                  <c:v>103.0191155960292</c:v>
                </c:pt>
                <c:pt idx="386">
                  <c:v>102.1494790384773</c:v>
                </c:pt>
                <c:pt idx="387">
                  <c:v>102.0920502092051</c:v>
                </c:pt>
                <c:pt idx="388">
                  <c:v>102.0920502092051</c:v>
                </c:pt>
                <c:pt idx="389">
                  <c:v>102.0920502092051</c:v>
                </c:pt>
                <c:pt idx="390">
                  <c:v>102.69095085733041</c:v>
                </c:pt>
                <c:pt idx="391">
                  <c:v>102.49405201411111</c:v>
                </c:pt>
                <c:pt idx="392">
                  <c:v>102.5350726064483</c:v>
                </c:pt>
                <c:pt idx="393">
                  <c:v>102.6745426203954</c:v>
                </c:pt>
                <c:pt idx="394">
                  <c:v>103.5769956518173</c:v>
                </c:pt>
                <c:pt idx="395">
                  <c:v>103.5769956518173</c:v>
                </c:pt>
                <c:pt idx="396">
                  <c:v>103.5769956518173</c:v>
                </c:pt>
                <c:pt idx="397">
                  <c:v>104.1923045368774</c:v>
                </c:pt>
                <c:pt idx="398">
                  <c:v>103.72466978423211</c:v>
                </c:pt>
                <c:pt idx="399">
                  <c:v>103.4457297563378</c:v>
                </c:pt>
                <c:pt idx="400">
                  <c:v>103.8067109689064</c:v>
                </c:pt>
                <c:pt idx="401">
                  <c:v>103.4785462302076</c:v>
                </c:pt>
                <c:pt idx="402">
                  <c:v>103.4785462302076</c:v>
                </c:pt>
                <c:pt idx="403">
                  <c:v>103.4785462302076</c:v>
                </c:pt>
                <c:pt idx="404">
                  <c:v>104.0200180490606</c:v>
                </c:pt>
                <c:pt idx="405">
                  <c:v>103.7328739026991</c:v>
                </c:pt>
                <c:pt idx="406">
                  <c:v>104.1923045368774</c:v>
                </c:pt>
                <c:pt idx="407">
                  <c:v>104.9634916728198</c:v>
                </c:pt>
                <c:pt idx="408">
                  <c:v>104.75838871113289</c:v>
                </c:pt>
                <c:pt idx="409">
                  <c:v>104.75838871113289</c:v>
                </c:pt>
                <c:pt idx="410">
                  <c:v>104.75838871113289</c:v>
                </c:pt>
                <c:pt idx="411">
                  <c:v>104.536877512511</c:v>
                </c:pt>
                <c:pt idx="412">
                  <c:v>104.65993928952339</c:v>
                </c:pt>
                <c:pt idx="413">
                  <c:v>105.04553285749419</c:v>
                </c:pt>
                <c:pt idx="414">
                  <c:v>105.04553285749419</c:v>
                </c:pt>
                <c:pt idx="415">
                  <c:v>105.4147181885306</c:v>
                </c:pt>
                <c:pt idx="416">
                  <c:v>105.4147181885306</c:v>
                </c:pt>
                <c:pt idx="417">
                  <c:v>105.4147181885306</c:v>
                </c:pt>
                <c:pt idx="418">
                  <c:v>105.1193699237017</c:v>
                </c:pt>
                <c:pt idx="419">
                  <c:v>105.5541882024776</c:v>
                </c:pt>
                <c:pt idx="420">
                  <c:v>105.72647469029449</c:v>
                </c:pt>
                <c:pt idx="421">
                  <c:v>105.5213717286078</c:v>
                </c:pt>
                <c:pt idx="422">
                  <c:v>105.52957584707519</c:v>
                </c:pt>
                <c:pt idx="423">
                  <c:v>105.52957584707519</c:v>
                </c:pt>
                <c:pt idx="424">
                  <c:v>105.52957584707519</c:v>
                </c:pt>
                <c:pt idx="425">
                  <c:v>106.59611124784639</c:v>
                </c:pt>
                <c:pt idx="426">
                  <c:v>106.3417835753548</c:v>
                </c:pt>
                <c:pt idx="427">
                  <c:v>106.3499876938223</c:v>
                </c:pt>
                <c:pt idx="428">
                  <c:v>106.8340306834031</c:v>
                </c:pt>
                <c:pt idx="429">
                  <c:v>106.5140700631717</c:v>
                </c:pt>
                <c:pt idx="430">
                  <c:v>106.5140700631717</c:v>
                </c:pt>
                <c:pt idx="431">
                  <c:v>106.5140700631717</c:v>
                </c:pt>
                <c:pt idx="432">
                  <c:v>107.03913364508981</c:v>
                </c:pt>
                <c:pt idx="433">
                  <c:v>107.13758306669951</c:v>
                </c:pt>
                <c:pt idx="434">
                  <c:v>107.999015505784</c:v>
                </c:pt>
                <c:pt idx="435">
                  <c:v>108.0974649273937</c:v>
                </c:pt>
                <c:pt idx="436">
                  <c:v>108.2205267044056</c:v>
                </c:pt>
                <c:pt idx="437">
                  <c:v>108.2205267044056</c:v>
                </c:pt>
                <c:pt idx="438">
                  <c:v>108.2205267044056</c:v>
                </c:pt>
                <c:pt idx="439">
                  <c:v>108.5979161539093</c:v>
                </c:pt>
                <c:pt idx="440">
                  <c:v>108.36820083681999</c:v>
                </c:pt>
                <c:pt idx="441">
                  <c:v>107.999015505784</c:v>
                </c:pt>
                <c:pt idx="442">
                  <c:v>106.71917302485851</c:v>
                </c:pt>
                <c:pt idx="443">
                  <c:v>107.26884896217901</c:v>
                </c:pt>
                <c:pt idx="444">
                  <c:v>107.26884896217901</c:v>
                </c:pt>
                <c:pt idx="445">
                  <c:v>107.26884896217901</c:v>
                </c:pt>
                <c:pt idx="446">
                  <c:v>107.2770530806465</c:v>
                </c:pt>
                <c:pt idx="447">
                  <c:v>106.4238247600295</c:v>
                </c:pt>
                <c:pt idx="448">
                  <c:v>106.0956600213308</c:v>
                </c:pt>
                <c:pt idx="449">
                  <c:v>106.6781524325207</c:v>
                </c:pt>
                <c:pt idx="450">
                  <c:v>107.1786036590368</c:v>
                </c:pt>
                <c:pt idx="451">
                  <c:v>107.1786036590368</c:v>
                </c:pt>
                <c:pt idx="452">
                  <c:v>107.1786036590368</c:v>
                </c:pt>
                <c:pt idx="453">
                  <c:v>107.3590942653212</c:v>
                </c:pt>
                <c:pt idx="454">
                  <c:v>107.3426860283863</c:v>
                </c:pt>
                <c:pt idx="455">
                  <c:v>107.00631717122</c:v>
                </c:pt>
                <c:pt idx="456">
                  <c:v>106.65354007711871</c:v>
                </c:pt>
                <c:pt idx="457">
                  <c:v>106.6125194847814</c:v>
                </c:pt>
                <c:pt idx="458">
                  <c:v>106.6125194847814</c:v>
                </c:pt>
                <c:pt idx="459">
                  <c:v>106.6125194847814</c:v>
                </c:pt>
                <c:pt idx="460">
                  <c:v>106.1777012060053</c:v>
                </c:pt>
                <c:pt idx="461">
                  <c:v>106.5058659447042</c:v>
                </c:pt>
                <c:pt idx="462">
                  <c:v>106.6699483140534</c:v>
                </c:pt>
                <c:pt idx="463">
                  <c:v>106.43202887849679</c:v>
                </c:pt>
                <c:pt idx="464">
                  <c:v>105.91516941504651</c:v>
                </c:pt>
                <c:pt idx="465">
                  <c:v>105.91516941504651</c:v>
                </c:pt>
                <c:pt idx="466">
                  <c:v>105.91516941504651</c:v>
                </c:pt>
                <c:pt idx="467">
                  <c:v>106.20231356140781</c:v>
                </c:pt>
                <c:pt idx="468">
                  <c:v>106.4812535893021</c:v>
                </c:pt>
                <c:pt idx="469">
                  <c:v>106.4566412338994</c:v>
                </c:pt>
                <c:pt idx="470">
                  <c:v>105.3244728853884</c:v>
                </c:pt>
                <c:pt idx="471">
                  <c:v>105.52957584707519</c:v>
                </c:pt>
                <c:pt idx="472">
                  <c:v>105.52957584707519</c:v>
                </c:pt>
                <c:pt idx="473">
                  <c:v>105.52957584707519</c:v>
                </c:pt>
                <c:pt idx="474">
                  <c:v>105.62802526868479</c:v>
                </c:pt>
                <c:pt idx="475">
                  <c:v>106.1777012060053</c:v>
                </c:pt>
                <c:pt idx="476">
                  <c:v>106.2597423906799</c:v>
                </c:pt>
                <c:pt idx="477">
                  <c:v>106.1530888506027</c:v>
                </c:pt>
                <c:pt idx="478">
                  <c:v>106.16949708753791</c:v>
                </c:pt>
                <c:pt idx="479">
                  <c:v>106.16949708753791</c:v>
                </c:pt>
                <c:pt idx="480">
                  <c:v>106.16949708753791</c:v>
                </c:pt>
                <c:pt idx="481">
                  <c:v>106.01361883665589</c:v>
                </c:pt>
                <c:pt idx="482">
                  <c:v>106.4730494708344</c:v>
                </c:pt>
                <c:pt idx="483">
                  <c:v>106.35819181228941</c:v>
                </c:pt>
                <c:pt idx="484">
                  <c:v>106.1366806136681</c:v>
                </c:pt>
                <c:pt idx="485">
                  <c:v>106.1366806136681</c:v>
                </c:pt>
                <c:pt idx="486">
                  <c:v>106.1366806136681</c:v>
                </c:pt>
                <c:pt idx="487">
                  <c:v>106.1366806136681</c:v>
                </c:pt>
                <c:pt idx="488">
                  <c:v>106.8258265649356</c:v>
                </c:pt>
                <c:pt idx="489">
                  <c:v>106.59611124784639</c:v>
                </c:pt>
                <c:pt idx="490">
                  <c:v>106.98170481581759</c:v>
                </c:pt>
                <c:pt idx="491">
                  <c:v>107.186807777504</c:v>
                </c:pt>
                <c:pt idx="492">
                  <c:v>108.10566904586101</c:v>
                </c:pt>
                <c:pt idx="493">
                  <c:v>108.10566904586101</c:v>
                </c:pt>
                <c:pt idx="494">
                  <c:v>108.10566904586101</c:v>
                </c:pt>
                <c:pt idx="495">
                  <c:v>107.6052178193453</c:v>
                </c:pt>
                <c:pt idx="496">
                  <c:v>108.3189761260152</c:v>
                </c:pt>
                <c:pt idx="497">
                  <c:v>108.1959143490032</c:v>
                </c:pt>
                <c:pt idx="498">
                  <c:v>108.1959143490032</c:v>
                </c:pt>
                <c:pt idx="499">
                  <c:v>107.3919107391911</c:v>
                </c:pt>
                <c:pt idx="500">
                  <c:v>107.3919107391911</c:v>
                </c:pt>
                <c:pt idx="501">
                  <c:v>107.3919107391911</c:v>
                </c:pt>
                <c:pt idx="502">
                  <c:v>107.6052178193453</c:v>
                </c:pt>
                <c:pt idx="503">
                  <c:v>108.1548937566657</c:v>
                </c:pt>
                <c:pt idx="504">
                  <c:v>108.04003609812121</c:v>
                </c:pt>
                <c:pt idx="505">
                  <c:v>107.88415784723929</c:v>
                </c:pt>
                <c:pt idx="506">
                  <c:v>107.7693001886946</c:v>
                </c:pt>
                <c:pt idx="507">
                  <c:v>107.7693001886946</c:v>
                </c:pt>
                <c:pt idx="508">
                  <c:v>107.7693001886946</c:v>
                </c:pt>
                <c:pt idx="509">
                  <c:v>108.179506112068</c:v>
                </c:pt>
                <c:pt idx="510">
                  <c:v>108.2287308228729</c:v>
                </c:pt>
                <c:pt idx="511">
                  <c:v>108.5322832061695</c:v>
                </c:pt>
                <c:pt idx="512">
                  <c:v>108.33538436295009</c:v>
                </c:pt>
                <c:pt idx="513">
                  <c:v>108.384609073755</c:v>
                </c:pt>
                <c:pt idx="514">
                  <c:v>108.384609073755</c:v>
                </c:pt>
                <c:pt idx="515">
                  <c:v>108.384609073755</c:v>
                </c:pt>
                <c:pt idx="516">
                  <c:v>108.540487324637</c:v>
                </c:pt>
                <c:pt idx="517">
                  <c:v>108.540487324637</c:v>
                </c:pt>
                <c:pt idx="518">
                  <c:v>108.261547296743</c:v>
                </c:pt>
                <c:pt idx="519">
                  <c:v>108.6471408647141</c:v>
                </c:pt>
                <c:pt idx="520">
                  <c:v>109.0163261957503</c:v>
                </c:pt>
                <c:pt idx="521">
                  <c:v>109.0163261957503</c:v>
                </c:pt>
                <c:pt idx="522">
                  <c:v>109.0163261957503</c:v>
                </c:pt>
                <c:pt idx="523">
                  <c:v>109.6070227254082</c:v>
                </c:pt>
                <c:pt idx="524">
                  <c:v>109.62343096234309</c:v>
                </c:pt>
                <c:pt idx="525">
                  <c:v>109.3526950529165</c:v>
                </c:pt>
                <c:pt idx="526">
                  <c:v>109.0491426696202</c:v>
                </c:pt>
                <c:pt idx="527">
                  <c:v>109.2542456313071</c:v>
                </c:pt>
                <c:pt idx="528">
                  <c:v>109.2542456313071</c:v>
                </c:pt>
                <c:pt idx="529">
                  <c:v>109.2542456313071</c:v>
                </c:pt>
                <c:pt idx="530">
                  <c:v>109.3855115267861</c:v>
                </c:pt>
                <c:pt idx="531">
                  <c:v>109.3855115267861</c:v>
                </c:pt>
                <c:pt idx="532">
                  <c:v>109.6644515546804</c:v>
                </c:pt>
                <c:pt idx="533">
                  <c:v>109.4511444745262</c:v>
                </c:pt>
                <c:pt idx="534">
                  <c:v>109.3116744605793</c:v>
                </c:pt>
                <c:pt idx="535">
                  <c:v>109.3116744605793</c:v>
                </c:pt>
                <c:pt idx="536">
                  <c:v>109.3116744605793</c:v>
                </c:pt>
                <c:pt idx="537">
                  <c:v>109.2624497497744</c:v>
                </c:pt>
                <c:pt idx="538">
                  <c:v>109.2460415128394</c:v>
                </c:pt>
                <c:pt idx="539">
                  <c:v>108.95069324801069</c:v>
                </c:pt>
                <c:pt idx="540">
                  <c:v>109.30347034211159</c:v>
                </c:pt>
                <c:pt idx="541">
                  <c:v>109.42653211912361</c:v>
                </c:pt>
                <c:pt idx="542">
                  <c:v>109.42653211912361</c:v>
                </c:pt>
                <c:pt idx="543">
                  <c:v>109.42653211912361</c:v>
                </c:pt>
                <c:pt idx="544">
                  <c:v>109.5742062515383</c:v>
                </c:pt>
                <c:pt idx="545">
                  <c:v>109.377307408319</c:v>
                </c:pt>
                <c:pt idx="546">
                  <c:v>109.36910328985149</c:v>
                </c:pt>
                <c:pt idx="547">
                  <c:v>109.4183280006562</c:v>
                </c:pt>
                <c:pt idx="548">
                  <c:v>109.2460415128394</c:v>
                </c:pt>
                <c:pt idx="549">
                  <c:v>109.2460415128394</c:v>
                </c:pt>
                <c:pt idx="550">
                  <c:v>109.2460415128394</c:v>
                </c:pt>
                <c:pt idx="551">
                  <c:v>109.549593896136</c:v>
                </c:pt>
                <c:pt idx="552">
                  <c:v>109.221429157437</c:v>
                </c:pt>
                <c:pt idx="553">
                  <c:v>109.49216506686361</c:v>
                </c:pt>
                <c:pt idx="554">
                  <c:v>109.500369185331</c:v>
                </c:pt>
                <c:pt idx="555">
                  <c:v>109.1475920912298</c:v>
                </c:pt>
                <c:pt idx="556">
                  <c:v>109.1475920912298</c:v>
                </c:pt>
                <c:pt idx="557">
                  <c:v>109.1475920912298</c:v>
                </c:pt>
                <c:pt idx="558">
                  <c:v>109.1886126835671</c:v>
                </c:pt>
                <c:pt idx="559">
                  <c:v>109.2788579867092</c:v>
                </c:pt>
                <c:pt idx="560">
                  <c:v>109.3526950529165</c:v>
                </c:pt>
                <c:pt idx="561">
                  <c:v>109.3526950529165</c:v>
                </c:pt>
                <c:pt idx="562">
                  <c:v>109.3526950529165</c:v>
                </c:pt>
                <c:pt idx="563">
                  <c:v>109.3526950529165</c:v>
                </c:pt>
                <c:pt idx="564">
                  <c:v>109.3526950529165</c:v>
                </c:pt>
                <c:pt idx="565">
                  <c:v>109.3526950529165</c:v>
                </c:pt>
                <c:pt idx="566">
                  <c:v>109.3526950529165</c:v>
                </c:pt>
                <c:pt idx="567">
                  <c:v>109.672655673148</c:v>
                </c:pt>
                <c:pt idx="568">
                  <c:v>109.88596275330219</c:v>
                </c:pt>
                <c:pt idx="569">
                  <c:v>110.32898515054541</c:v>
                </c:pt>
                <c:pt idx="570">
                  <c:v>110.32898515054541</c:v>
                </c:pt>
                <c:pt idx="571">
                  <c:v>110.32898515054541</c:v>
                </c:pt>
                <c:pt idx="572">
                  <c:v>110.3700057428828</c:v>
                </c:pt>
                <c:pt idx="573">
                  <c:v>110.42743457215521</c:v>
                </c:pt>
                <c:pt idx="574">
                  <c:v>110.29616867667571</c:v>
                </c:pt>
                <c:pt idx="575">
                  <c:v>110.49306751989501</c:v>
                </c:pt>
                <c:pt idx="576">
                  <c:v>110.5997210599722</c:v>
                </c:pt>
                <c:pt idx="577">
                  <c:v>110.5997210599722</c:v>
                </c:pt>
                <c:pt idx="578">
                  <c:v>110.5997210599722</c:v>
                </c:pt>
                <c:pt idx="579">
                  <c:v>110.68996636311429</c:v>
                </c:pt>
                <c:pt idx="580">
                  <c:v>110.71457871851671</c:v>
                </c:pt>
                <c:pt idx="581">
                  <c:v>110.895069324801</c:v>
                </c:pt>
                <c:pt idx="582">
                  <c:v>110.9935187464107</c:v>
                </c:pt>
                <c:pt idx="583">
                  <c:v>111.0509475756829</c:v>
                </c:pt>
                <c:pt idx="584">
                  <c:v>111.0509475756829</c:v>
                </c:pt>
                <c:pt idx="585">
                  <c:v>111.0509475756829</c:v>
                </c:pt>
                <c:pt idx="586">
                  <c:v>111.0509475756829</c:v>
                </c:pt>
                <c:pt idx="587">
                  <c:v>111.0919681680203</c:v>
                </c:pt>
                <c:pt idx="588">
                  <c:v>112.87226187546131</c:v>
                </c:pt>
                <c:pt idx="589">
                  <c:v>112.78201657231931</c:v>
                </c:pt>
                <c:pt idx="590">
                  <c:v>112.91328246779879</c:v>
                </c:pt>
                <c:pt idx="591">
                  <c:v>112.91328246779879</c:v>
                </c:pt>
                <c:pt idx="592">
                  <c:v>112.91328246779879</c:v>
                </c:pt>
                <c:pt idx="593">
                  <c:v>112.91328246779879</c:v>
                </c:pt>
                <c:pt idx="594">
                  <c:v>113.4711625235867</c:v>
                </c:pt>
                <c:pt idx="595">
                  <c:v>113.4137336943147</c:v>
                </c:pt>
                <c:pt idx="596">
                  <c:v>113.5285913528588</c:v>
                </c:pt>
                <c:pt idx="597">
                  <c:v>113.9962261055051</c:v>
                </c:pt>
                <c:pt idx="598">
                  <c:v>113.9962261055051</c:v>
                </c:pt>
                <c:pt idx="599">
                  <c:v>113.9962261055051</c:v>
                </c:pt>
                <c:pt idx="600">
                  <c:v>114.84125030765441</c:v>
                </c:pt>
                <c:pt idx="601">
                  <c:v>115.4073344819103</c:v>
                </c:pt>
                <c:pt idx="602">
                  <c:v>115.6944786282714</c:v>
                </c:pt>
                <c:pt idx="603">
                  <c:v>115.90778570842561</c:v>
                </c:pt>
                <c:pt idx="604">
                  <c:v>114.9479038477316</c:v>
                </c:pt>
                <c:pt idx="605">
                  <c:v>114.9479038477316</c:v>
                </c:pt>
                <c:pt idx="606">
                  <c:v>114.9479038477316</c:v>
                </c:pt>
                <c:pt idx="607">
                  <c:v>115.0791697432111</c:v>
                </c:pt>
                <c:pt idx="608">
                  <c:v>115.52219214045419</c:v>
                </c:pt>
                <c:pt idx="609">
                  <c:v>115.8995815899582</c:v>
                </c:pt>
                <c:pt idx="610">
                  <c:v>116.17031749938459</c:v>
                </c:pt>
                <c:pt idx="611">
                  <c:v>116.3179916317992</c:v>
                </c:pt>
                <c:pt idx="612">
                  <c:v>116.3179916317992</c:v>
                </c:pt>
                <c:pt idx="613">
                  <c:v>116.3179916317992</c:v>
                </c:pt>
                <c:pt idx="614">
                  <c:v>116.77742226597771</c:v>
                </c:pt>
                <c:pt idx="615">
                  <c:v>117.19583230781831</c:v>
                </c:pt>
              </c:numCache>
            </c:numRef>
          </c:val>
          <c:smooth val="0"/>
        </c:ser>
        <c:ser>
          <c:idx val="6"/>
          <c:order val="5"/>
          <c:tx>
            <c:strRef>
              <c:f>Sheet1!$H$1</c:f>
              <c:strCache>
                <c:ptCount val="1"/>
                <c:pt idx="0">
                  <c:v>Singapura</c:v>
                </c:pt>
              </c:strCache>
            </c:strRef>
          </c:tx>
          <c:spPr>
            <a:ln w="12700">
              <a:solidFill>
                <a:srgbClr val="FFFF00"/>
              </a:solidFill>
            </a:ln>
          </c:spPr>
          <c:marker>
            <c:symbol val="none"/>
          </c:marker>
          <c:cat>
            <c:numRef>
              <c:f>Sheet1!$A$2:$A$634</c:f>
              <c:numCache>
                <c:formatCode>m/d/yy</c:formatCode>
                <c:ptCount val="633"/>
                <c:pt idx="0">
                  <c:v>41640</c:v>
                </c:pt>
                <c:pt idx="1">
                  <c:v>41641</c:v>
                </c:pt>
                <c:pt idx="2">
                  <c:v>41642</c:v>
                </c:pt>
                <c:pt idx="3">
                  <c:v>41643</c:v>
                </c:pt>
                <c:pt idx="4">
                  <c:v>41644</c:v>
                </c:pt>
                <c:pt idx="5">
                  <c:v>41645</c:v>
                </c:pt>
                <c:pt idx="6">
                  <c:v>41646</c:v>
                </c:pt>
                <c:pt idx="7">
                  <c:v>41647</c:v>
                </c:pt>
                <c:pt idx="8">
                  <c:v>41648</c:v>
                </c:pt>
                <c:pt idx="9">
                  <c:v>41649</c:v>
                </c:pt>
                <c:pt idx="10">
                  <c:v>41650</c:v>
                </c:pt>
                <c:pt idx="11">
                  <c:v>41651</c:v>
                </c:pt>
                <c:pt idx="12">
                  <c:v>41652</c:v>
                </c:pt>
                <c:pt idx="13">
                  <c:v>41653</c:v>
                </c:pt>
                <c:pt idx="14">
                  <c:v>41654</c:v>
                </c:pt>
                <c:pt idx="15">
                  <c:v>41655</c:v>
                </c:pt>
                <c:pt idx="16">
                  <c:v>41656</c:v>
                </c:pt>
                <c:pt idx="17">
                  <c:v>41657</c:v>
                </c:pt>
                <c:pt idx="18">
                  <c:v>41658</c:v>
                </c:pt>
                <c:pt idx="19">
                  <c:v>41659</c:v>
                </c:pt>
                <c:pt idx="20">
                  <c:v>41660</c:v>
                </c:pt>
                <c:pt idx="21">
                  <c:v>41661</c:v>
                </c:pt>
                <c:pt idx="22">
                  <c:v>41662</c:v>
                </c:pt>
                <c:pt idx="23">
                  <c:v>41663</c:v>
                </c:pt>
                <c:pt idx="24">
                  <c:v>41664</c:v>
                </c:pt>
                <c:pt idx="25">
                  <c:v>41665</c:v>
                </c:pt>
                <c:pt idx="26">
                  <c:v>41666</c:v>
                </c:pt>
                <c:pt idx="27">
                  <c:v>41667</c:v>
                </c:pt>
                <c:pt idx="28">
                  <c:v>41668</c:v>
                </c:pt>
                <c:pt idx="29">
                  <c:v>41669</c:v>
                </c:pt>
                <c:pt idx="30">
                  <c:v>41670</c:v>
                </c:pt>
                <c:pt idx="31">
                  <c:v>41671</c:v>
                </c:pt>
                <c:pt idx="32">
                  <c:v>41672</c:v>
                </c:pt>
                <c:pt idx="33">
                  <c:v>41673</c:v>
                </c:pt>
                <c:pt idx="34">
                  <c:v>41674</c:v>
                </c:pt>
                <c:pt idx="35">
                  <c:v>41675</c:v>
                </c:pt>
                <c:pt idx="36">
                  <c:v>41676</c:v>
                </c:pt>
                <c:pt idx="37">
                  <c:v>41677</c:v>
                </c:pt>
                <c:pt idx="38">
                  <c:v>41678</c:v>
                </c:pt>
                <c:pt idx="39">
                  <c:v>41679</c:v>
                </c:pt>
                <c:pt idx="40">
                  <c:v>41680</c:v>
                </c:pt>
                <c:pt idx="41">
                  <c:v>41681</c:v>
                </c:pt>
                <c:pt idx="42">
                  <c:v>41682</c:v>
                </c:pt>
                <c:pt idx="43">
                  <c:v>41683</c:v>
                </c:pt>
                <c:pt idx="44">
                  <c:v>41684</c:v>
                </c:pt>
                <c:pt idx="45">
                  <c:v>41685</c:v>
                </c:pt>
                <c:pt idx="46">
                  <c:v>41686</c:v>
                </c:pt>
                <c:pt idx="47">
                  <c:v>41687</c:v>
                </c:pt>
                <c:pt idx="48">
                  <c:v>41688</c:v>
                </c:pt>
                <c:pt idx="49">
                  <c:v>41689</c:v>
                </c:pt>
                <c:pt idx="50">
                  <c:v>41690</c:v>
                </c:pt>
                <c:pt idx="51">
                  <c:v>41691</c:v>
                </c:pt>
                <c:pt idx="52">
                  <c:v>41692</c:v>
                </c:pt>
                <c:pt idx="53">
                  <c:v>41693</c:v>
                </c:pt>
                <c:pt idx="54">
                  <c:v>41694</c:v>
                </c:pt>
                <c:pt idx="55">
                  <c:v>41695</c:v>
                </c:pt>
                <c:pt idx="56">
                  <c:v>41696</c:v>
                </c:pt>
                <c:pt idx="57">
                  <c:v>41697</c:v>
                </c:pt>
                <c:pt idx="58">
                  <c:v>41698</c:v>
                </c:pt>
                <c:pt idx="59">
                  <c:v>41699</c:v>
                </c:pt>
                <c:pt idx="60">
                  <c:v>41700</c:v>
                </c:pt>
                <c:pt idx="61">
                  <c:v>41701</c:v>
                </c:pt>
                <c:pt idx="62">
                  <c:v>41702</c:v>
                </c:pt>
                <c:pt idx="63">
                  <c:v>41703</c:v>
                </c:pt>
                <c:pt idx="64">
                  <c:v>41704</c:v>
                </c:pt>
                <c:pt idx="65">
                  <c:v>41705</c:v>
                </c:pt>
                <c:pt idx="66">
                  <c:v>41706</c:v>
                </c:pt>
                <c:pt idx="67">
                  <c:v>41707</c:v>
                </c:pt>
                <c:pt idx="68">
                  <c:v>41708</c:v>
                </c:pt>
                <c:pt idx="69">
                  <c:v>41709</c:v>
                </c:pt>
                <c:pt idx="70">
                  <c:v>41710</c:v>
                </c:pt>
                <c:pt idx="71">
                  <c:v>41711</c:v>
                </c:pt>
                <c:pt idx="72">
                  <c:v>41712</c:v>
                </c:pt>
                <c:pt idx="73">
                  <c:v>41713</c:v>
                </c:pt>
                <c:pt idx="74">
                  <c:v>41714</c:v>
                </c:pt>
                <c:pt idx="75">
                  <c:v>41715</c:v>
                </c:pt>
                <c:pt idx="76">
                  <c:v>41716</c:v>
                </c:pt>
                <c:pt idx="77">
                  <c:v>41717</c:v>
                </c:pt>
                <c:pt idx="78">
                  <c:v>41718</c:v>
                </c:pt>
                <c:pt idx="79">
                  <c:v>41719</c:v>
                </c:pt>
                <c:pt idx="80">
                  <c:v>41720</c:v>
                </c:pt>
                <c:pt idx="81">
                  <c:v>41721</c:v>
                </c:pt>
                <c:pt idx="82">
                  <c:v>41722</c:v>
                </c:pt>
                <c:pt idx="83">
                  <c:v>41723</c:v>
                </c:pt>
                <c:pt idx="84">
                  <c:v>41724</c:v>
                </c:pt>
                <c:pt idx="85">
                  <c:v>41725</c:v>
                </c:pt>
                <c:pt idx="86">
                  <c:v>41726</c:v>
                </c:pt>
                <c:pt idx="87">
                  <c:v>41727</c:v>
                </c:pt>
                <c:pt idx="88">
                  <c:v>41728</c:v>
                </c:pt>
                <c:pt idx="89">
                  <c:v>41729</c:v>
                </c:pt>
                <c:pt idx="90">
                  <c:v>41730</c:v>
                </c:pt>
                <c:pt idx="91">
                  <c:v>41731</c:v>
                </c:pt>
                <c:pt idx="92">
                  <c:v>41732</c:v>
                </c:pt>
                <c:pt idx="93">
                  <c:v>41733</c:v>
                </c:pt>
                <c:pt idx="94">
                  <c:v>41734</c:v>
                </c:pt>
                <c:pt idx="95">
                  <c:v>41735</c:v>
                </c:pt>
                <c:pt idx="96">
                  <c:v>41736</c:v>
                </c:pt>
                <c:pt idx="97">
                  <c:v>41737</c:v>
                </c:pt>
                <c:pt idx="98">
                  <c:v>41738</c:v>
                </c:pt>
                <c:pt idx="99">
                  <c:v>41739</c:v>
                </c:pt>
                <c:pt idx="100">
                  <c:v>41740</c:v>
                </c:pt>
                <c:pt idx="101">
                  <c:v>41741</c:v>
                </c:pt>
                <c:pt idx="102">
                  <c:v>41742</c:v>
                </c:pt>
                <c:pt idx="103">
                  <c:v>41743</c:v>
                </c:pt>
                <c:pt idx="104">
                  <c:v>41744</c:v>
                </c:pt>
                <c:pt idx="105">
                  <c:v>41745</c:v>
                </c:pt>
                <c:pt idx="106">
                  <c:v>41746</c:v>
                </c:pt>
                <c:pt idx="107">
                  <c:v>41747</c:v>
                </c:pt>
                <c:pt idx="108">
                  <c:v>41748</c:v>
                </c:pt>
                <c:pt idx="109">
                  <c:v>41749</c:v>
                </c:pt>
                <c:pt idx="110">
                  <c:v>41750</c:v>
                </c:pt>
                <c:pt idx="111">
                  <c:v>41751</c:v>
                </c:pt>
                <c:pt idx="112">
                  <c:v>41752</c:v>
                </c:pt>
                <c:pt idx="113">
                  <c:v>41753</c:v>
                </c:pt>
                <c:pt idx="114">
                  <c:v>41754</c:v>
                </c:pt>
                <c:pt idx="115">
                  <c:v>41755</c:v>
                </c:pt>
                <c:pt idx="116">
                  <c:v>41756</c:v>
                </c:pt>
                <c:pt idx="117">
                  <c:v>41757</c:v>
                </c:pt>
                <c:pt idx="118">
                  <c:v>41758</c:v>
                </c:pt>
                <c:pt idx="119">
                  <c:v>41759</c:v>
                </c:pt>
                <c:pt idx="120">
                  <c:v>41760</c:v>
                </c:pt>
                <c:pt idx="121">
                  <c:v>41761</c:v>
                </c:pt>
                <c:pt idx="122">
                  <c:v>41762</c:v>
                </c:pt>
                <c:pt idx="123">
                  <c:v>41763</c:v>
                </c:pt>
                <c:pt idx="124">
                  <c:v>41764</c:v>
                </c:pt>
                <c:pt idx="125">
                  <c:v>41765</c:v>
                </c:pt>
                <c:pt idx="126">
                  <c:v>41766</c:v>
                </c:pt>
                <c:pt idx="127">
                  <c:v>41767</c:v>
                </c:pt>
                <c:pt idx="128">
                  <c:v>41768</c:v>
                </c:pt>
                <c:pt idx="129">
                  <c:v>41769</c:v>
                </c:pt>
                <c:pt idx="130">
                  <c:v>41770</c:v>
                </c:pt>
                <c:pt idx="131">
                  <c:v>41771</c:v>
                </c:pt>
                <c:pt idx="132">
                  <c:v>41772</c:v>
                </c:pt>
                <c:pt idx="133">
                  <c:v>41773</c:v>
                </c:pt>
                <c:pt idx="134">
                  <c:v>41774</c:v>
                </c:pt>
                <c:pt idx="135">
                  <c:v>41775</c:v>
                </c:pt>
                <c:pt idx="136">
                  <c:v>41776</c:v>
                </c:pt>
                <c:pt idx="137">
                  <c:v>41777</c:v>
                </c:pt>
                <c:pt idx="138">
                  <c:v>41778</c:v>
                </c:pt>
                <c:pt idx="139">
                  <c:v>41779</c:v>
                </c:pt>
                <c:pt idx="140">
                  <c:v>41780</c:v>
                </c:pt>
                <c:pt idx="141">
                  <c:v>41781</c:v>
                </c:pt>
                <c:pt idx="142">
                  <c:v>41782</c:v>
                </c:pt>
                <c:pt idx="143">
                  <c:v>41783</c:v>
                </c:pt>
                <c:pt idx="144">
                  <c:v>41784</c:v>
                </c:pt>
                <c:pt idx="145">
                  <c:v>41785</c:v>
                </c:pt>
                <c:pt idx="146">
                  <c:v>41786</c:v>
                </c:pt>
                <c:pt idx="147">
                  <c:v>41787</c:v>
                </c:pt>
                <c:pt idx="148">
                  <c:v>41788</c:v>
                </c:pt>
                <c:pt idx="149">
                  <c:v>41789</c:v>
                </c:pt>
                <c:pt idx="150">
                  <c:v>41790</c:v>
                </c:pt>
                <c:pt idx="151">
                  <c:v>41791</c:v>
                </c:pt>
                <c:pt idx="152">
                  <c:v>41792</c:v>
                </c:pt>
                <c:pt idx="153">
                  <c:v>41793</c:v>
                </c:pt>
                <c:pt idx="154">
                  <c:v>41794</c:v>
                </c:pt>
                <c:pt idx="155">
                  <c:v>41795</c:v>
                </c:pt>
                <c:pt idx="156">
                  <c:v>41796</c:v>
                </c:pt>
                <c:pt idx="157">
                  <c:v>41797</c:v>
                </c:pt>
                <c:pt idx="158">
                  <c:v>41798</c:v>
                </c:pt>
                <c:pt idx="159">
                  <c:v>41799</c:v>
                </c:pt>
                <c:pt idx="160">
                  <c:v>41800</c:v>
                </c:pt>
                <c:pt idx="161">
                  <c:v>41801</c:v>
                </c:pt>
                <c:pt idx="162">
                  <c:v>41802</c:v>
                </c:pt>
                <c:pt idx="163">
                  <c:v>41803</c:v>
                </c:pt>
                <c:pt idx="164">
                  <c:v>41804</c:v>
                </c:pt>
                <c:pt idx="165">
                  <c:v>41805</c:v>
                </c:pt>
                <c:pt idx="166">
                  <c:v>41806</c:v>
                </c:pt>
                <c:pt idx="167">
                  <c:v>41807</c:v>
                </c:pt>
                <c:pt idx="168">
                  <c:v>41808</c:v>
                </c:pt>
                <c:pt idx="169">
                  <c:v>41809</c:v>
                </c:pt>
                <c:pt idx="170">
                  <c:v>41810</c:v>
                </c:pt>
                <c:pt idx="171">
                  <c:v>41811</c:v>
                </c:pt>
                <c:pt idx="172">
                  <c:v>41812</c:v>
                </c:pt>
                <c:pt idx="173">
                  <c:v>41813</c:v>
                </c:pt>
                <c:pt idx="174">
                  <c:v>41814</c:v>
                </c:pt>
                <c:pt idx="175">
                  <c:v>41815</c:v>
                </c:pt>
                <c:pt idx="176">
                  <c:v>41816</c:v>
                </c:pt>
                <c:pt idx="177">
                  <c:v>41817</c:v>
                </c:pt>
                <c:pt idx="178">
                  <c:v>41818</c:v>
                </c:pt>
                <c:pt idx="179">
                  <c:v>41819</c:v>
                </c:pt>
                <c:pt idx="180">
                  <c:v>41820</c:v>
                </c:pt>
                <c:pt idx="181">
                  <c:v>41821</c:v>
                </c:pt>
                <c:pt idx="182">
                  <c:v>41822</c:v>
                </c:pt>
                <c:pt idx="183">
                  <c:v>41823</c:v>
                </c:pt>
                <c:pt idx="184">
                  <c:v>41824</c:v>
                </c:pt>
                <c:pt idx="185">
                  <c:v>41825</c:v>
                </c:pt>
                <c:pt idx="186">
                  <c:v>41826</c:v>
                </c:pt>
                <c:pt idx="187">
                  <c:v>41827</c:v>
                </c:pt>
                <c:pt idx="188">
                  <c:v>41828</c:v>
                </c:pt>
                <c:pt idx="189">
                  <c:v>41829</c:v>
                </c:pt>
                <c:pt idx="190">
                  <c:v>41830</c:v>
                </c:pt>
                <c:pt idx="191">
                  <c:v>41831</c:v>
                </c:pt>
                <c:pt idx="192">
                  <c:v>41832</c:v>
                </c:pt>
                <c:pt idx="193">
                  <c:v>41833</c:v>
                </c:pt>
                <c:pt idx="194">
                  <c:v>41834</c:v>
                </c:pt>
                <c:pt idx="195">
                  <c:v>41835</c:v>
                </c:pt>
                <c:pt idx="196">
                  <c:v>41836</c:v>
                </c:pt>
                <c:pt idx="197">
                  <c:v>41837</c:v>
                </c:pt>
                <c:pt idx="198">
                  <c:v>41838</c:v>
                </c:pt>
                <c:pt idx="199">
                  <c:v>41839</c:v>
                </c:pt>
                <c:pt idx="200">
                  <c:v>41840</c:v>
                </c:pt>
                <c:pt idx="201">
                  <c:v>41841</c:v>
                </c:pt>
                <c:pt idx="202">
                  <c:v>41842</c:v>
                </c:pt>
                <c:pt idx="203">
                  <c:v>41843</c:v>
                </c:pt>
                <c:pt idx="204">
                  <c:v>41844</c:v>
                </c:pt>
                <c:pt idx="205">
                  <c:v>41845</c:v>
                </c:pt>
                <c:pt idx="206">
                  <c:v>41846</c:v>
                </c:pt>
                <c:pt idx="207">
                  <c:v>41847</c:v>
                </c:pt>
                <c:pt idx="208">
                  <c:v>41848</c:v>
                </c:pt>
                <c:pt idx="209">
                  <c:v>41849</c:v>
                </c:pt>
                <c:pt idx="210">
                  <c:v>41850</c:v>
                </c:pt>
                <c:pt idx="211">
                  <c:v>41851</c:v>
                </c:pt>
                <c:pt idx="212">
                  <c:v>41852</c:v>
                </c:pt>
                <c:pt idx="213">
                  <c:v>41853</c:v>
                </c:pt>
                <c:pt idx="214">
                  <c:v>41854</c:v>
                </c:pt>
                <c:pt idx="215">
                  <c:v>41855</c:v>
                </c:pt>
                <c:pt idx="216">
                  <c:v>41856</c:v>
                </c:pt>
                <c:pt idx="217">
                  <c:v>41857</c:v>
                </c:pt>
                <c:pt idx="218">
                  <c:v>41858</c:v>
                </c:pt>
                <c:pt idx="219">
                  <c:v>41859</c:v>
                </c:pt>
                <c:pt idx="220">
                  <c:v>41860</c:v>
                </c:pt>
                <c:pt idx="221">
                  <c:v>41861</c:v>
                </c:pt>
                <c:pt idx="222">
                  <c:v>41862</c:v>
                </c:pt>
                <c:pt idx="223">
                  <c:v>41863</c:v>
                </c:pt>
                <c:pt idx="224">
                  <c:v>41864</c:v>
                </c:pt>
                <c:pt idx="225">
                  <c:v>41865</c:v>
                </c:pt>
                <c:pt idx="226">
                  <c:v>41866</c:v>
                </c:pt>
                <c:pt idx="227">
                  <c:v>41867</c:v>
                </c:pt>
                <c:pt idx="228">
                  <c:v>41868</c:v>
                </c:pt>
                <c:pt idx="229">
                  <c:v>41869</c:v>
                </c:pt>
                <c:pt idx="230">
                  <c:v>41870</c:v>
                </c:pt>
                <c:pt idx="231">
                  <c:v>41871</c:v>
                </c:pt>
                <c:pt idx="232">
                  <c:v>41872</c:v>
                </c:pt>
                <c:pt idx="233">
                  <c:v>41873</c:v>
                </c:pt>
                <c:pt idx="234">
                  <c:v>41874</c:v>
                </c:pt>
                <c:pt idx="235">
                  <c:v>41875</c:v>
                </c:pt>
                <c:pt idx="236">
                  <c:v>41876</c:v>
                </c:pt>
                <c:pt idx="237">
                  <c:v>41877</c:v>
                </c:pt>
                <c:pt idx="238">
                  <c:v>41878</c:v>
                </c:pt>
                <c:pt idx="239">
                  <c:v>41879</c:v>
                </c:pt>
                <c:pt idx="240">
                  <c:v>41880</c:v>
                </c:pt>
                <c:pt idx="241">
                  <c:v>41881</c:v>
                </c:pt>
                <c:pt idx="242">
                  <c:v>41882</c:v>
                </c:pt>
                <c:pt idx="243">
                  <c:v>41883</c:v>
                </c:pt>
                <c:pt idx="244">
                  <c:v>41884</c:v>
                </c:pt>
                <c:pt idx="245">
                  <c:v>41885</c:v>
                </c:pt>
                <c:pt idx="246">
                  <c:v>41886</c:v>
                </c:pt>
                <c:pt idx="247">
                  <c:v>41887</c:v>
                </c:pt>
                <c:pt idx="248">
                  <c:v>41888</c:v>
                </c:pt>
                <c:pt idx="249">
                  <c:v>41889</c:v>
                </c:pt>
                <c:pt idx="250">
                  <c:v>41890</c:v>
                </c:pt>
                <c:pt idx="251">
                  <c:v>41891</c:v>
                </c:pt>
                <c:pt idx="252">
                  <c:v>41892</c:v>
                </c:pt>
                <c:pt idx="253">
                  <c:v>41893</c:v>
                </c:pt>
                <c:pt idx="254">
                  <c:v>41894</c:v>
                </c:pt>
                <c:pt idx="255">
                  <c:v>41895</c:v>
                </c:pt>
                <c:pt idx="256">
                  <c:v>41896</c:v>
                </c:pt>
                <c:pt idx="257">
                  <c:v>41897</c:v>
                </c:pt>
                <c:pt idx="258">
                  <c:v>41898</c:v>
                </c:pt>
                <c:pt idx="259">
                  <c:v>41899</c:v>
                </c:pt>
                <c:pt idx="260">
                  <c:v>41900</c:v>
                </c:pt>
                <c:pt idx="261">
                  <c:v>41901</c:v>
                </c:pt>
                <c:pt idx="262">
                  <c:v>41902</c:v>
                </c:pt>
                <c:pt idx="263">
                  <c:v>41903</c:v>
                </c:pt>
                <c:pt idx="264">
                  <c:v>41904</c:v>
                </c:pt>
                <c:pt idx="265">
                  <c:v>41905</c:v>
                </c:pt>
                <c:pt idx="266">
                  <c:v>41906</c:v>
                </c:pt>
                <c:pt idx="267">
                  <c:v>41907</c:v>
                </c:pt>
                <c:pt idx="268">
                  <c:v>41908</c:v>
                </c:pt>
                <c:pt idx="269">
                  <c:v>41909</c:v>
                </c:pt>
                <c:pt idx="270">
                  <c:v>41910</c:v>
                </c:pt>
                <c:pt idx="271">
                  <c:v>41911</c:v>
                </c:pt>
                <c:pt idx="272">
                  <c:v>41912</c:v>
                </c:pt>
                <c:pt idx="273">
                  <c:v>41913</c:v>
                </c:pt>
                <c:pt idx="274">
                  <c:v>41914</c:v>
                </c:pt>
                <c:pt idx="275">
                  <c:v>41915</c:v>
                </c:pt>
                <c:pt idx="276">
                  <c:v>41916</c:v>
                </c:pt>
                <c:pt idx="277">
                  <c:v>41917</c:v>
                </c:pt>
                <c:pt idx="278">
                  <c:v>41918</c:v>
                </c:pt>
                <c:pt idx="279">
                  <c:v>41919</c:v>
                </c:pt>
                <c:pt idx="280">
                  <c:v>41920</c:v>
                </c:pt>
                <c:pt idx="281">
                  <c:v>41921</c:v>
                </c:pt>
                <c:pt idx="282">
                  <c:v>41922</c:v>
                </c:pt>
                <c:pt idx="283">
                  <c:v>41923</c:v>
                </c:pt>
                <c:pt idx="284">
                  <c:v>41924</c:v>
                </c:pt>
                <c:pt idx="285">
                  <c:v>41925</c:v>
                </c:pt>
                <c:pt idx="286">
                  <c:v>41926</c:v>
                </c:pt>
                <c:pt idx="287">
                  <c:v>41927</c:v>
                </c:pt>
                <c:pt idx="288">
                  <c:v>41928</c:v>
                </c:pt>
                <c:pt idx="289">
                  <c:v>41929</c:v>
                </c:pt>
                <c:pt idx="290">
                  <c:v>41930</c:v>
                </c:pt>
                <c:pt idx="291">
                  <c:v>41931</c:v>
                </c:pt>
                <c:pt idx="292">
                  <c:v>41932</c:v>
                </c:pt>
                <c:pt idx="293">
                  <c:v>41933</c:v>
                </c:pt>
                <c:pt idx="294">
                  <c:v>41934</c:v>
                </c:pt>
                <c:pt idx="295">
                  <c:v>41935</c:v>
                </c:pt>
                <c:pt idx="296">
                  <c:v>41936</c:v>
                </c:pt>
                <c:pt idx="297">
                  <c:v>41937</c:v>
                </c:pt>
                <c:pt idx="298">
                  <c:v>41938</c:v>
                </c:pt>
                <c:pt idx="299">
                  <c:v>41939</c:v>
                </c:pt>
                <c:pt idx="300">
                  <c:v>41940</c:v>
                </c:pt>
                <c:pt idx="301">
                  <c:v>41941</c:v>
                </c:pt>
                <c:pt idx="302">
                  <c:v>41942</c:v>
                </c:pt>
                <c:pt idx="303">
                  <c:v>41943</c:v>
                </c:pt>
                <c:pt idx="304">
                  <c:v>41944</c:v>
                </c:pt>
                <c:pt idx="305">
                  <c:v>41945</c:v>
                </c:pt>
                <c:pt idx="306">
                  <c:v>41946</c:v>
                </c:pt>
                <c:pt idx="307">
                  <c:v>41947</c:v>
                </c:pt>
                <c:pt idx="308">
                  <c:v>41948</c:v>
                </c:pt>
                <c:pt idx="309">
                  <c:v>41949</c:v>
                </c:pt>
                <c:pt idx="310">
                  <c:v>41950</c:v>
                </c:pt>
                <c:pt idx="311">
                  <c:v>41951</c:v>
                </c:pt>
                <c:pt idx="312">
                  <c:v>41952</c:v>
                </c:pt>
                <c:pt idx="313">
                  <c:v>41953</c:v>
                </c:pt>
                <c:pt idx="314">
                  <c:v>41954</c:v>
                </c:pt>
                <c:pt idx="315">
                  <c:v>41955</c:v>
                </c:pt>
                <c:pt idx="316">
                  <c:v>41956</c:v>
                </c:pt>
                <c:pt idx="317">
                  <c:v>41957</c:v>
                </c:pt>
                <c:pt idx="318">
                  <c:v>41958</c:v>
                </c:pt>
                <c:pt idx="319">
                  <c:v>41959</c:v>
                </c:pt>
                <c:pt idx="320">
                  <c:v>41960</c:v>
                </c:pt>
                <c:pt idx="321">
                  <c:v>41961</c:v>
                </c:pt>
                <c:pt idx="322">
                  <c:v>41962</c:v>
                </c:pt>
                <c:pt idx="323">
                  <c:v>41963</c:v>
                </c:pt>
                <c:pt idx="324">
                  <c:v>41964</c:v>
                </c:pt>
                <c:pt idx="325">
                  <c:v>41965</c:v>
                </c:pt>
                <c:pt idx="326">
                  <c:v>41966</c:v>
                </c:pt>
                <c:pt idx="327">
                  <c:v>41967</c:v>
                </c:pt>
                <c:pt idx="328">
                  <c:v>41968</c:v>
                </c:pt>
                <c:pt idx="329">
                  <c:v>41969</c:v>
                </c:pt>
                <c:pt idx="330">
                  <c:v>41970</c:v>
                </c:pt>
                <c:pt idx="331">
                  <c:v>41971</c:v>
                </c:pt>
                <c:pt idx="332">
                  <c:v>41972</c:v>
                </c:pt>
                <c:pt idx="333">
                  <c:v>41973</c:v>
                </c:pt>
                <c:pt idx="334">
                  <c:v>41974</c:v>
                </c:pt>
                <c:pt idx="335">
                  <c:v>41975</c:v>
                </c:pt>
                <c:pt idx="336">
                  <c:v>41976</c:v>
                </c:pt>
                <c:pt idx="337">
                  <c:v>41977</c:v>
                </c:pt>
                <c:pt idx="338">
                  <c:v>41978</c:v>
                </c:pt>
                <c:pt idx="339">
                  <c:v>41979</c:v>
                </c:pt>
                <c:pt idx="340">
                  <c:v>41980</c:v>
                </c:pt>
                <c:pt idx="341">
                  <c:v>41981</c:v>
                </c:pt>
                <c:pt idx="342">
                  <c:v>41982</c:v>
                </c:pt>
                <c:pt idx="343">
                  <c:v>41983</c:v>
                </c:pt>
                <c:pt idx="344">
                  <c:v>41984</c:v>
                </c:pt>
                <c:pt idx="345">
                  <c:v>41985</c:v>
                </c:pt>
                <c:pt idx="346">
                  <c:v>41986</c:v>
                </c:pt>
                <c:pt idx="347">
                  <c:v>41987</c:v>
                </c:pt>
                <c:pt idx="348">
                  <c:v>41988</c:v>
                </c:pt>
                <c:pt idx="349">
                  <c:v>41989</c:v>
                </c:pt>
                <c:pt idx="350">
                  <c:v>41990</c:v>
                </c:pt>
                <c:pt idx="351">
                  <c:v>41991</c:v>
                </c:pt>
                <c:pt idx="352">
                  <c:v>41992</c:v>
                </c:pt>
                <c:pt idx="353">
                  <c:v>41993</c:v>
                </c:pt>
                <c:pt idx="354">
                  <c:v>41994</c:v>
                </c:pt>
                <c:pt idx="355">
                  <c:v>41995</c:v>
                </c:pt>
                <c:pt idx="356">
                  <c:v>41996</c:v>
                </c:pt>
                <c:pt idx="357">
                  <c:v>41997</c:v>
                </c:pt>
                <c:pt idx="358">
                  <c:v>41998</c:v>
                </c:pt>
                <c:pt idx="359">
                  <c:v>41999</c:v>
                </c:pt>
                <c:pt idx="360">
                  <c:v>42000</c:v>
                </c:pt>
                <c:pt idx="361">
                  <c:v>42001</c:v>
                </c:pt>
                <c:pt idx="362">
                  <c:v>42002</c:v>
                </c:pt>
                <c:pt idx="363">
                  <c:v>42003</c:v>
                </c:pt>
                <c:pt idx="364">
                  <c:v>42004</c:v>
                </c:pt>
                <c:pt idx="365">
                  <c:v>42005</c:v>
                </c:pt>
                <c:pt idx="366">
                  <c:v>42006</c:v>
                </c:pt>
                <c:pt idx="367">
                  <c:v>42007</c:v>
                </c:pt>
                <c:pt idx="368">
                  <c:v>42008</c:v>
                </c:pt>
                <c:pt idx="369">
                  <c:v>42009</c:v>
                </c:pt>
                <c:pt idx="370">
                  <c:v>42010</c:v>
                </c:pt>
                <c:pt idx="371">
                  <c:v>42011</c:v>
                </c:pt>
                <c:pt idx="372">
                  <c:v>42012</c:v>
                </c:pt>
                <c:pt idx="373">
                  <c:v>42013</c:v>
                </c:pt>
                <c:pt idx="374">
                  <c:v>42014</c:v>
                </c:pt>
                <c:pt idx="375">
                  <c:v>42015</c:v>
                </c:pt>
                <c:pt idx="376">
                  <c:v>42016</c:v>
                </c:pt>
                <c:pt idx="377">
                  <c:v>42017</c:v>
                </c:pt>
                <c:pt idx="378">
                  <c:v>42018</c:v>
                </c:pt>
                <c:pt idx="379">
                  <c:v>42019</c:v>
                </c:pt>
                <c:pt idx="380">
                  <c:v>42020</c:v>
                </c:pt>
                <c:pt idx="381">
                  <c:v>42021</c:v>
                </c:pt>
                <c:pt idx="382">
                  <c:v>42022</c:v>
                </c:pt>
                <c:pt idx="383">
                  <c:v>42023</c:v>
                </c:pt>
                <c:pt idx="384">
                  <c:v>42024</c:v>
                </c:pt>
                <c:pt idx="385">
                  <c:v>42025</c:v>
                </c:pt>
                <c:pt idx="386">
                  <c:v>42026</c:v>
                </c:pt>
                <c:pt idx="387">
                  <c:v>42027</c:v>
                </c:pt>
                <c:pt idx="388">
                  <c:v>42028</c:v>
                </c:pt>
                <c:pt idx="389">
                  <c:v>42029</c:v>
                </c:pt>
                <c:pt idx="390">
                  <c:v>42030</c:v>
                </c:pt>
                <c:pt idx="391">
                  <c:v>42031</c:v>
                </c:pt>
                <c:pt idx="392">
                  <c:v>42032</c:v>
                </c:pt>
                <c:pt idx="393">
                  <c:v>42033</c:v>
                </c:pt>
                <c:pt idx="394">
                  <c:v>42034</c:v>
                </c:pt>
                <c:pt idx="395">
                  <c:v>42035</c:v>
                </c:pt>
                <c:pt idx="396">
                  <c:v>42036</c:v>
                </c:pt>
                <c:pt idx="397">
                  <c:v>42037</c:v>
                </c:pt>
                <c:pt idx="398">
                  <c:v>42038</c:v>
                </c:pt>
                <c:pt idx="399">
                  <c:v>42039</c:v>
                </c:pt>
                <c:pt idx="400">
                  <c:v>42040</c:v>
                </c:pt>
                <c:pt idx="401">
                  <c:v>42041</c:v>
                </c:pt>
                <c:pt idx="402">
                  <c:v>42042</c:v>
                </c:pt>
                <c:pt idx="403">
                  <c:v>42043</c:v>
                </c:pt>
                <c:pt idx="404">
                  <c:v>42044</c:v>
                </c:pt>
                <c:pt idx="405">
                  <c:v>42045</c:v>
                </c:pt>
                <c:pt idx="406">
                  <c:v>42046</c:v>
                </c:pt>
                <c:pt idx="407">
                  <c:v>42047</c:v>
                </c:pt>
                <c:pt idx="408">
                  <c:v>42048</c:v>
                </c:pt>
                <c:pt idx="409">
                  <c:v>42049</c:v>
                </c:pt>
                <c:pt idx="410">
                  <c:v>42050</c:v>
                </c:pt>
                <c:pt idx="411">
                  <c:v>42051</c:v>
                </c:pt>
                <c:pt idx="412">
                  <c:v>42052</c:v>
                </c:pt>
                <c:pt idx="413">
                  <c:v>42053</c:v>
                </c:pt>
                <c:pt idx="414">
                  <c:v>42054</c:v>
                </c:pt>
                <c:pt idx="415">
                  <c:v>42055</c:v>
                </c:pt>
                <c:pt idx="416">
                  <c:v>42056</c:v>
                </c:pt>
                <c:pt idx="417">
                  <c:v>42057</c:v>
                </c:pt>
                <c:pt idx="418">
                  <c:v>42058</c:v>
                </c:pt>
                <c:pt idx="419">
                  <c:v>42059</c:v>
                </c:pt>
                <c:pt idx="420">
                  <c:v>42060</c:v>
                </c:pt>
                <c:pt idx="421">
                  <c:v>42061</c:v>
                </c:pt>
                <c:pt idx="422">
                  <c:v>42062</c:v>
                </c:pt>
                <c:pt idx="423">
                  <c:v>42063</c:v>
                </c:pt>
                <c:pt idx="424">
                  <c:v>42064</c:v>
                </c:pt>
                <c:pt idx="425">
                  <c:v>42065</c:v>
                </c:pt>
                <c:pt idx="426">
                  <c:v>42066</c:v>
                </c:pt>
                <c:pt idx="427">
                  <c:v>42067</c:v>
                </c:pt>
                <c:pt idx="428">
                  <c:v>42068</c:v>
                </c:pt>
                <c:pt idx="429">
                  <c:v>42069</c:v>
                </c:pt>
                <c:pt idx="430">
                  <c:v>42070</c:v>
                </c:pt>
                <c:pt idx="431">
                  <c:v>42071</c:v>
                </c:pt>
                <c:pt idx="432">
                  <c:v>42072</c:v>
                </c:pt>
                <c:pt idx="433">
                  <c:v>42073</c:v>
                </c:pt>
                <c:pt idx="434">
                  <c:v>42074</c:v>
                </c:pt>
                <c:pt idx="435">
                  <c:v>42075</c:v>
                </c:pt>
                <c:pt idx="436">
                  <c:v>42076</c:v>
                </c:pt>
                <c:pt idx="437">
                  <c:v>42077</c:v>
                </c:pt>
                <c:pt idx="438">
                  <c:v>42078</c:v>
                </c:pt>
                <c:pt idx="439">
                  <c:v>42079</c:v>
                </c:pt>
                <c:pt idx="440">
                  <c:v>42080</c:v>
                </c:pt>
                <c:pt idx="441">
                  <c:v>42081</c:v>
                </c:pt>
                <c:pt idx="442">
                  <c:v>42082</c:v>
                </c:pt>
                <c:pt idx="443">
                  <c:v>42083</c:v>
                </c:pt>
                <c:pt idx="444">
                  <c:v>42084</c:v>
                </c:pt>
                <c:pt idx="445">
                  <c:v>42085</c:v>
                </c:pt>
                <c:pt idx="446">
                  <c:v>42086</c:v>
                </c:pt>
                <c:pt idx="447">
                  <c:v>42087</c:v>
                </c:pt>
                <c:pt idx="448">
                  <c:v>42088</c:v>
                </c:pt>
                <c:pt idx="449">
                  <c:v>42089</c:v>
                </c:pt>
                <c:pt idx="450">
                  <c:v>42090</c:v>
                </c:pt>
                <c:pt idx="451">
                  <c:v>42091</c:v>
                </c:pt>
                <c:pt idx="452">
                  <c:v>42092</c:v>
                </c:pt>
                <c:pt idx="453">
                  <c:v>42093</c:v>
                </c:pt>
                <c:pt idx="454">
                  <c:v>42094</c:v>
                </c:pt>
                <c:pt idx="455">
                  <c:v>42095</c:v>
                </c:pt>
                <c:pt idx="456">
                  <c:v>42096</c:v>
                </c:pt>
                <c:pt idx="457">
                  <c:v>42097</c:v>
                </c:pt>
                <c:pt idx="458">
                  <c:v>42098</c:v>
                </c:pt>
                <c:pt idx="459">
                  <c:v>42099</c:v>
                </c:pt>
                <c:pt idx="460">
                  <c:v>42100</c:v>
                </c:pt>
                <c:pt idx="461">
                  <c:v>42101</c:v>
                </c:pt>
                <c:pt idx="462">
                  <c:v>42102</c:v>
                </c:pt>
                <c:pt idx="463">
                  <c:v>42103</c:v>
                </c:pt>
                <c:pt idx="464">
                  <c:v>42104</c:v>
                </c:pt>
                <c:pt idx="465">
                  <c:v>42105</c:v>
                </c:pt>
                <c:pt idx="466">
                  <c:v>42106</c:v>
                </c:pt>
                <c:pt idx="467">
                  <c:v>42107</c:v>
                </c:pt>
                <c:pt idx="468">
                  <c:v>42108</c:v>
                </c:pt>
                <c:pt idx="469">
                  <c:v>42109</c:v>
                </c:pt>
                <c:pt idx="470">
                  <c:v>42110</c:v>
                </c:pt>
                <c:pt idx="471">
                  <c:v>42111</c:v>
                </c:pt>
                <c:pt idx="472">
                  <c:v>42112</c:v>
                </c:pt>
                <c:pt idx="473">
                  <c:v>42113</c:v>
                </c:pt>
                <c:pt idx="474">
                  <c:v>42114</c:v>
                </c:pt>
                <c:pt idx="475">
                  <c:v>42115</c:v>
                </c:pt>
                <c:pt idx="476">
                  <c:v>42116</c:v>
                </c:pt>
                <c:pt idx="477">
                  <c:v>42117</c:v>
                </c:pt>
                <c:pt idx="478">
                  <c:v>42118</c:v>
                </c:pt>
                <c:pt idx="479">
                  <c:v>42119</c:v>
                </c:pt>
                <c:pt idx="480">
                  <c:v>42120</c:v>
                </c:pt>
                <c:pt idx="481">
                  <c:v>42121</c:v>
                </c:pt>
                <c:pt idx="482">
                  <c:v>42122</c:v>
                </c:pt>
                <c:pt idx="483">
                  <c:v>42123</c:v>
                </c:pt>
                <c:pt idx="484">
                  <c:v>42124</c:v>
                </c:pt>
                <c:pt idx="485">
                  <c:v>42125</c:v>
                </c:pt>
                <c:pt idx="486">
                  <c:v>42126</c:v>
                </c:pt>
                <c:pt idx="487">
                  <c:v>42127</c:v>
                </c:pt>
                <c:pt idx="488">
                  <c:v>42128</c:v>
                </c:pt>
                <c:pt idx="489">
                  <c:v>42129</c:v>
                </c:pt>
                <c:pt idx="490">
                  <c:v>42130</c:v>
                </c:pt>
                <c:pt idx="491">
                  <c:v>42131</c:v>
                </c:pt>
                <c:pt idx="492">
                  <c:v>42132</c:v>
                </c:pt>
                <c:pt idx="493">
                  <c:v>42133</c:v>
                </c:pt>
                <c:pt idx="494">
                  <c:v>42134</c:v>
                </c:pt>
                <c:pt idx="495">
                  <c:v>42135</c:v>
                </c:pt>
                <c:pt idx="496">
                  <c:v>42136</c:v>
                </c:pt>
                <c:pt idx="497">
                  <c:v>42137</c:v>
                </c:pt>
                <c:pt idx="498">
                  <c:v>42138</c:v>
                </c:pt>
                <c:pt idx="499">
                  <c:v>42139</c:v>
                </c:pt>
                <c:pt idx="500">
                  <c:v>42140</c:v>
                </c:pt>
                <c:pt idx="501">
                  <c:v>42141</c:v>
                </c:pt>
                <c:pt idx="502">
                  <c:v>42142</c:v>
                </c:pt>
                <c:pt idx="503">
                  <c:v>42143</c:v>
                </c:pt>
                <c:pt idx="504">
                  <c:v>42144</c:v>
                </c:pt>
                <c:pt idx="505">
                  <c:v>42145</c:v>
                </c:pt>
                <c:pt idx="506">
                  <c:v>42146</c:v>
                </c:pt>
                <c:pt idx="507">
                  <c:v>42147</c:v>
                </c:pt>
                <c:pt idx="508">
                  <c:v>42148</c:v>
                </c:pt>
                <c:pt idx="509">
                  <c:v>42149</c:v>
                </c:pt>
                <c:pt idx="510">
                  <c:v>42150</c:v>
                </c:pt>
                <c:pt idx="511">
                  <c:v>42151</c:v>
                </c:pt>
                <c:pt idx="512">
                  <c:v>42152</c:v>
                </c:pt>
                <c:pt idx="513">
                  <c:v>42153</c:v>
                </c:pt>
                <c:pt idx="514">
                  <c:v>42154</c:v>
                </c:pt>
                <c:pt idx="515">
                  <c:v>42155</c:v>
                </c:pt>
                <c:pt idx="516">
                  <c:v>42156</c:v>
                </c:pt>
                <c:pt idx="517">
                  <c:v>42157</c:v>
                </c:pt>
                <c:pt idx="518">
                  <c:v>42158</c:v>
                </c:pt>
                <c:pt idx="519">
                  <c:v>42159</c:v>
                </c:pt>
                <c:pt idx="520">
                  <c:v>42160</c:v>
                </c:pt>
                <c:pt idx="521">
                  <c:v>42161</c:v>
                </c:pt>
                <c:pt idx="522">
                  <c:v>42162</c:v>
                </c:pt>
                <c:pt idx="523">
                  <c:v>42163</c:v>
                </c:pt>
                <c:pt idx="524">
                  <c:v>42164</c:v>
                </c:pt>
                <c:pt idx="525">
                  <c:v>42165</c:v>
                </c:pt>
                <c:pt idx="526">
                  <c:v>42166</c:v>
                </c:pt>
                <c:pt idx="527">
                  <c:v>42167</c:v>
                </c:pt>
                <c:pt idx="528">
                  <c:v>42168</c:v>
                </c:pt>
                <c:pt idx="529">
                  <c:v>42169</c:v>
                </c:pt>
                <c:pt idx="530">
                  <c:v>42170</c:v>
                </c:pt>
                <c:pt idx="531">
                  <c:v>42171</c:v>
                </c:pt>
                <c:pt idx="532">
                  <c:v>42172</c:v>
                </c:pt>
                <c:pt idx="533">
                  <c:v>42173</c:v>
                </c:pt>
                <c:pt idx="534">
                  <c:v>42174</c:v>
                </c:pt>
                <c:pt idx="535">
                  <c:v>42175</c:v>
                </c:pt>
                <c:pt idx="536">
                  <c:v>42176</c:v>
                </c:pt>
                <c:pt idx="537">
                  <c:v>42177</c:v>
                </c:pt>
                <c:pt idx="538">
                  <c:v>42178</c:v>
                </c:pt>
                <c:pt idx="539">
                  <c:v>42179</c:v>
                </c:pt>
                <c:pt idx="540">
                  <c:v>42180</c:v>
                </c:pt>
                <c:pt idx="541">
                  <c:v>42181</c:v>
                </c:pt>
                <c:pt idx="542">
                  <c:v>42182</c:v>
                </c:pt>
                <c:pt idx="543">
                  <c:v>42183</c:v>
                </c:pt>
                <c:pt idx="544">
                  <c:v>42184</c:v>
                </c:pt>
                <c:pt idx="545">
                  <c:v>42185</c:v>
                </c:pt>
                <c:pt idx="546">
                  <c:v>42186</c:v>
                </c:pt>
                <c:pt idx="547">
                  <c:v>42187</c:v>
                </c:pt>
                <c:pt idx="548">
                  <c:v>42188</c:v>
                </c:pt>
                <c:pt idx="549">
                  <c:v>42189</c:v>
                </c:pt>
                <c:pt idx="550">
                  <c:v>42190</c:v>
                </c:pt>
                <c:pt idx="551">
                  <c:v>42191</c:v>
                </c:pt>
                <c:pt idx="552">
                  <c:v>42192</c:v>
                </c:pt>
                <c:pt idx="553">
                  <c:v>42193</c:v>
                </c:pt>
                <c:pt idx="554">
                  <c:v>42194</c:v>
                </c:pt>
                <c:pt idx="555">
                  <c:v>42195</c:v>
                </c:pt>
                <c:pt idx="556">
                  <c:v>42196</c:v>
                </c:pt>
                <c:pt idx="557">
                  <c:v>42197</c:v>
                </c:pt>
                <c:pt idx="558">
                  <c:v>42198</c:v>
                </c:pt>
                <c:pt idx="559">
                  <c:v>42199</c:v>
                </c:pt>
                <c:pt idx="560">
                  <c:v>42200</c:v>
                </c:pt>
                <c:pt idx="561">
                  <c:v>42201</c:v>
                </c:pt>
                <c:pt idx="562">
                  <c:v>42202</c:v>
                </c:pt>
                <c:pt idx="563">
                  <c:v>42203</c:v>
                </c:pt>
                <c:pt idx="564">
                  <c:v>42204</c:v>
                </c:pt>
                <c:pt idx="565">
                  <c:v>42205</c:v>
                </c:pt>
                <c:pt idx="566">
                  <c:v>42206</c:v>
                </c:pt>
                <c:pt idx="567">
                  <c:v>42207</c:v>
                </c:pt>
                <c:pt idx="568">
                  <c:v>42208</c:v>
                </c:pt>
                <c:pt idx="569">
                  <c:v>42209</c:v>
                </c:pt>
                <c:pt idx="570">
                  <c:v>42210</c:v>
                </c:pt>
                <c:pt idx="571">
                  <c:v>42211</c:v>
                </c:pt>
                <c:pt idx="572">
                  <c:v>42212</c:v>
                </c:pt>
                <c:pt idx="573">
                  <c:v>42213</c:v>
                </c:pt>
                <c:pt idx="574">
                  <c:v>42214</c:v>
                </c:pt>
                <c:pt idx="575">
                  <c:v>42215</c:v>
                </c:pt>
                <c:pt idx="576">
                  <c:v>42216</c:v>
                </c:pt>
                <c:pt idx="577">
                  <c:v>42217</c:v>
                </c:pt>
                <c:pt idx="578">
                  <c:v>42218</c:v>
                </c:pt>
                <c:pt idx="579">
                  <c:v>42219</c:v>
                </c:pt>
                <c:pt idx="580">
                  <c:v>42220</c:v>
                </c:pt>
                <c:pt idx="581">
                  <c:v>42221</c:v>
                </c:pt>
                <c:pt idx="582">
                  <c:v>42222</c:v>
                </c:pt>
                <c:pt idx="583">
                  <c:v>42223</c:v>
                </c:pt>
                <c:pt idx="584">
                  <c:v>42224</c:v>
                </c:pt>
                <c:pt idx="585">
                  <c:v>42225</c:v>
                </c:pt>
                <c:pt idx="586">
                  <c:v>42226</c:v>
                </c:pt>
                <c:pt idx="587">
                  <c:v>42227</c:v>
                </c:pt>
                <c:pt idx="588">
                  <c:v>42228</c:v>
                </c:pt>
                <c:pt idx="589">
                  <c:v>42229</c:v>
                </c:pt>
                <c:pt idx="590">
                  <c:v>42230</c:v>
                </c:pt>
                <c:pt idx="591">
                  <c:v>42231</c:v>
                </c:pt>
                <c:pt idx="592">
                  <c:v>42232</c:v>
                </c:pt>
                <c:pt idx="593">
                  <c:v>42233</c:v>
                </c:pt>
                <c:pt idx="594">
                  <c:v>42234</c:v>
                </c:pt>
                <c:pt idx="595">
                  <c:v>42235</c:v>
                </c:pt>
                <c:pt idx="596">
                  <c:v>42236</c:v>
                </c:pt>
                <c:pt idx="597">
                  <c:v>42237</c:v>
                </c:pt>
                <c:pt idx="598">
                  <c:v>42238</c:v>
                </c:pt>
                <c:pt idx="599">
                  <c:v>42239</c:v>
                </c:pt>
                <c:pt idx="600">
                  <c:v>42240</c:v>
                </c:pt>
                <c:pt idx="601">
                  <c:v>42241</c:v>
                </c:pt>
                <c:pt idx="602">
                  <c:v>42242</c:v>
                </c:pt>
                <c:pt idx="603">
                  <c:v>42243</c:v>
                </c:pt>
                <c:pt idx="604">
                  <c:v>42244</c:v>
                </c:pt>
                <c:pt idx="605">
                  <c:v>42245</c:v>
                </c:pt>
                <c:pt idx="606">
                  <c:v>42246</c:v>
                </c:pt>
                <c:pt idx="607">
                  <c:v>42247</c:v>
                </c:pt>
                <c:pt idx="608">
                  <c:v>42248</c:v>
                </c:pt>
                <c:pt idx="609">
                  <c:v>42249</c:v>
                </c:pt>
                <c:pt idx="610">
                  <c:v>42250</c:v>
                </c:pt>
                <c:pt idx="611">
                  <c:v>42251</c:v>
                </c:pt>
                <c:pt idx="612">
                  <c:v>42252</c:v>
                </c:pt>
                <c:pt idx="613">
                  <c:v>42253</c:v>
                </c:pt>
                <c:pt idx="614">
                  <c:v>42254</c:v>
                </c:pt>
                <c:pt idx="615">
                  <c:v>42255</c:v>
                </c:pt>
                <c:pt idx="616">
                  <c:v>42256</c:v>
                </c:pt>
                <c:pt idx="617">
                  <c:v>42257</c:v>
                </c:pt>
                <c:pt idx="618">
                  <c:v>42258</c:v>
                </c:pt>
                <c:pt idx="619">
                  <c:v>42259</c:v>
                </c:pt>
                <c:pt idx="620">
                  <c:v>42260</c:v>
                </c:pt>
                <c:pt idx="621">
                  <c:v>42261</c:v>
                </c:pt>
                <c:pt idx="622">
                  <c:v>42262</c:v>
                </c:pt>
                <c:pt idx="623">
                  <c:v>42263</c:v>
                </c:pt>
                <c:pt idx="624">
                  <c:v>42264</c:v>
                </c:pt>
                <c:pt idx="625">
                  <c:v>42265</c:v>
                </c:pt>
                <c:pt idx="626">
                  <c:v>42266</c:v>
                </c:pt>
                <c:pt idx="627">
                  <c:v>42267</c:v>
                </c:pt>
                <c:pt idx="628">
                  <c:v>42268</c:v>
                </c:pt>
                <c:pt idx="629">
                  <c:v>42269</c:v>
                </c:pt>
                <c:pt idx="630">
                  <c:v>42270</c:v>
                </c:pt>
                <c:pt idx="631">
                  <c:v>42271</c:v>
                </c:pt>
                <c:pt idx="632">
                  <c:v>42272</c:v>
                </c:pt>
              </c:numCache>
            </c:numRef>
          </c:cat>
          <c:val>
            <c:numRef>
              <c:f>Sheet1!$H$2:$H$634</c:f>
              <c:numCache>
                <c:formatCode>General</c:formatCode>
                <c:ptCount val="633"/>
                <c:pt idx="0">
                  <c:v>100</c:v>
                </c:pt>
                <c:pt idx="1">
                  <c:v>100.3404592240697</c:v>
                </c:pt>
                <c:pt idx="2">
                  <c:v>100.3167062549485</c:v>
                </c:pt>
                <c:pt idx="3">
                  <c:v>100.3167062549485</c:v>
                </c:pt>
                <c:pt idx="4">
                  <c:v>100.3167062549485</c:v>
                </c:pt>
                <c:pt idx="5">
                  <c:v>100.3879651623121</c:v>
                </c:pt>
                <c:pt idx="6">
                  <c:v>100.6492478226444</c:v>
                </c:pt>
                <c:pt idx="7">
                  <c:v>100.85510688836111</c:v>
                </c:pt>
                <c:pt idx="8">
                  <c:v>100.6017418844021</c:v>
                </c:pt>
                <c:pt idx="9">
                  <c:v>100.087094220111</c:v>
                </c:pt>
                <c:pt idx="10">
                  <c:v>100.087094220111</c:v>
                </c:pt>
                <c:pt idx="11">
                  <c:v>100.087094220111</c:v>
                </c:pt>
                <c:pt idx="12">
                  <c:v>100.1425178147265</c:v>
                </c:pt>
                <c:pt idx="13">
                  <c:v>100.4908946951705</c:v>
                </c:pt>
                <c:pt idx="14">
                  <c:v>100.7996832937451</c:v>
                </c:pt>
                <c:pt idx="15">
                  <c:v>100.6730007917655</c:v>
                </c:pt>
                <c:pt idx="16">
                  <c:v>101.0372129849566</c:v>
                </c:pt>
                <c:pt idx="17">
                  <c:v>101.0372129849566</c:v>
                </c:pt>
                <c:pt idx="18">
                  <c:v>101.0372129849566</c:v>
                </c:pt>
                <c:pt idx="19">
                  <c:v>101.0609659540777</c:v>
                </c:pt>
                <c:pt idx="20">
                  <c:v>101.2351543942993</c:v>
                </c:pt>
                <c:pt idx="21">
                  <c:v>101.25890736342021</c:v>
                </c:pt>
                <c:pt idx="22">
                  <c:v>101.219319081552</c:v>
                </c:pt>
                <c:pt idx="23">
                  <c:v>101.22723673792559</c:v>
                </c:pt>
                <c:pt idx="24">
                  <c:v>101.22723673792559</c:v>
                </c:pt>
                <c:pt idx="25">
                  <c:v>101.22723673792559</c:v>
                </c:pt>
                <c:pt idx="26">
                  <c:v>101.08471892319869</c:v>
                </c:pt>
                <c:pt idx="27">
                  <c:v>100.965954077593</c:v>
                </c:pt>
                <c:pt idx="28">
                  <c:v>101.1480601741883</c:v>
                </c:pt>
                <c:pt idx="29">
                  <c:v>100.965954077593</c:v>
                </c:pt>
                <c:pt idx="30">
                  <c:v>101.08471892319869</c:v>
                </c:pt>
                <c:pt idx="31">
                  <c:v>101.08471892319869</c:v>
                </c:pt>
                <c:pt idx="32">
                  <c:v>101.08471892319869</c:v>
                </c:pt>
                <c:pt idx="33">
                  <c:v>101.01346001583531</c:v>
                </c:pt>
                <c:pt idx="34">
                  <c:v>100.4592240696757</c:v>
                </c:pt>
                <c:pt idx="35">
                  <c:v>100.39588281868539</c:v>
                </c:pt>
                <c:pt idx="36">
                  <c:v>100.4275534441806</c:v>
                </c:pt>
                <c:pt idx="37">
                  <c:v>100.4117181314331</c:v>
                </c:pt>
                <c:pt idx="38">
                  <c:v>100.4117181314331</c:v>
                </c:pt>
                <c:pt idx="39">
                  <c:v>100.4117181314331</c:v>
                </c:pt>
                <c:pt idx="40">
                  <c:v>100.6175771971496</c:v>
                </c:pt>
                <c:pt idx="41">
                  <c:v>100.3483768804433</c:v>
                </c:pt>
                <c:pt idx="42">
                  <c:v>100.23752969121171</c:v>
                </c:pt>
                <c:pt idx="43">
                  <c:v>100.15043547110059</c:v>
                </c:pt>
                <c:pt idx="44">
                  <c:v>99.699129057798885</c:v>
                </c:pt>
                <c:pt idx="45">
                  <c:v>99.699129057798885</c:v>
                </c:pt>
                <c:pt idx="46">
                  <c:v>99.699129057798885</c:v>
                </c:pt>
                <c:pt idx="47">
                  <c:v>99.691211401425207</c:v>
                </c:pt>
                <c:pt idx="48">
                  <c:v>99.85748218527317</c:v>
                </c:pt>
                <c:pt idx="49">
                  <c:v>100.0316706254949</c:v>
                </c:pt>
                <c:pt idx="50">
                  <c:v>100.07917656373709</c:v>
                </c:pt>
                <c:pt idx="51">
                  <c:v>100.38004750593829</c:v>
                </c:pt>
                <c:pt idx="52">
                  <c:v>100.38004750593829</c:v>
                </c:pt>
                <c:pt idx="53">
                  <c:v>100.38004750593829</c:v>
                </c:pt>
                <c:pt idx="54">
                  <c:v>99.984164687252843</c:v>
                </c:pt>
                <c:pt idx="55">
                  <c:v>100.0712589073634</c:v>
                </c:pt>
                <c:pt idx="56">
                  <c:v>100.300870942201</c:v>
                </c:pt>
                <c:pt idx="57">
                  <c:v>100.087094220111</c:v>
                </c:pt>
                <c:pt idx="58">
                  <c:v>100.38004750593829</c:v>
                </c:pt>
                <c:pt idx="59">
                  <c:v>100.38004750593829</c:v>
                </c:pt>
                <c:pt idx="60">
                  <c:v>100.38004750593829</c:v>
                </c:pt>
                <c:pt idx="61">
                  <c:v>100.62549485352309</c:v>
                </c:pt>
                <c:pt idx="62">
                  <c:v>100.5067300079177</c:v>
                </c:pt>
                <c:pt idx="63">
                  <c:v>100.5700712589074</c:v>
                </c:pt>
                <c:pt idx="64">
                  <c:v>100.0158353127473</c:v>
                </c:pt>
                <c:pt idx="65">
                  <c:v>100.4433887569279</c:v>
                </c:pt>
                <c:pt idx="66">
                  <c:v>100.4433887569279</c:v>
                </c:pt>
                <c:pt idx="67">
                  <c:v>100.4433887569279</c:v>
                </c:pt>
                <c:pt idx="68">
                  <c:v>100.45130641330169</c:v>
                </c:pt>
                <c:pt idx="69">
                  <c:v>100.3642121931908</c:v>
                </c:pt>
                <c:pt idx="70">
                  <c:v>100.2850356294536</c:v>
                </c:pt>
                <c:pt idx="71">
                  <c:v>100.300870942201</c:v>
                </c:pt>
                <c:pt idx="72">
                  <c:v>100.1900237529691</c:v>
                </c:pt>
                <c:pt idx="73">
                  <c:v>100.1900237529691</c:v>
                </c:pt>
                <c:pt idx="74">
                  <c:v>100.1900237529691</c:v>
                </c:pt>
                <c:pt idx="75">
                  <c:v>100.1187648456057</c:v>
                </c:pt>
                <c:pt idx="76">
                  <c:v>100.055423594616</c:v>
                </c:pt>
                <c:pt idx="77">
                  <c:v>100.8471892319874</c:v>
                </c:pt>
                <c:pt idx="78">
                  <c:v>101.17181314330961</c:v>
                </c:pt>
                <c:pt idx="79">
                  <c:v>100.88677751385551</c:v>
                </c:pt>
                <c:pt idx="80">
                  <c:v>100.88677751385551</c:v>
                </c:pt>
                <c:pt idx="81">
                  <c:v>100.88677751385551</c:v>
                </c:pt>
                <c:pt idx="82">
                  <c:v>100.64133016627081</c:v>
                </c:pt>
                <c:pt idx="83">
                  <c:v>100.4038004750594</c:v>
                </c:pt>
                <c:pt idx="84">
                  <c:v>100.3642121931908</c:v>
                </c:pt>
                <c:pt idx="85">
                  <c:v>100.1029295328582</c:v>
                </c:pt>
                <c:pt idx="86">
                  <c:v>99.643705463182883</c:v>
                </c:pt>
                <c:pt idx="87">
                  <c:v>99.643705463182883</c:v>
                </c:pt>
                <c:pt idx="88">
                  <c:v>99.643705463182883</c:v>
                </c:pt>
                <c:pt idx="89">
                  <c:v>99.564528899445776</c:v>
                </c:pt>
                <c:pt idx="90">
                  <c:v>99.714964370546326</c:v>
                </c:pt>
                <c:pt idx="91">
                  <c:v>99.952494061757704</c:v>
                </c:pt>
                <c:pt idx="92">
                  <c:v>100.0158353127473</c:v>
                </c:pt>
                <c:pt idx="93">
                  <c:v>99.667458432303931</c:v>
                </c:pt>
                <c:pt idx="94">
                  <c:v>99.667458432303931</c:v>
                </c:pt>
                <c:pt idx="95">
                  <c:v>99.667458432303931</c:v>
                </c:pt>
                <c:pt idx="96">
                  <c:v>99.699129057798885</c:v>
                </c:pt>
                <c:pt idx="97">
                  <c:v>99.065716547901701</c:v>
                </c:pt>
                <c:pt idx="98">
                  <c:v>98.709422011084541</c:v>
                </c:pt>
                <c:pt idx="99">
                  <c:v>98.978622327790902</c:v>
                </c:pt>
                <c:pt idx="100">
                  <c:v>98.859857482185248</c:v>
                </c:pt>
                <c:pt idx="101">
                  <c:v>98.859857482185248</c:v>
                </c:pt>
                <c:pt idx="102">
                  <c:v>98.859857482185248</c:v>
                </c:pt>
                <c:pt idx="103">
                  <c:v>99.247822644497404</c:v>
                </c:pt>
                <c:pt idx="104">
                  <c:v>99.160728424386349</c:v>
                </c:pt>
                <c:pt idx="105">
                  <c:v>99.026128266033254</c:v>
                </c:pt>
                <c:pt idx="106">
                  <c:v>99.192399049881132</c:v>
                </c:pt>
                <c:pt idx="107">
                  <c:v>99.184481393507298</c:v>
                </c:pt>
                <c:pt idx="108">
                  <c:v>99.184481393507298</c:v>
                </c:pt>
                <c:pt idx="109">
                  <c:v>99.184481393507298</c:v>
                </c:pt>
                <c:pt idx="110">
                  <c:v>99.200316706254739</c:v>
                </c:pt>
                <c:pt idx="111">
                  <c:v>99.429928741092624</c:v>
                </c:pt>
                <c:pt idx="112">
                  <c:v>99.461599366587507</c:v>
                </c:pt>
                <c:pt idx="113">
                  <c:v>99.612034837687744</c:v>
                </c:pt>
                <c:pt idx="114">
                  <c:v>99.501187648456053</c:v>
                </c:pt>
                <c:pt idx="115">
                  <c:v>99.501187648456053</c:v>
                </c:pt>
                <c:pt idx="116">
                  <c:v>99.501187648456053</c:v>
                </c:pt>
                <c:pt idx="117">
                  <c:v>99.517022961203736</c:v>
                </c:pt>
                <c:pt idx="118">
                  <c:v>99.445764053840065</c:v>
                </c:pt>
                <c:pt idx="119">
                  <c:v>99.263657957244661</c:v>
                </c:pt>
                <c:pt idx="120">
                  <c:v>99.192399049881132</c:v>
                </c:pt>
                <c:pt idx="121">
                  <c:v>99.216152019002365</c:v>
                </c:pt>
                <c:pt idx="122">
                  <c:v>99.216152019002365</c:v>
                </c:pt>
                <c:pt idx="123">
                  <c:v>99.216152019002365</c:v>
                </c:pt>
                <c:pt idx="124">
                  <c:v>99.002375296912078</c:v>
                </c:pt>
                <c:pt idx="125">
                  <c:v>98.749010292953301</c:v>
                </c:pt>
                <c:pt idx="126">
                  <c:v>98.899445764053809</c:v>
                </c:pt>
                <c:pt idx="127">
                  <c:v>98.772763262074378</c:v>
                </c:pt>
                <c:pt idx="128">
                  <c:v>98.875692794932661</c:v>
                </c:pt>
                <c:pt idx="129">
                  <c:v>98.875692794932661</c:v>
                </c:pt>
                <c:pt idx="130">
                  <c:v>98.875692794932661</c:v>
                </c:pt>
                <c:pt idx="131">
                  <c:v>99.041963578780724</c:v>
                </c:pt>
                <c:pt idx="132">
                  <c:v>99.176563737133762</c:v>
                </c:pt>
                <c:pt idx="133">
                  <c:v>99.002375296912078</c:v>
                </c:pt>
                <c:pt idx="134">
                  <c:v>99.160728424386349</c:v>
                </c:pt>
                <c:pt idx="135">
                  <c:v>99.08155186064927</c:v>
                </c:pt>
                <c:pt idx="136">
                  <c:v>99.08155186064927</c:v>
                </c:pt>
                <c:pt idx="137">
                  <c:v>99.08155186064927</c:v>
                </c:pt>
                <c:pt idx="138">
                  <c:v>98.994457640538513</c:v>
                </c:pt>
                <c:pt idx="139">
                  <c:v>99.184481393507298</c:v>
                </c:pt>
                <c:pt idx="140">
                  <c:v>99.065716547901701</c:v>
                </c:pt>
                <c:pt idx="141">
                  <c:v>99.089469517022948</c:v>
                </c:pt>
                <c:pt idx="142">
                  <c:v>99.239904988123513</c:v>
                </c:pt>
                <c:pt idx="143">
                  <c:v>99.239904988123513</c:v>
                </c:pt>
                <c:pt idx="144">
                  <c:v>99.239904988123513</c:v>
                </c:pt>
                <c:pt idx="145">
                  <c:v>99.247822644497404</c:v>
                </c:pt>
                <c:pt idx="146">
                  <c:v>99.493269992082531</c:v>
                </c:pt>
                <c:pt idx="147">
                  <c:v>99.453681710213786</c:v>
                </c:pt>
                <c:pt idx="148">
                  <c:v>99.350752177355204</c:v>
                </c:pt>
                <c:pt idx="149">
                  <c:v>99.303246239113236</c:v>
                </c:pt>
                <c:pt idx="150">
                  <c:v>99.303246239113236</c:v>
                </c:pt>
                <c:pt idx="151">
                  <c:v>99.303246239113236</c:v>
                </c:pt>
                <c:pt idx="152">
                  <c:v>99.517022961203736</c:v>
                </c:pt>
                <c:pt idx="153">
                  <c:v>99.493269992082531</c:v>
                </c:pt>
                <c:pt idx="154">
                  <c:v>99.604117181314365</c:v>
                </c:pt>
                <c:pt idx="155">
                  <c:v>99.160728424386349</c:v>
                </c:pt>
                <c:pt idx="156">
                  <c:v>99.121140142517731</c:v>
                </c:pt>
                <c:pt idx="157">
                  <c:v>99.121140142517731</c:v>
                </c:pt>
                <c:pt idx="158">
                  <c:v>99.121140142517731</c:v>
                </c:pt>
                <c:pt idx="159">
                  <c:v>98.954869358669839</c:v>
                </c:pt>
                <c:pt idx="160">
                  <c:v>98.946951702296133</c:v>
                </c:pt>
                <c:pt idx="161">
                  <c:v>99.010292953285813</c:v>
                </c:pt>
                <c:pt idx="162">
                  <c:v>98.836104513064001</c:v>
                </c:pt>
                <c:pt idx="163">
                  <c:v>99.057798891527867</c:v>
                </c:pt>
                <c:pt idx="164">
                  <c:v>99.057798891527867</c:v>
                </c:pt>
                <c:pt idx="165">
                  <c:v>99.057798891527867</c:v>
                </c:pt>
                <c:pt idx="166">
                  <c:v>99.026128266033254</c:v>
                </c:pt>
                <c:pt idx="167">
                  <c:v>99.255740300870769</c:v>
                </c:pt>
                <c:pt idx="168">
                  <c:v>98.867775138558642</c:v>
                </c:pt>
                <c:pt idx="169">
                  <c:v>98.954869358669839</c:v>
                </c:pt>
                <c:pt idx="170">
                  <c:v>98.891528107680031</c:v>
                </c:pt>
                <c:pt idx="171">
                  <c:v>98.891528107680031</c:v>
                </c:pt>
                <c:pt idx="172">
                  <c:v>98.891528107680031</c:v>
                </c:pt>
                <c:pt idx="173">
                  <c:v>98.859857482185248</c:v>
                </c:pt>
                <c:pt idx="174">
                  <c:v>98.915281076801278</c:v>
                </c:pt>
                <c:pt idx="175">
                  <c:v>98.954869358669839</c:v>
                </c:pt>
                <c:pt idx="176">
                  <c:v>98.9073634204277</c:v>
                </c:pt>
                <c:pt idx="177">
                  <c:v>98.939034045922426</c:v>
                </c:pt>
                <c:pt idx="178">
                  <c:v>98.939034045922426</c:v>
                </c:pt>
                <c:pt idx="179">
                  <c:v>98.939034045922426</c:v>
                </c:pt>
                <c:pt idx="180">
                  <c:v>98.701504354711005</c:v>
                </c:pt>
                <c:pt idx="181">
                  <c:v>98.638163103721098</c:v>
                </c:pt>
                <c:pt idx="182">
                  <c:v>98.780680918448155</c:v>
                </c:pt>
                <c:pt idx="183">
                  <c:v>98.717339667458432</c:v>
                </c:pt>
                <c:pt idx="184">
                  <c:v>98.661916072842445</c:v>
                </c:pt>
                <c:pt idx="185">
                  <c:v>98.661916072842445</c:v>
                </c:pt>
                <c:pt idx="186">
                  <c:v>98.661916072842445</c:v>
                </c:pt>
                <c:pt idx="187">
                  <c:v>98.725257323832153</c:v>
                </c:pt>
                <c:pt idx="188">
                  <c:v>98.440221694378764</c:v>
                </c:pt>
                <c:pt idx="189">
                  <c:v>98.305621536025185</c:v>
                </c:pt>
                <c:pt idx="190">
                  <c:v>98.305621536025185</c:v>
                </c:pt>
                <c:pt idx="191">
                  <c:v>98.258115597782961</c:v>
                </c:pt>
                <c:pt idx="192">
                  <c:v>98.258115597782961</c:v>
                </c:pt>
                <c:pt idx="193">
                  <c:v>98.258115597782961</c:v>
                </c:pt>
                <c:pt idx="194">
                  <c:v>98.305621536025185</c:v>
                </c:pt>
                <c:pt idx="195">
                  <c:v>98.471892319873291</c:v>
                </c:pt>
                <c:pt idx="196">
                  <c:v>98.3768804433886</c:v>
                </c:pt>
                <c:pt idx="197">
                  <c:v>98.479809976247026</c:v>
                </c:pt>
                <c:pt idx="198">
                  <c:v>98.289786223277915</c:v>
                </c:pt>
                <c:pt idx="199">
                  <c:v>98.289786223277915</c:v>
                </c:pt>
                <c:pt idx="200">
                  <c:v>98.289786223277915</c:v>
                </c:pt>
                <c:pt idx="201">
                  <c:v>98.155186064924507</c:v>
                </c:pt>
                <c:pt idx="202">
                  <c:v>98.186856690419532</c:v>
                </c:pt>
                <c:pt idx="203">
                  <c:v>97.925574030087049</c:v>
                </c:pt>
                <c:pt idx="204">
                  <c:v>98.273950910530431</c:v>
                </c:pt>
                <c:pt idx="205">
                  <c:v>98.345209817893831</c:v>
                </c:pt>
                <c:pt idx="206">
                  <c:v>98.345209817893831</c:v>
                </c:pt>
                <c:pt idx="207">
                  <c:v>98.345209817893831</c:v>
                </c:pt>
                <c:pt idx="208">
                  <c:v>98.313539192399048</c:v>
                </c:pt>
                <c:pt idx="209">
                  <c:v>98.408551068883611</c:v>
                </c:pt>
                <c:pt idx="210">
                  <c:v>98.511480601741923</c:v>
                </c:pt>
                <c:pt idx="211">
                  <c:v>98.788598574821577</c:v>
                </c:pt>
                <c:pt idx="212">
                  <c:v>98.717339667458432</c:v>
                </c:pt>
                <c:pt idx="213">
                  <c:v>98.717339667458432</c:v>
                </c:pt>
                <c:pt idx="214">
                  <c:v>98.717339667458432</c:v>
                </c:pt>
                <c:pt idx="215">
                  <c:v>98.661916072842445</c:v>
                </c:pt>
                <c:pt idx="216">
                  <c:v>98.796516231195625</c:v>
                </c:pt>
                <c:pt idx="217">
                  <c:v>98.85193982581157</c:v>
                </c:pt>
                <c:pt idx="218">
                  <c:v>99.14489311163895</c:v>
                </c:pt>
                <c:pt idx="219">
                  <c:v>99.14489311163895</c:v>
                </c:pt>
                <c:pt idx="220">
                  <c:v>99.14489311163895</c:v>
                </c:pt>
                <c:pt idx="221">
                  <c:v>99.14489311163895</c:v>
                </c:pt>
                <c:pt idx="222">
                  <c:v>98.986539984164722</c:v>
                </c:pt>
                <c:pt idx="223">
                  <c:v>99.018210609659533</c:v>
                </c:pt>
                <c:pt idx="224">
                  <c:v>98.931116389548833</c:v>
                </c:pt>
                <c:pt idx="225">
                  <c:v>98.685669041963607</c:v>
                </c:pt>
                <c:pt idx="226">
                  <c:v>98.614410134600178</c:v>
                </c:pt>
                <c:pt idx="227">
                  <c:v>98.614410134600178</c:v>
                </c:pt>
                <c:pt idx="228">
                  <c:v>98.614410134600178</c:v>
                </c:pt>
                <c:pt idx="229">
                  <c:v>98.566904196357868</c:v>
                </c:pt>
                <c:pt idx="230">
                  <c:v>98.764845605700813</c:v>
                </c:pt>
                <c:pt idx="231">
                  <c:v>99.08155186064927</c:v>
                </c:pt>
                <c:pt idx="232">
                  <c:v>98.939034045922426</c:v>
                </c:pt>
                <c:pt idx="233">
                  <c:v>98.899445764053809</c:v>
                </c:pt>
                <c:pt idx="234">
                  <c:v>98.899445764053809</c:v>
                </c:pt>
                <c:pt idx="235">
                  <c:v>98.899445764053809</c:v>
                </c:pt>
                <c:pt idx="236">
                  <c:v>98.970704671417266</c:v>
                </c:pt>
                <c:pt idx="237">
                  <c:v>98.954869358669839</c:v>
                </c:pt>
                <c:pt idx="238">
                  <c:v>98.796516231195625</c:v>
                </c:pt>
                <c:pt idx="239">
                  <c:v>98.946951702296133</c:v>
                </c:pt>
                <c:pt idx="240">
                  <c:v>98.867775138558642</c:v>
                </c:pt>
                <c:pt idx="241">
                  <c:v>98.867775138558642</c:v>
                </c:pt>
                <c:pt idx="242">
                  <c:v>98.867775138558642</c:v>
                </c:pt>
                <c:pt idx="243">
                  <c:v>98.946951702296133</c:v>
                </c:pt>
                <c:pt idx="244">
                  <c:v>99.247822644497404</c:v>
                </c:pt>
                <c:pt idx="245">
                  <c:v>99.097387173396498</c:v>
                </c:pt>
                <c:pt idx="246">
                  <c:v>99.422011084718932</c:v>
                </c:pt>
                <c:pt idx="247">
                  <c:v>99.287410926365823</c:v>
                </c:pt>
                <c:pt idx="248">
                  <c:v>99.287410926365823</c:v>
                </c:pt>
                <c:pt idx="249">
                  <c:v>99.287410926365823</c:v>
                </c:pt>
                <c:pt idx="250">
                  <c:v>99.691211401425207</c:v>
                </c:pt>
                <c:pt idx="251">
                  <c:v>99.976247030878852</c:v>
                </c:pt>
                <c:pt idx="252">
                  <c:v>100.04750593824249</c:v>
                </c:pt>
                <c:pt idx="253">
                  <c:v>100.04750593824249</c:v>
                </c:pt>
                <c:pt idx="254">
                  <c:v>100</c:v>
                </c:pt>
                <c:pt idx="255">
                  <c:v>100</c:v>
                </c:pt>
                <c:pt idx="256">
                  <c:v>100</c:v>
                </c:pt>
                <c:pt idx="257">
                  <c:v>100.055423594616</c:v>
                </c:pt>
                <c:pt idx="258">
                  <c:v>99.786223277909826</c:v>
                </c:pt>
                <c:pt idx="259">
                  <c:v>100.3642121931908</c:v>
                </c:pt>
                <c:pt idx="260">
                  <c:v>100.30878859857449</c:v>
                </c:pt>
                <c:pt idx="261">
                  <c:v>100.3325415676959</c:v>
                </c:pt>
                <c:pt idx="262">
                  <c:v>100.3325415676959</c:v>
                </c:pt>
                <c:pt idx="263">
                  <c:v>100.3325415676959</c:v>
                </c:pt>
                <c:pt idx="264">
                  <c:v>100.5621536025337</c:v>
                </c:pt>
                <c:pt idx="265">
                  <c:v>100.46714172604911</c:v>
                </c:pt>
                <c:pt idx="266">
                  <c:v>100.3404592240697</c:v>
                </c:pt>
                <c:pt idx="267">
                  <c:v>100.577988915281</c:v>
                </c:pt>
                <c:pt idx="268">
                  <c:v>100.9184481393507</c:v>
                </c:pt>
                <c:pt idx="269">
                  <c:v>100.9184481393507</c:v>
                </c:pt>
                <c:pt idx="270">
                  <c:v>100.9184481393507</c:v>
                </c:pt>
                <c:pt idx="271">
                  <c:v>100.8630245447348</c:v>
                </c:pt>
                <c:pt idx="272">
                  <c:v>101.01346001583531</c:v>
                </c:pt>
                <c:pt idx="273">
                  <c:v>100.71258907363421</c:v>
                </c:pt>
                <c:pt idx="274">
                  <c:v>100.7205067300079</c:v>
                </c:pt>
                <c:pt idx="275">
                  <c:v>101.5201900237529</c:v>
                </c:pt>
                <c:pt idx="276">
                  <c:v>101.5201900237529</c:v>
                </c:pt>
                <c:pt idx="277">
                  <c:v>101.5201900237529</c:v>
                </c:pt>
                <c:pt idx="278">
                  <c:v>101.0213776722089</c:v>
                </c:pt>
                <c:pt idx="279">
                  <c:v>100.9738717339666</c:v>
                </c:pt>
                <c:pt idx="280">
                  <c:v>100.807600950119</c:v>
                </c:pt>
                <c:pt idx="281">
                  <c:v>100.6730007917655</c:v>
                </c:pt>
                <c:pt idx="282">
                  <c:v>101.06888361045119</c:v>
                </c:pt>
                <c:pt idx="283">
                  <c:v>101.06888361045119</c:v>
                </c:pt>
                <c:pt idx="284">
                  <c:v>101.06888361045119</c:v>
                </c:pt>
                <c:pt idx="285">
                  <c:v>100.7205067300079</c:v>
                </c:pt>
                <c:pt idx="286">
                  <c:v>101.0372129849566</c:v>
                </c:pt>
                <c:pt idx="287">
                  <c:v>100.7284243863816</c:v>
                </c:pt>
                <c:pt idx="288">
                  <c:v>100.88677751385551</c:v>
                </c:pt>
                <c:pt idx="289">
                  <c:v>100.9580364212193</c:v>
                </c:pt>
                <c:pt idx="290">
                  <c:v>100.9580364212193</c:v>
                </c:pt>
                <c:pt idx="291">
                  <c:v>100.9580364212193</c:v>
                </c:pt>
                <c:pt idx="292">
                  <c:v>100.5304829770387</c:v>
                </c:pt>
                <c:pt idx="293">
                  <c:v>100.6730007917655</c:v>
                </c:pt>
                <c:pt idx="294">
                  <c:v>100.8155186064924</c:v>
                </c:pt>
                <c:pt idx="295">
                  <c:v>101.1163895486936</c:v>
                </c:pt>
                <c:pt idx="296">
                  <c:v>100.9738717339666</c:v>
                </c:pt>
                <c:pt idx="297">
                  <c:v>100.9738717339666</c:v>
                </c:pt>
                <c:pt idx="298">
                  <c:v>100.9738717339666</c:v>
                </c:pt>
                <c:pt idx="299">
                  <c:v>100.91053048297729</c:v>
                </c:pt>
                <c:pt idx="300">
                  <c:v>100.7205067300079</c:v>
                </c:pt>
                <c:pt idx="301">
                  <c:v>101.18764845605681</c:v>
                </c:pt>
                <c:pt idx="302">
                  <c:v>101.179730799683</c:v>
                </c:pt>
                <c:pt idx="303">
                  <c:v>101.7814726840855</c:v>
                </c:pt>
                <c:pt idx="304">
                  <c:v>101.7814726840855</c:v>
                </c:pt>
                <c:pt idx="305">
                  <c:v>101.7814726840855</c:v>
                </c:pt>
                <c:pt idx="306">
                  <c:v>102.23277909738719</c:v>
                </c:pt>
                <c:pt idx="307">
                  <c:v>102.0585906571655</c:v>
                </c:pt>
                <c:pt idx="308">
                  <c:v>102.43072050673</c:v>
                </c:pt>
                <c:pt idx="309">
                  <c:v>102.6128266033254</c:v>
                </c:pt>
                <c:pt idx="310">
                  <c:v>102.0506730007918</c:v>
                </c:pt>
                <c:pt idx="311">
                  <c:v>102.0506730007918</c:v>
                </c:pt>
                <c:pt idx="312">
                  <c:v>102.0506730007918</c:v>
                </c:pt>
                <c:pt idx="313">
                  <c:v>102.2248614410136</c:v>
                </c:pt>
                <c:pt idx="314">
                  <c:v>102.2169437846398</c:v>
                </c:pt>
                <c:pt idx="315">
                  <c:v>102.1694378463974</c:v>
                </c:pt>
                <c:pt idx="316">
                  <c:v>102.2802850356295</c:v>
                </c:pt>
                <c:pt idx="317">
                  <c:v>102.7870150435472</c:v>
                </c:pt>
                <c:pt idx="318">
                  <c:v>102.7870150435472</c:v>
                </c:pt>
                <c:pt idx="319">
                  <c:v>102.7870150435472</c:v>
                </c:pt>
                <c:pt idx="320">
                  <c:v>102.8186856690422</c:v>
                </c:pt>
                <c:pt idx="321">
                  <c:v>102.763262074426</c:v>
                </c:pt>
                <c:pt idx="322">
                  <c:v>103.3808392715756</c:v>
                </c:pt>
                <c:pt idx="323">
                  <c:v>102.95328582739511</c:v>
                </c:pt>
                <c:pt idx="324">
                  <c:v>102.9057798891528</c:v>
                </c:pt>
                <c:pt idx="325">
                  <c:v>102.9057798891528</c:v>
                </c:pt>
                <c:pt idx="326">
                  <c:v>102.9057798891528</c:v>
                </c:pt>
                <c:pt idx="327">
                  <c:v>103.1512272367379</c:v>
                </c:pt>
                <c:pt idx="328">
                  <c:v>102.9849564528899</c:v>
                </c:pt>
                <c:pt idx="329">
                  <c:v>102.7553444180522</c:v>
                </c:pt>
                <c:pt idx="330">
                  <c:v>102.874109263658</c:v>
                </c:pt>
                <c:pt idx="331">
                  <c:v>103.2779097387175</c:v>
                </c:pt>
                <c:pt idx="332">
                  <c:v>103.2779097387175</c:v>
                </c:pt>
                <c:pt idx="333">
                  <c:v>103.2779097387175</c:v>
                </c:pt>
                <c:pt idx="334">
                  <c:v>103.4600158353128</c:v>
                </c:pt>
                <c:pt idx="335">
                  <c:v>103.8558986539983</c:v>
                </c:pt>
                <c:pt idx="336">
                  <c:v>103.9113222486145</c:v>
                </c:pt>
                <c:pt idx="337">
                  <c:v>103.88756927949331</c:v>
                </c:pt>
                <c:pt idx="338">
                  <c:v>104.7268408551068</c:v>
                </c:pt>
                <c:pt idx="339">
                  <c:v>104.7268408551068</c:v>
                </c:pt>
                <c:pt idx="340">
                  <c:v>104.7268408551068</c:v>
                </c:pt>
                <c:pt idx="341">
                  <c:v>104.4813935075217</c:v>
                </c:pt>
                <c:pt idx="342">
                  <c:v>104.2280285035629</c:v>
                </c:pt>
                <c:pt idx="343">
                  <c:v>103.81631037212971</c:v>
                </c:pt>
                <c:pt idx="344">
                  <c:v>103.95882818685649</c:v>
                </c:pt>
                <c:pt idx="345">
                  <c:v>104.03008709422009</c:v>
                </c:pt>
                <c:pt idx="346">
                  <c:v>104.03008709422009</c:v>
                </c:pt>
                <c:pt idx="347">
                  <c:v>104.03008709422009</c:v>
                </c:pt>
                <c:pt idx="348">
                  <c:v>103.9509105304829</c:v>
                </c:pt>
                <c:pt idx="349">
                  <c:v>103.1591448931115</c:v>
                </c:pt>
                <c:pt idx="350">
                  <c:v>103.7688044338876</c:v>
                </c:pt>
                <c:pt idx="351">
                  <c:v>104.03008709422009</c:v>
                </c:pt>
                <c:pt idx="352">
                  <c:v>104.1092636579574</c:v>
                </c:pt>
                <c:pt idx="353">
                  <c:v>104.1092636579574</c:v>
                </c:pt>
                <c:pt idx="354">
                  <c:v>104.1092636579574</c:v>
                </c:pt>
                <c:pt idx="355">
                  <c:v>104.40221694378459</c:v>
                </c:pt>
                <c:pt idx="356">
                  <c:v>104.9406175771973</c:v>
                </c:pt>
                <c:pt idx="357">
                  <c:v>104.7980997624703</c:v>
                </c:pt>
                <c:pt idx="358">
                  <c:v>104.7268408551068</c:v>
                </c:pt>
                <c:pt idx="359">
                  <c:v>104.7664291369754</c:v>
                </c:pt>
                <c:pt idx="360">
                  <c:v>104.7664291369754</c:v>
                </c:pt>
                <c:pt idx="361">
                  <c:v>104.7664291369754</c:v>
                </c:pt>
                <c:pt idx="362">
                  <c:v>104.80601741884399</c:v>
                </c:pt>
                <c:pt idx="363">
                  <c:v>104.63182897862229</c:v>
                </c:pt>
                <c:pt idx="364">
                  <c:v>104.94853523357089</c:v>
                </c:pt>
                <c:pt idx="365">
                  <c:v>104.79018210609649</c:v>
                </c:pt>
                <c:pt idx="366">
                  <c:v>105.40775930324619</c:v>
                </c:pt>
                <c:pt idx="367">
                  <c:v>105.40775930324619</c:v>
                </c:pt>
                <c:pt idx="368">
                  <c:v>105.40775930324619</c:v>
                </c:pt>
                <c:pt idx="369">
                  <c:v>105.72446555819479</c:v>
                </c:pt>
                <c:pt idx="370">
                  <c:v>105.56611243072049</c:v>
                </c:pt>
                <c:pt idx="371">
                  <c:v>106.07284243863801</c:v>
                </c:pt>
                <c:pt idx="372">
                  <c:v>105.8432304038005</c:v>
                </c:pt>
                <c:pt idx="373">
                  <c:v>105.5740300870941</c:v>
                </c:pt>
                <c:pt idx="374">
                  <c:v>105.5740300870941</c:v>
                </c:pt>
                <c:pt idx="375">
                  <c:v>105.5740300870941</c:v>
                </c:pt>
                <c:pt idx="376">
                  <c:v>105.6452889944575</c:v>
                </c:pt>
                <c:pt idx="377">
                  <c:v>105.5740300870941</c:v>
                </c:pt>
                <c:pt idx="378">
                  <c:v>105.7007125890736</c:v>
                </c:pt>
                <c:pt idx="379">
                  <c:v>105.0118764845606</c:v>
                </c:pt>
                <c:pt idx="380">
                  <c:v>105.0752177355502</c:v>
                </c:pt>
                <c:pt idx="381">
                  <c:v>105.0752177355502</c:v>
                </c:pt>
                <c:pt idx="382">
                  <c:v>105.0752177355502</c:v>
                </c:pt>
                <c:pt idx="383">
                  <c:v>105.59778305621541</c:v>
                </c:pt>
                <c:pt idx="384">
                  <c:v>105.8590657165478</c:v>
                </c:pt>
                <c:pt idx="385">
                  <c:v>105.68487727632601</c:v>
                </c:pt>
                <c:pt idx="386">
                  <c:v>106.0490894695173</c:v>
                </c:pt>
                <c:pt idx="387">
                  <c:v>106.4766429136975</c:v>
                </c:pt>
                <c:pt idx="388">
                  <c:v>106.4766429136975</c:v>
                </c:pt>
                <c:pt idx="389">
                  <c:v>106.4766429136975</c:v>
                </c:pt>
                <c:pt idx="390">
                  <c:v>106.4687252573239</c:v>
                </c:pt>
                <c:pt idx="391">
                  <c:v>106.0095011876485</c:v>
                </c:pt>
                <c:pt idx="392">
                  <c:v>107.13380839271559</c:v>
                </c:pt>
                <c:pt idx="393">
                  <c:v>107.18923198733179</c:v>
                </c:pt>
                <c:pt idx="394">
                  <c:v>107.22090261282639</c:v>
                </c:pt>
                <c:pt idx="395">
                  <c:v>107.22090261282639</c:v>
                </c:pt>
                <c:pt idx="396">
                  <c:v>107.22090261282639</c:v>
                </c:pt>
                <c:pt idx="397">
                  <c:v>107.0387965162309</c:v>
                </c:pt>
                <c:pt idx="398">
                  <c:v>106.5954077593033</c:v>
                </c:pt>
                <c:pt idx="399">
                  <c:v>106.7854315122723</c:v>
                </c:pt>
                <c:pt idx="400">
                  <c:v>106.4687252573239</c:v>
                </c:pt>
                <c:pt idx="401">
                  <c:v>107.1258907363417</c:v>
                </c:pt>
                <c:pt idx="402">
                  <c:v>107.1258907363417</c:v>
                </c:pt>
                <c:pt idx="403">
                  <c:v>107.1258907363417</c:v>
                </c:pt>
                <c:pt idx="404">
                  <c:v>107.1813143309579</c:v>
                </c:pt>
                <c:pt idx="405">
                  <c:v>107.2684085510688</c:v>
                </c:pt>
                <c:pt idx="406">
                  <c:v>107.767220902613</c:v>
                </c:pt>
                <c:pt idx="407">
                  <c:v>107.3950910530483</c:v>
                </c:pt>
                <c:pt idx="408">
                  <c:v>107.3000791765634</c:v>
                </c:pt>
                <c:pt idx="409">
                  <c:v>107.3000791765634</c:v>
                </c:pt>
                <c:pt idx="410">
                  <c:v>107.3000791765634</c:v>
                </c:pt>
                <c:pt idx="411">
                  <c:v>107.43467933491701</c:v>
                </c:pt>
                <c:pt idx="412">
                  <c:v>107.3396674584323</c:v>
                </c:pt>
                <c:pt idx="413">
                  <c:v>107.34758511480599</c:v>
                </c:pt>
                <c:pt idx="414">
                  <c:v>107.53760886777511</c:v>
                </c:pt>
                <c:pt idx="415">
                  <c:v>107.69596199524941</c:v>
                </c:pt>
                <c:pt idx="416">
                  <c:v>107.69596199524941</c:v>
                </c:pt>
                <c:pt idx="417">
                  <c:v>107.69596199524941</c:v>
                </c:pt>
                <c:pt idx="418">
                  <c:v>107.6484560570071</c:v>
                </c:pt>
                <c:pt idx="419">
                  <c:v>107.4663499604117</c:v>
                </c:pt>
                <c:pt idx="420">
                  <c:v>107.1417260490895</c:v>
                </c:pt>
                <c:pt idx="421">
                  <c:v>107.5296912114013</c:v>
                </c:pt>
                <c:pt idx="422">
                  <c:v>107.90973871733949</c:v>
                </c:pt>
                <c:pt idx="423">
                  <c:v>107.90973871733949</c:v>
                </c:pt>
                <c:pt idx="424">
                  <c:v>107.90973871733949</c:v>
                </c:pt>
                <c:pt idx="425">
                  <c:v>108.1155977830561</c:v>
                </c:pt>
                <c:pt idx="426">
                  <c:v>107.89390340459229</c:v>
                </c:pt>
                <c:pt idx="427">
                  <c:v>108.29770387965161</c:v>
                </c:pt>
                <c:pt idx="428">
                  <c:v>108.5510688836105</c:v>
                </c:pt>
                <c:pt idx="429">
                  <c:v>109.07363420427551</c:v>
                </c:pt>
                <c:pt idx="430">
                  <c:v>109.07363420427551</c:v>
                </c:pt>
                <c:pt idx="431">
                  <c:v>109.07363420427551</c:v>
                </c:pt>
                <c:pt idx="432">
                  <c:v>109.31908155186061</c:v>
                </c:pt>
                <c:pt idx="433">
                  <c:v>110.09501187648431</c:v>
                </c:pt>
                <c:pt idx="434">
                  <c:v>109.97624703087889</c:v>
                </c:pt>
                <c:pt idx="435">
                  <c:v>109.3982581155977</c:v>
                </c:pt>
                <c:pt idx="436">
                  <c:v>110.2692003167063</c:v>
                </c:pt>
                <c:pt idx="437">
                  <c:v>110.2692003167063</c:v>
                </c:pt>
                <c:pt idx="438">
                  <c:v>110.2692003167063</c:v>
                </c:pt>
                <c:pt idx="439">
                  <c:v>110.1029295328582</c:v>
                </c:pt>
                <c:pt idx="440">
                  <c:v>109.9366587490105</c:v>
                </c:pt>
                <c:pt idx="441">
                  <c:v>109.0102929532858</c:v>
                </c:pt>
                <c:pt idx="442">
                  <c:v>109.84956452889941</c:v>
                </c:pt>
                <c:pt idx="443">
                  <c:v>109.16072842438641</c:v>
                </c:pt>
                <c:pt idx="444">
                  <c:v>109.16072842438641</c:v>
                </c:pt>
                <c:pt idx="445">
                  <c:v>109.16072842438641</c:v>
                </c:pt>
                <c:pt idx="446">
                  <c:v>108.06809184481391</c:v>
                </c:pt>
                <c:pt idx="447">
                  <c:v>108.1868566904196</c:v>
                </c:pt>
                <c:pt idx="448">
                  <c:v>108.5510688836105</c:v>
                </c:pt>
                <c:pt idx="449">
                  <c:v>108.5193982581156</c:v>
                </c:pt>
                <c:pt idx="450">
                  <c:v>108.424386381631</c:v>
                </c:pt>
                <c:pt idx="451">
                  <c:v>108.424386381631</c:v>
                </c:pt>
                <c:pt idx="452">
                  <c:v>108.424386381631</c:v>
                </c:pt>
                <c:pt idx="453">
                  <c:v>108.9786223277909</c:v>
                </c:pt>
                <c:pt idx="454">
                  <c:v>108.6539984164684</c:v>
                </c:pt>
                <c:pt idx="455">
                  <c:v>107.9334916864608</c:v>
                </c:pt>
                <c:pt idx="456">
                  <c:v>107.50593824228019</c:v>
                </c:pt>
                <c:pt idx="457">
                  <c:v>106.9279493269992</c:v>
                </c:pt>
                <c:pt idx="458">
                  <c:v>106.9279493269992</c:v>
                </c:pt>
                <c:pt idx="459">
                  <c:v>106.9279493269992</c:v>
                </c:pt>
                <c:pt idx="460">
                  <c:v>107.22090261282639</c:v>
                </c:pt>
                <c:pt idx="461">
                  <c:v>107.7276326207443</c:v>
                </c:pt>
                <c:pt idx="462">
                  <c:v>107.41884402216949</c:v>
                </c:pt>
                <c:pt idx="463">
                  <c:v>107.6484560570071</c:v>
                </c:pt>
                <c:pt idx="464">
                  <c:v>108.3293745051465</c:v>
                </c:pt>
                <c:pt idx="465">
                  <c:v>108.3293745051465</c:v>
                </c:pt>
                <c:pt idx="466">
                  <c:v>108.3293745051465</c:v>
                </c:pt>
                <c:pt idx="467">
                  <c:v>108.59857482185269</c:v>
                </c:pt>
                <c:pt idx="468">
                  <c:v>107.71971496437079</c:v>
                </c:pt>
                <c:pt idx="469">
                  <c:v>107.4425969912907</c:v>
                </c:pt>
                <c:pt idx="470">
                  <c:v>106.8646080760094</c:v>
                </c:pt>
                <c:pt idx="471">
                  <c:v>106.5637371338081</c:v>
                </c:pt>
                <c:pt idx="472">
                  <c:v>106.5637371338081</c:v>
                </c:pt>
                <c:pt idx="473">
                  <c:v>106.5637371338081</c:v>
                </c:pt>
                <c:pt idx="474">
                  <c:v>106.76167854315121</c:v>
                </c:pt>
                <c:pt idx="475">
                  <c:v>106.99129057798901</c:v>
                </c:pt>
                <c:pt idx="476">
                  <c:v>106.7220902612827</c:v>
                </c:pt>
                <c:pt idx="477">
                  <c:v>106.2311955661125</c:v>
                </c:pt>
                <c:pt idx="478">
                  <c:v>105.471100554236</c:v>
                </c:pt>
                <c:pt idx="479">
                  <c:v>105.471100554236</c:v>
                </c:pt>
                <c:pt idx="480">
                  <c:v>105.471100554236</c:v>
                </c:pt>
                <c:pt idx="481">
                  <c:v>105.1623119556611</c:v>
                </c:pt>
                <c:pt idx="482">
                  <c:v>104.3072050673002</c:v>
                </c:pt>
                <c:pt idx="483">
                  <c:v>104.5368171021377</c:v>
                </c:pt>
                <c:pt idx="484">
                  <c:v>104.80601741884399</c:v>
                </c:pt>
                <c:pt idx="485">
                  <c:v>105.3206650831354</c:v>
                </c:pt>
                <c:pt idx="486">
                  <c:v>105.3206650831354</c:v>
                </c:pt>
                <c:pt idx="487">
                  <c:v>105.3206650831354</c:v>
                </c:pt>
                <c:pt idx="488">
                  <c:v>105.4552652414885</c:v>
                </c:pt>
                <c:pt idx="489">
                  <c:v>105.4790182106096</c:v>
                </c:pt>
                <c:pt idx="490">
                  <c:v>104.782264449723</c:v>
                </c:pt>
                <c:pt idx="491">
                  <c:v>105.5186064924782</c:v>
                </c:pt>
                <c:pt idx="492">
                  <c:v>105.1860649247823</c:v>
                </c:pt>
                <c:pt idx="493">
                  <c:v>105.1860649247823</c:v>
                </c:pt>
                <c:pt idx="494">
                  <c:v>105.1860649247823</c:v>
                </c:pt>
                <c:pt idx="495">
                  <c:v>105.88281868566909</c:v>
                </c:pt>
                <c:pt idx="496">
                  <c:v>105.68487727632601</c:v>
                </c:pt>
                <c:pt idx="497">
                  <c:v>104.89311163895491</c:v>
                </c:pt>
                <c:pt idx="498">
                  <c:v>104.5526524148851</c:v>
                </c:pt>
                <c:pt idx="499">
                  <c:v>104.5684877276325</c:v>
                </c:pt>
                <c:pt idx="500">
                  <c:v>104.5684877276325</c:v>
                </c:pt>
                <c:pt idx="501">
                  <c:v>104.5684877276325</c:v>
                </c:pt>
                <c:pt idx="502">
                  <c:v>105.2019002375296</c:v>
                </c:pt>
                <c:pt idx="503">
                  <c:v>105.7878068091844</c:v>
                </c:pt>
                <c:pt idx="504">
                  <c:v>105.8669833729215</c:v>
                </c:pt>
                <c:pt idx="505">
                  <c:v>105.8353127474265</c:v>
                </c:pt>
                <c:pt idx="506">
                  <c:v>105.82739509105311</c:v>
                </c:pt>
                <c:pt idx="507">
                  <c:v>105.82739509105311</c:v>
                </c:pt>
                <c:pt idx="508">
                  <c:v>105.82739509105311</c:v>
                </c:pt>
                <c:pt idx="509">
                  <c:v>106.2787015043544</c:v>
                </c:pt>
                <c:pt idx="510">
                  <c:v>106.8962787015043</c:v>
                </c:pt>
                <c:pt idx="511">
                  <c:v>106.95961995249409</c:v>
                </c:pt>
                <c:pt idx="512">
                  <c:v>106.769596199525</c:v>
                </c:pt>
                <c:pt idx="513">
                  <c:v>106.714172604909</c:v>
                </c:pt>
                <c:pt idx="514">
                  <c:v>106.714172604909</c:v>
                </c:pt>
                <c:pt idx="515">
                  <c:v>106.714172604909</c:v>
                </c:pt>
                <c:pt idx="516">
                  <c:v>107.3950910530483</c:v>
                </c:pt>
                <c:pt idx="517">
                  <c:v>106.7933491686461</c:v>
                </c:pt>
                <c:pt idx="518">
                  <c:v>106.3182897862233</c:v>
                </c:pt>
                <c:pt idx="519">
                  <c:v>106.682501979414</c:v>
                </c:pt>
                <c:pt idx="520">
                  <c:v>107.4980205859067</c:v>
                </c:pt>
                <c:pt idx="521">
                  <c:v>107.4980205859067</c:v>
                </c:pt>
                <c:pt idx="522">
                  <c:v>107.4980205859067</c:v>
                </c:pt>
                <c:pt idx="523">
                  <c:v>107.1417260490895</c:v>
                </c:pt>
                <c:pt idx="524">
                  <c:v>107.0150435471101</c:v>
                </c:pt>
                <c:pt idx="525">
                  <c:v>106.2232779097387</c:v>
                </c:pt>
                <c:pt idx="526">
                  <c:v>106.4687252573239</c:v>
                </c:pt>
                <c:pt idx="527">
                  <c:v>106.3974663499604</c:v>
                </c:pt>
                <c:pt idx="528">
                  <c:v>106.3974663499604</c:v>
                </c:pt>
                <c:pt idx="529">
                  <c:v>106.3974663499604</c:v>
                </c:pt>
                <c:pt idx="530">
                  <c:v>106.5954077593033</c:v>
                </c:pt>
                <c:pt idx="531">
                  <c:v>106.2787015043544</c:v>
                </c:pt>
                <c:pt idx="532">
                  <c:v>105.7719714964371</c:v>
                </c:pt>
                <c:pt idx="533">
                  <c:v>105.6373713380836</c:v>
                </c:pt>
                <c:pt idx="534">
                  <c:v>105.6136183689628</c:v>
                </c:pt>
                <c:pt idx="535">
                  <c:v>105.6136183689628</c:v>
                </c:pt>
                <c:pt idx="536">
                  <c:v>105.6136183689628</c:v>
                </c:pt>
                <c:pt idx="537">
                  <c:v>105.7482185273161</c:v>
                </c:pt>
                <c:pt idx="538">
                  <c:v>106.175771971496</c:v>
                </c:pt>
                <c:pt idx="539">
                  <c:v>106.3657957244655</c:v>
                </c:pt>
                <c:pt idx="540">
                  <c:v>106.4212193190816</c:v>
                </c:pt>
                <c:pt idx="541">
                  <c:v>106.8725257323831</c:v>
                </c:pt>
                <c:pt idx="542">
                  <c:v>106.8725257323831</c:v>
                </c:pt>
                <c:pt idx="543">
                  <c:v>106.8725257323831</c:v>
                </c:pt>
                <c:pt idx="544">
                  <c:v>106.5795724465555</c:v>
                </c:pt>
                <c:pt idx="545">
                  <c:v>106.682501979414</c:v>
                </c:pt>
                <c:pt idx="546">
                  <c:v>107.1258907363417</c:v>
                </c:pt>
                <c:pt idx="547">
                  <c:v>106.7220902612827</c:v>
                </c:pt>
                <c:pt idx="548">
                  <c:v>106.5637371338081</c:v>
                </c:pt>
                <c:pt idx="549">
                  <c:v>106.5637371338081</c:v>
                </c:pt>
                <c:pt idx="550">
                  <c:v>106.5637371338081</c:v>
                </c:pt>
                <c:pt idx="551">
                  <c:v>106.7775138558987</c:v>
                </c:pt>
                <c:pt idx="552">
                  <c:v>107.2129849564528</c:v>
                </c:pt>
                <c:pt idx="553">
                  <c:v>106.88836104513069</c:v>
                </c:pt>
                <c:pt idx="554">
                  <c:v>106.8725257323831</c:v>
                </c:pt>
                <c:pt idx="555">
                  <c:v>106.97545526524149</c:v>
                </c:pt>
                <c:pt idx="556">
                  <c:v>106.97545526524149</c:v>
                </c:pt>
                <c:pt idx="557">
                  <c:v>106.97545526524149</c:v>
                </c:pt>
                <c:pt idx="558">
                  <c:v>107.43467933491701</c:v>
                </c:pt>
                <c:pt idx="559">
                  <c:v>107.7830562153603</c:v>
                </c:pt>
                <c:pt idx="560">
                  <c:v>108.1235154394298</c:v>
                </c:pt>
                <c:pt idx="561">
                  <c:v>108.2185273159145</c:v>
                </c:pt>
                <c:pt idx="562">
                  <c:v>108.289786223278</c:v>
                </c:pt>
                <c:pt idx="563">
                  <c:v>108.289786223278</c:v>
                </c:pt>
                <c:pt idx="564">
                  <c:v>108.289786223278</c:v>
                </c:pt>
                <c:pt idx="565">
                  <c:v>108.535233570863</c:v>
                </c:pt>
                <c:pt idx="566">
                  <c:v>107.9730799683294</c:v>
                </c:pt>
                <c:pt idx="567">
                  <c:v>108.1472684085511</c:v>
                </c:pt>
                <c:pt idx="568">
                  <c:v>108.3768804433887</c:v>
                </c:pt>
                <c:pt idx="569">
                  <c:v>108.6064924782263</c:v>
                </c:pt>
                <c:pt idx="570">
                  <c:v>108.6064924782263</c:v>
                </c:pt>
                <c:pt idx="571">
                  <c:v>108.6064924782263</c:v>
                </c:pt>
                <c:pt idx="572">
                  <c:v>108.38479809976251</c:v>
                </c:pt>
                <c:pt idx="573">
                  <c:v>107.96516231195569</c:v>
                </c:pt>
                <c:pt idx="574">
                  <c:v>108.3768804433887</c:v>
                </c:pt>
                <c:pt idx="575">
                  <c:v>108.89944576405379</c:v>
                </c:pt>
                <c:pt idx="576">
                  <c:v>108.646080760095</c:v>
                </c:pt>
                <c:pt idx="577">
                  <c:v>108.646080760095</c:v>
                </c:pt>
                <c:pt idx="578">
                  <c:v>108.646080760095</c:v>
                </c:pt>
                <c:pt idx="579">
                  <c:v>109.1211401425177</c:v>
                </c:pt>
                <c:pt idx="580">
                  <c:v>109.3428345209817</c:v>
                </c:pt>
                <c:pt idx="581">
                  <c:v>109.5882818685668</c:v>
                </c:pt>
                <c:pt idx="582">
                  <c:v>109.5566112430722</c:v>
                </c:pt>
                <c:pt idx="583">
                  <c:v>109.6595407759303</c:v>
                </c:pt>
                <c:pt idx="584">
                  <c:v>109.6595407759303</c:v>
                </c:pt>
                <c:pt idx="585">
                  <c:v>109.6595407759303</c:v>
                </c:pt>
                <c:pt idx="586">
                  <c:v>109.3982581155977</c:v>
                </c:pt>
                <c:pt idx="587">
                  <c:v>110.9501187648457</c:v>
                </c:pt>
                <c:pt idx="588">
                  <c:v>110.7521773555027</c:v>
                </c:pt>
                <c:pt idx="589">
                  <c:v>110.6175771971496</c:v>
                </c:pt>
                <c:pt idx="590">
                  <c:v>111.3935075217736</c:v>
                </c:pt>
                <c:pt idx="591">
                  <c:v>111.3935075217736</c:v>
                </c:pt>
                <c:pt idx="592">
                  <c:v>111.3935075217736</c:v>
                </c:pt>
                <c:pt idx="593">
                  <c:v>111.45684877276319</c:v>
                </c:pt>
                <c:pt idx="594">
                  <c:v>111.1401425178146</c:v>
                </c:pt>
                <c:pt idx="595">
                  <c:v>111.10055423594621</c:v>
                </c:pt>
                <c:pt idx="596">
                  <c:v>111.0530482977038</c:v>
                </c:pt>
                <c:pt idx="597">
                  <c:v>111.5043547110055</c:v>
                </c:pt>
                <c:pt idx="598">
                  <c:v>111.5043547110055</c:v>
                </c:pt>
                <c:pt idx="599">
                  <c:v>111.5043547110055</c:v>
                </c:pt>
                <c:pt idx="600">
                  <c:v>111.68646080760089</c:v>
                </c:pt>
                <c:pt idx="601">
                  <c:v>111.29849564528899</c:v>
                </c:pt>
                <c:pt idx="602">
                  <c:v>111.3618368962786</c:v>
                </c:pt>
                <c:pt idx="603">
                  <c:v>110.7759303246236</c:v>
                </c:pt>
                <c:pt idx="604">
                  <c:v>111.5518606492481</c:v>
                </c:pt>
                <c:pt idx="605">
                  <c:v>111.5518606492481</c:v>
                </c:pt>
                <c:pt idx="606">
                  <c:v>111.5518606492481</c:v>
                </c:pt>
                <c:pt idx="607">
                  <c:v>111.7814726840855</c:v>
                </c:pt>
                <c:pt idx="608">
                  <c:v>111.8527315914487</c:v>
                </c:pt>
                <c:pt idx="609">
                  <c:v>112.0823436262865</c:v>
                </c:pt>
                <c:pt idx="610">
                  <c:v>112.1456848772763</c:v>
                </c:pt>
                <c:pt idx="611">
                  <c:v>112.77909738717339</c:v>
                </c:pt>
                <c:pt idx="612">
                  <c:v>112.77909738717339</c:v>
                </c:pt>
                <c:pt idx="613">
                  <c:v>112.77909738717339</c:v>
                </c:pt>
                <c:pt idx="614">
                  <c:v>113.04038004750591</c:v>
                </c:pt>
                <c:pt idx="615">
                  <c:v>112.5098970704671</c:v>
                </c:pt>
              </c:numCache>
            </c:numRef>
          </c:val>
          <c:smooth val="0"/>
        </c:ser>
        <c:dLbls>
          <c:showLegendKey val="0"/>
          <c:showVal val="0"/>
          <c:showCatName val="0"/>
          <c:showSerName val="0"/>
          <c:showPercent val="0"/>
          <c:showBubbleSize val="0"/>
        </c:dLbls>
        <c:marker val="1"/>
        <c:smooth val="0"/>
        <c:axId val="123688448"/>
        <c:axId val="123689984"/>
      </c:lineChart>
      <c:dateAx>
        <c:axId val="123688448"/>
        <c:scaling>
          <c:orientation val="minMax"/>
        </c:scaling>
        <c:delete val="0"/>
        <c:axPos val="b"/>
        <c:numFmt formatCode="m/d/yy" sourceLinked="1"/>
        <c:majorTickMark val="out"/>
        <c:minorTickMark val="none"/>
        <c:tickLblPos val="nextTo"/>
        <c:crossAx val="123689984"/>
        <c:crosses val="autoZero"/>
        <c:auto val="1"/>
        <c:lblOffset val="100"/>
        <c:baseTimeUnit val="days"/>
        <c:majorUnit val="4"/>
        <c:majorTimeUnit val="months"/>
      </c:dateAx>
      <c:valAx>
        <c:axId val="123689984"/>
        <c:scaling>
          <c:orientation val="minMax"/>
          <c:min val="85"/>
        </c:scaling>
        <c:delete val="0"/>
        <c:axPos val="l"/>
        <c:numFmt formatCode="General" sourceLinked="1"/>
        <c:majorTickMark val="out"/>
        <c:minorTickMark val="none"/>
        <c:tickLblPos val="nextTo"/>
        <c:crossAx val="123688448"/>
        <c:crosses val="autoZero"/>
        <c:crossBetween val="between"/>
      </c:valAx>
    </c:plotArea>
    <c:legend>
      <c:legendPos val="b"/>
      <c:layout>
        <c:manualLayout>
          <c:xMode val="edge"/>
          <c:yMode val="edge"/>
          <c:x val="0"/>
          <c:y val="0.81494922281362803"/>
          <c:w val="0.98228386836260695"/>
          <c:h val="0.116908096070134"/>
        </c:manualLayout>
      </c:layout>
      <c:overlay val="0"/>
    </c:legend>
    <c:plotVisOnly val="1"/>
    <c:dispBlanksAs val="gap"/>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386351706036699"/>
          <c:y val="3.0490953613754E-2"/>
          <c:w val="0.74598140857392903"/>
          <c:h val="0.71413069280070596"/>
        </c:manualLayout>
      </c:layout>
      <c:areaChart>
        <c:grouping val="standard"/>
        <c:varyColors val="0"/>
        <c:ser>
          <c:idx val="2"/>
          <c:order val="2"/>
          <c:tx>
            <c:strRef>
              <c:f>'Graph NFB IHSG'!$L$5</c:f>
              <c:strCache>
                <c:ptCount val="1"/>
                <c:pt idx="0">
                  <c:v>NFB Kumulatif YTD</c:v>
                </c:pt>
              </c:strCache>
            </c:strRef>
          </c:tx>
          <c:spPr>
            <a:solidFill>
              <a:schemeClr val="bg1">
                <a:lumMod val="65000"/>
              </a:schemeClr>
            </a:solidFill>
          </c:spPr>
          <c:cat>
            <c:multiLvlStrRef>
              <c:f>'Graph NFB IHSG'!$H$7:$I$185</c:f>
              <c:multiLvlStrCache>
                <c:ptCount val="17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lvl>
                <c:lvl>
                  <c:pt idx="0">
                    <c:v>Januari</c:v>
                  </c:pt>
                  <c:pt idx="20">
                    <c:v>Februari</c:v>
                  </c:pt>
                  <c:pt idx="39">
                    <c:v>Maret</c:v>
                  </c:pt>
                  <c:pt idx="61">
                    <c:v>April</c:v>
                  </c:pt>
                  <c:pt idx="82">
                    <c:v>Mei</c:v>
                  </c:pt>
                  <c:pt idx="101">
                    <c:v>Juni</c:v>
                  </c:pt>
                  <c:pt idx="122">
                    <c:v>Juli</c:v>
                  </c:pt>
                  <c:pt idx="141">
                    <c:v>Agt</c:v>
                  </c:pt>
                  <c:pt idx="161">
                    <c:v>Sept</c:v>
                  </c:pt>
                </c:lvl>
              </c:multiLvlStrCache>
            </c:multiLvlStrRef>
          </c:cat>
          <c:val>
            <c:numRef>
              <c:f>'Graph NFB IHSG'!$L$7:$L$185</c:f>
              <c:numCache>
                <c:formatCode>_-* #,##0.0_-;\-* #,##0.0_-;_-* "-"_-;_-@_-</c:formatCode>
                <c:ptCount val="179"/>
                <c:pt idx="0">
                  <c:v>-148.39400000000001</c:v>
                </c:pt>
                <c:pt idx="1">
                  <c:v>-588.82399999999996</c:v>
                </c:pt>
                <c:pt idx="2">
                  <c:v>-591.81999999999937</c:v>
                </c:pt>
                <c:pt idx="3">
                  <c:v>-727.344999999999</c:v>
                </c:pt>
                <c:pt idx="4">
                  <c:v>167.76100000000011</c:v>
                </c:pt>
                <c:pt idx="5">
                  <c:v>99.851999999999975</c:v>
                </c:pt>
                <c:pt idx="6">
                  <c:v>-268.71399999999909</c:v>
                </c:pt>
                <c:pt idx="7">
                  <c:v>-891.94399999999996</c:v>
                </c:pt>
                <c:pt idx="8">
                  <c:v>-1512.0219999999999</c:v>
                </c:pt>
                <c:pt idx="9">
                  <c:v>-1845.443</c:v>
                </c:pt>
                <c:pt idx="10">
                  <c:v>-2550.5810000000001</c:v>
                </c:pt>
                <c:pt idx="11">
                  <c:v>-2888.228999999993</c:v>
                </c:pt>
                <c:pt idx="12">
                  <c:v>-2670.143</c:v>
                </c:pt>
                <c:pt idx="13">
                  <c:v>-2919.9300000000012</c:v>
                </c:pt>
                <c:pt idx="14">
                  <c:v>-1308.355</c:v>
                </c:pt>
                <c:pt idx="15">
                  <c:v>-531.72199999999941</c:v>
                </c:pt>
                <c:pt idx="16">
                  <c:v>115.8060000000003</c:v>
                </c:pt>
                <c:pt idx="17">
                  <c:v>-308.21399999999892</c:v>
                </c:pt>
                <c:pt idx="18">
                  <c:v>-338.78199999999879</c:v>
                </c:pt>
                <c:pt idx="19">
                  <c:v>212.19000000000031</c:v>
                </c:pt>
                <c:pt idx="20">
                  <c:v>218.8870000000006</c:v>
                </c:pt>
                <c:pt idx="21">
                  <c:v>554.17000000000053</c:v>
                </c:pt>
                <c:pt idx="22">
                  <c:v>1427.655</c:v>
                </c:pt>
                <c:pt idx="23">
                  <c:v>1516.7</c:v>
                </c:pt>
                <c:pt idx="24">
                  <c:v>2705.0810000000001</c:v>
                </c:pt>
                <c:pt idx="25">
                  <c:v>3070.442</c:v>
                </c:pt>
                <c:pt idx="26">
                  <c:v>3327.9580000000001</c:v>
                </c:pt>
                <c:pt idx="27">
                  <c:v>3933.4970000000012</c:v>
                </c:pt>
                <c:pt idx="28">
                  <c:v>4875.8290000000034</c:v>
                </c:pt>
                <c:pt idx="29">
                  <c:v>6160.3920000000044</c:v>
                </c:pt>
                <c:pt idx="30">
                  <c:v>6778.3720000000012</c:v>
                </c:pt>
                <c:pt idx="31">
                  <c:v>6941.973</c:v>
                </c:pt>
                <c:pt idx="32">
                  <c:v>6555.5920000000024</c:v>
                </c:pt>
                <c:pt idx="33">
                  <c:v>7441.7080000000014</c:v>
                </c:pt>
                <c:pt idx="34">
                  <c:v>8149.8970000000008</c:v>
                </c:pt>
                <c:pt idx="35">
                  <c:v>8571.1360000000004</c:v>
                </c:pt>
                <c:pt idx="36">
                  <c:v>9364.4930000000004</c:v>
                </c:pt>
                <c:pt idx="37">
                  <c:v>10608.682000000001</c:v>
                </c:pt>
                <c:pt idx="38">
                  <c:v>10819.902</c:v>
                </c:pt>
                <c:pt idx="39">
                  <c:v>11448.759</c:v>
                </c:pt>
                <c:pt idx="40">
                  <c:v>11738.07599999997</c:v>
                </c:pt>
                <c:pt idx="41">
                  <c:v>11755.73900000001</c:v>
                </c:pt>
                <c:pt idx="42">
                  <c:v>11547.538</c:v>
                </c:pt>
                <c:pt idx="43">
                  <c:v>11713.298000000001</c:v>
                </c:pt>
                <c:pt idx="44">
                  <c:v>11438.49</c:v>
                </c:pt>
                <c:pt idx="45">
                  <c:v>10953.527</c:v>
                </c:pt>
                <c:pt idx="46">
                  <c:v>9946.1340000000091</c:v>
                </c:pt>
                <c:pt idx="47">
                  <c:v>9807.8649999999707</c:v>
                </c:pt>
                <c:pt idx="48">
                  <c:v>9343.3079999999627</c:v>
                </c:pt>
                <c:pt idx="49">
                  <c:v>8578.2489999999871</c:v>
                </c:pt>
                <c:pt idx="50">
                  <c:v>7895.2640000000019</c:v>
                </c:pt>
                <c:pt idx="51">
                  <c:v>7489.7440000000024</c:v>
                </c:pt>
                <c:pt idx="52">
                  <c:v>7979.8510000000024</c:v>
                </c:pt>
                <c:pt idx="53">
                  <c:v>7344.7810000000027</c:v>
                </c:pt>
                <c:pt idx="54">
                  <c:v>6950.7670000000026</c:v>
                </c:pt>
                <c:pt idx="55">
                  <c:v>5997.4050000000016</c:v>
                </c:pt>
                <c:pt idx="56">
                  <c:v>5599.992000000002</c:v>
                </c:pt>
                <c:pt idx="57">
                  <c:v>5272.1960000000054</c:v>
                </c:pt>
                <c:pt idx="58">
                  <c:v>4689.3420000000024</c:v>
                </c:pt>
                <c:pt idx="59">
                  <c:v>4511.4369999999999</c:v>
                </c:pt>
                <c:pt idx="60">
                  <c:v>5393.5210000000034</c:v>
                </c:pt>
                <c:pt idx="61">
                  <c:v>5883.7830000000004</c:v>
                </c:pt>
                <c:pt idx="62">
                  <c:v>6153.1510000000044</c:v>
                </c:pt>
                <c:pt idx="63">
                  <c:v>6618.7430000000004</c:v>
                </c:pt>
                <c:pt idx="64">
                  <c:v>7097.4650000000011</c:v>
                </c:pt>
                <c:pt idx="65">
                  <c:v>7355.5740000000014</c:v>
                </c:pt>
                <c:pt idx="66">
                  <c:v>6993.2350000000006</c:v>
                </c:pt>
                <c:pt idx="67">
                  <c:v>6918.3510000000024</c:v>
                </c:pt>
                <c:pt idx="68">
                  <c:v>6236.0030000000024</c:v>
                </c:pt>
                <c:pt idx="69">
                  <c:v>5719.3970000000018</c:v>
                </c:pt>
                <c:pt idx="70">
                  <c:v>5064.6110000000044</c:v>
                </c:pt>
                <c:pt idx="71">
                  <c:v>4904.1510000000044</c:v>
                </c:pt>
                <c:pt idx="72">
                  <c:v>4327.2990000000018</c:v>
                </c:pt>
                <c:pt idx="73">
                  <c:v>19402.252</c:v>
                </c:pt>
                <c:pt idx="74">
                  <c:v>19555.59800000002</c:v>
                </c:pt>
                <c:pt idx="75">
                  <c:v>19396.014999999999</c:v>
                </c:pt>
                <c:pt idx="76">
                  <c:v>18640.130999999939</c:v>
                </c:pt>
                <c:pt idx="77">
                  <c:v>18379.06500000001</c:v>
                </c:pt>
                <c:pt idx="78">
                  <c:v>16136.86599999996</c:v>
                </c:pt>
                <c:pt idx="79">
                  <c:v>14318.824000000001</c:v>
                </c:pt>
                <c:pt idx="80">
                  <c:v>12613.448</c:v>
                </c:pt>
                <c:pt idx="81">
                  <c:v>11289.777</c:v>
                </c:pt>
                <c:pt idx="82">
                  <c:v>11270.878000000001</c:v>
                </c:pt>
                <c:pt idx="83">
                  <c:v>11725.81799999997</c:v>
                </c:pt>
                <c:pt idx="84">
                  <c:v>10898.754000000001</c:v>
                </c:pt>
                <c:pt idx="85">
                  <c:v>10548.263000000001</c:v>
                </c:pt>
                <c:pt idx="86">
                  <c:v>10449.758</c:v>
                </c:pt>
                <c:pt idx="87">
                  <c:v>10383.088</c:v>
                </c:pt>
                <c:pt idx="88">
                  <c:v>9985.5890000000036</c:v>
                </c:pt>
                <c:pt idx="89">
                  <c:v>9605.5490000000027</c:v>
                </c:pt>
                <c:pt idx="90">
                  <c:v>9445.336000000003</c:v>
                </c:pt>
                <c:pt idx="91">
                  <c:v>8995.0970000000034</c:v>
                </c:pt>
                <c:pt idx="92">
                  <c:v>8565.8430000000026</c:v>
                </c:pt>
                <c:pt idx="93">
                  <c:v>8465.7670000000035</c:v>
                </c:pt>
                <c:pt idx="94">
                  <c:v>8788.8059999999678</c:v>
                </c:pt>
                <c:pt idx="95">
                  <c:v>8272.2510000000038</c:v>
                </c:pt>
                <c:pt idx="96">
                  <c:v>8132.0379999999996</c:v>
                </c:pt>
                <c:pt idx="97">
                  <c:v>8264.5749999999825</c:v>
                </c:pt>
                <c:pt idx="98">
                  <c:v>8484.7020000000048</c:v>
                </c:pt>
                <c:pt idx="99">
                  <c:v>8001.8150000000051</c:v>
                </c:pt>
                <c:pt idx="100">
                  <c:v>7829.4960000000046</c:v>
                </c:pt>
                <c:pt idx="101">
                  <c:v>7804.8080000000054</c:v>
                </c:pt>
                <c:pt idx="102">
                  <c:v>7283.1970000000047</c:v>
                </c:pt>
                <c:pt idx="103">
                  <c:v>6898.0410000000047</c:v>
                </c:pt>
                <c:pt idx="104">
                  <c:v>6503.6800000000048</c:v>
                </c:pt>
                <c:pt idx="105">
                  <c:v>6217.1660000000111</c:v>
                </c:pt>
                <c:pt idx="106">
                  <c:v>5194.1410000000051</c:v>
                </c:pt>
                <c:pt idx="107">
                  <c:v>4693.4910000000054</c:v>
                </c:pt>
                <c:pt idx="108">
                  <c:v>4019.6310000000062</c:v>
                </c:pt>
                <c:pt idx="109">
                  <c:v>3592.9610000000048</c:v>
                </c:pt>
                <c:pt idx="110">
                  <c:v>3606.902000000005</c:v>
                </c:pt>
                <c:pt idx="111">
                  <c:v>3806.7470000000048</c:v>
                </c:pt>
                <c:pt idx="112">
                  <c:v>3403.5110000000068</c:v>
                </c:pt>
                <c:pt idx="113">
                  <c:v>3575.0240000000049</c:v>
                </c:pt>
                <c:pt idx="114">
                  <c:v>4171.4060000000036</c:v>
                </c:pt>
                <c:pt idx="115">
                  <c:v>4108.0800000000036</c:v>
                </c:pt>
                <c:pt idx="116">
                  <c:v>3994.2020000000039</c:v>
                </c:pt>
                <c:pt idx="117">
                  <c:v>3912.0760000000041</c:v>
                </c:pt>
                <c:pt idx="118">
                  <c:v>3761.7730000000038</c:v>
                </c:pt>
                <c:pt idx="119">
                  <c:v>3895.4590000000062</c:v>
                </c:pt>
                <c:pt idx="120">
                  <c:v>3501.1420000000039</c:v>
                </c:pt>
                <c:pt idx="121">
                  <c:v>3740.3340000000062</c:v>
                </c:pt>
                <c:pt idx="122">
                  <c:v>3528.906000000004</c:v>
                </c:pt>
                <c:pt idx="123">
                  <c:v>3726.283000000004</c:v>
                </c:pt>
                <c:pt idx="124">
                  <c:v>3890.0430000000042</c:v>
                </c:pt>
                <c:pt idx="125">
                  <c:v>3715.5120000000052</c:v>
                </c:pt>
                <c:pt idx="126">
                  <c:v>3573.6620000000039</c:v>
                </c:pt>
                <c:pt idx="127">
                  <c:v>3633.6790000000042</c:v>
                </c:pt>
                <c:pt idx="128">
                  <c:v>3150.7080000000042</c:v>
                </c:pt>
                <c:pt idx="129">
                  <c:v>4532.3480000000054</c:v>
                </c:pt>
                <c:pt idx="130">
                  <c:v>4422.2570000000014</c:v>
                </c:pt>
                <c:pt idx="131">
                  <c:v>4439.8840000000046</c:v>
                </c:pt>
                <c:pt idx="132">
                  <c:v>4148.6130000000048</c:v>
                </c:pt>
                <c:pt idx="133">
                  <c:v>4244.3650000000052</c:v>
                </c:pt>
                <c:pt idx="134">
                  <c:v>4106.4290000000074</c:v>
                </c:pt>
                <c:pt idx="135">
                  <c:v>3982.5910000000072</c:v>
                </c:pt>
                <c:pt idx="136">
                  <c:v>3406.045000000006</c:v>
                </c:pt>
                <c:pt idx="137">
                  <c:v>2878.7200000000062</c:v>
                </c:pt>
                <c:pt idx="138">
                  <c:v>3245.3560000000061</c:v>
                </c:pt>
                <c:pt idx="139">
                  <c:v>3531.5970000000061</c:v>
                </c:pt>
                <c:pt idx="140">
                  <c:v>3872.6170000000061</c:v>
                </c:pt>
                <c:pt idx="141">
                  <c:v>4200.6070000000054</c:v>
                </c:pt>
                <c:pt idx="142">
                  <c:v>3668.7960000000048</c:v>
                </c:pt>
                <c:pt idx="143">
                  <c:v>3479.9180000000051</c:v>
                </c:pt>
                <c:pt idx="144">
                  <c:v>3227.674000000005</c:v>
                </c:pt>
                <c:pt idx="145">
                  <c:v>2967.95100000001</c:v>
                </c:pt>
                <c:pt idx="146">
                  <c:v>2853.5750000000062</c:v>
                </c:pt>
                <c:pt idx="147">
                  <c:v>2268.9330000000082</c:v>
                </c:pt>
                <c:pt idx="148">
                  <c:v>1505.165000000005</c:v>
                </c:pt>
                <c:pt idx="149">
                  <c:v>337.28100000000381</c:v>
                </c:pt>
                <c:pt idx="150">
                  <c:v>-83.539999999995644</c:v>
                </c:pt>
                <c:pt idx="151">
                  <c:v>-597.29799999999557</c:v>
                </c:pt>
                <c:pt idx="152">
                  <c:v>-1035.793999999996</c:v>
                </c:pt>
                <c:pt idx="153">
                  <c:v>-3608.897999999996</c:v>
                </c:pt>
                <c:pt idx="154">
                  <c:v>-4378.9920000000002</c:v>
                </c:pt>
                <c:pt idx="155">
                  <c:v>-5113.2060000000001</c:v>
                </c:pt>
                <c:pt idx="156">
                  <c:v>-5810.4989999999934</c:v>
                </c:pt>
                <c:pt idx="157">
                  <c:v>-6338.0820000000003</c:v>
                </c:pt>
                <c:pt idx="158">
                  <c:v>-6119.4949999999944</c:v>
                </c:pt>
                <c:pt idx="159">
                  <c:v>-6259.9859999999944</c:v>
                </c:pt>
                <c:pt idx="160">
                  <c:v>-5946.9169999999949</c:v>
                </c:pt>
                <c:pt idx="161">
                  <c:v>-6179.5830000000014</c:v>
                </c:pt>
                <c:pt idx="162">
                  <c:v>-6732.6110000000044</c:v>
                </c:pt>
                <c:pt idx="163">
                  <c:v>-7032.1849999999949</c:v>
                </c:pt>
                <c:pt idx="164">
                  <c:v>-7090.8330000000014</c:v>
                </c:pt>
                <c:pt idx="165">
                  <c:v>-7579.7649999999949</c:v>
                </c:pt>
                <c:pt idx="166">
                  <c:v>-8293.3879999999572</c:v>
                </c:pt>
                <c:pt idx="167">
                  <c:v>-8721.8029999999671</c:v>
                </c:pt>
                <c:pt idx="168">
                  <c:v>-8856.0809999999692</c:v>
                </c:pt>
                <c:pt idx="169">
                  <c:v>-8913.6619999999712</c:v>
                </c:pt>
                <c:pt idx="170">
                  <c:v>-8812.4279999999671</c:v>
                </c:pt>
                <c:pt idx="171">
                  <c:v>-9065.4329999999809</c:v>
                </c:pt>
                <c:pt idx="172">
                  <c:v>-9444.103999999983</c:v>
                </c:pt>
                <c:pt idx="173">
                  <c:v>-10122.813999999969</c:v>
                </c:pt>
                <c:pt idx="174">
                  <c:v>-10586.84599999996</c:v>
                </c:pt>
                <c:pt idx="175">
                  <c:v>-11036.467999999961</c:v>
                </c:pt>
                <c:pt idx="176">
                  <c:v>-11417.29999999999</c:v>
                </c:pt>
                <c:pt idx="177">
                  <c:v>-12107.71999999999</c:v>
                </c:pt>
                <c:pt idx="178">
                  <c:v>-12628.481999999971</c:v>
                </c:pt>
              </c:numCache>
            </c:numRef>
          </c:val>
        </c:ser>
        <c:dLbls>
          <c:showLegendKey val="0"/>
          <c:showVal val="0"/>
          <c:showCatName val="0"/>
          <c:showSerName val="0"/>
          <c:showPercent val="0"/>
          <c:showBubbleSize val="0"/>
        </c:dLbls>
        <c:axId val="124259712"/>
        <c:axId val="124273792"/>
      </c:areaChart>
      <c:barChart>
        <c:barDir val="col"/>
        <c:grouping val="clustered"/>
        <c:varyColors val="0"/>
        <c:ser>
          <c:idx val="1"/>
          <c:order val="1"/>
          <c:tx>
            <c:strRef>
              <c:f>'Graph NFB IHSG'!$K$5</c:f>
              <c:strCache>
                <c:ptCount val="1"/>
                <c:pt idx="0">
                  <c:v>NFB Kumulatif/bulan</c:v>
                </c:pt>
              </c:strCache>
            </c:strRef>
          </c:tx>
          <c:spPr>
            <a:solidFill>
              <a:schemeClr val="accent6">
                <a:lumMod val="50000"/>
                <a:alpha val="51000"/>
              </a:schemeClr>
            </a:solidFill>
          </c:spPr>
          <c:invertIfNegative val="0"/>
          <c:dLbls>
            <c:dLbl>
              <c:idx val="10"/>
              <c:layout/>
              <c:showLegendKey val="0"/>
              <c:showVal val="1"/>
              <c:showCatName val="0"/>
              <c:showSerName val="0"/>
              <c:showPercent val="0"/>
              <c:showBubbleSize val="0"/>
              <c:extLst>
                <c:ext xmlns:c15="http://schemas.microsoft.com/office/drawing/2012/chart" uri="{CE6537A1-D6FC-4f65-9D91-7224C49458BB}">
                  <c15:layout/>
                </c:ext>
              </c:extLst>
            </c:dLbl>
            <c:dLbl>
              <c:idx val="22"/>
              <c:layout>
                <c:manualLayout>
                  <c:x val="3.6111111111111101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52"/>
              <c:layout/>
              <c:showLegendKey val="0"/>
              <c:showVal val="1"/>
              <c:showCatName val="0"/>
              <c:showSerName val="0"/>
              <c:showPercent val="0"/>
              <c:showBubbleSize val="0"/>
              <c:extLst>
                <c:ext xmlns:c15="http://schemas.microsoft.com/office/drawing/2012/chart" uri="{CE6537A1-D6FC-4f65-9D91-7224C49458BB}">
                  <c15:layout/>
                </c:ext>
              </c:extLst>
            </c:dLbl>
            <c:dLbl>
              <c:idx val="70"/>
              <c:layout/>
              <c:showLegendKey val="0"/>
              <c:showVal val="1"/>
              <c:showCatName val="0"/>
              <c:showSerName val="0"/>
              <c:showPercent val="0"/>
              <c:showBubbleSize val="0"/>
              <c:extLst>
                <c:ext xmlns:c15="http://schemas.microsoft.com/office/drawing/2012/chart" uri="{CE6537A1-D6FC-4f65-9D91-7224C49458BB}">
                  <c15:layout/>
                </c:ext>
              </c:extLst>
            </c:dLbl>
            <c:dLbl>
              <c:idx val="92"/>
              <c:layout/>
              <c:showLegendKey val="0"/>
              <c:showVal val="1"/>
              <c:showCatName val="0"/>
              <c:showSerName val="0"/>
              <c:showPercent val="0"/>
              <c:showBubbleSize val="0"/>
              <c:extLst>
                <c:ext xmlns:c15="http://schemas.microsoft.com/office/drawing/2012/chart" uri="{CE6537A1-D6FC-4f65-9D91-7224C49458BB}">
                  <c15:layout/>
                </c:ext>
              </c:extLst>
            </c:dLbl>
            <c:dLbl>
              <c:idx val="111"/>
              <c:layout/>
              <c:showLegendKey val="0"/>
              <c:showVal val="1"/>
              <c:showCatName val="0"/>
              <c:showSerName val="0"/>
              <c:showPercent val="0"/>
              <c:showBubbleSize val="0"/>
              <c:extLst>
                <c:ext xmlns:c15="http://schemas.microsoft.com/office/drawing/2012/chart" uri="{CE6537A1-D6FC-4f65-9D91-7224C49458BB}">
                  <c15:layout/>
                </c:ext>
              </c:extLst>
            </c:dLbl>
            <c:dLbl>
              <c:idx val="124"/>
              <c:layout>
                <c:manualLayout>
                  <c:x val="2.75936227720667E-2"/>
                  <c:y val="1.05671825805073E-16"/>
                </c:manualLayout>
              </c:layout>
              <c:showLegendKey val="0"/>
              <c:showVal val="1"/>
              <c:showCatName val="0"/>
              <c:showSerName val="0"/>
              <c:showPercent val="0"/>
              <c:showBubbleSize val="0"/>
              <c:extLst>
                <c:ext xmlns:c15="http://schemas.microsoft.com/office/drawing/2012/chart" uri="{CE6537A1-D6FC-4f65-9D91-7224C49458BB}">
                  <c15:layout/>
                </c:ext>
              </c:extLst>
            </c:dLbl>
            <c:dLbl>
              <c:idx val="142"/>
              <c:layout>
                <c:manualLayout>
                  <c:x val="3.2568887193985999E-2"/>
                  <c:y val="2.943320227446820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8"/>
              <c:layout>
                <c:manualLayout>
                  <c:x val="5.7474506812916501E-3"/>
                  <c:y val="2.9433202274468202E-3"/>
                </c:manualLayout>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solidFill>
                <a:srgbClr val="800000"/>
              </a:solidFill>
              <a:ln>
                <a:noFill/>
              </a:ln>
            </c:spPr>
            <c:txPr>
              <a:bodyPr/>
              <a:lstStyle/>
              <a:p>
                <a:pPr>
                  <a:defRPr b="1">
                    <a:solidFill>
                      <a:schemeClr val="bg1"/>
                    </a:solidFill>
                  </a:defRPr>
                </a:pPr>
                <a:endParaRPr lang="id-ID"/>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Graph NFB IHSG'!$H$7:$I$185</c:f>
              <c:multiLvlStrCache>
                <c:ptCount val="17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lvl>
                <c:lvl>
                  <c:pt idx="0">
                    <c:v>Januari</c:v>
                  </c:pt>
                  <c:pt idx="20">
                    <c:v>Februari</c:v>
                  </c:pt>
                  <c:pt idx="39">
                    <c:v>Maret</c:v>
                  </c:pt>
                  <c:pt idx="61">
                    <c:v>April</c:v>
                  </c:pt>
                  <c:pt idx="82">
                    <c:v>Mei</c:v>
                  </c:pt>
                  <c:pt idx="101">
                    <c:v>Juni</c:v>
                  </c:pt>
                  <c:pt idx="122">
                    <c:v>Juli</c:v>
                  </c:pt>
                  <c:pt idx="141">
                    <c:v>Agt</c:v>
                  </c:pt>
                  <c:pt idx="161">
                    <c:v>Sept</c:v>
                  </c:pt>
                </c:lvl>
              </c:multiLvlStrCache>
            </c:multiLvlStrRef>
          </c:cat>
          <c:val>
            <c:numRef>
              <c:f>'Graph NFB IHSG'!$K$7:$K$185</c:f>
              <c:numCache>
                <c:formatCode>_-* #,##0.0_-;\-* #,##0.0_-;_-* "-"_-;_-@_-</c:formatCode>
                <c:ptCount val="179"/>
                <c:pt idx="0">
                  <c:v>212.19000000000031</c:v>
                </c:pt>
                <c:pt idx="1">
                  <c:v>212.19000000000031</c:v>
                </c:pt>
                <c:pt idx="2">
                  <c:v>212.19000000000031</c:v>
                </c:pt>
                <c:pt idx="3">
                  <c:v>212.19000000000031</c:v>
                </c:pt>
                <c:pt idx="4">
                  <c:v>212.19000000000031</c:v>
                </c:pt>
                <c:pt idx="5">
                  <c:v>212.19000000000031</c:v>
                </c:pt>
                <c:pt idx="6">
                  <c:v>212.19000000000031</c:v>
                </c:pt>
                <c:pt idx="7">
                  <c:v>212.19000000000031</c:v>
                </c:pt>
                <c:pt idx="8">
                  <c:v>212.19000000000031</c:v>
                </c:pt>
                <c:pt idx="9">
                  <c:v>212.19000000000031</c:v>
                </c:pt>
                <c:pt idx="10">
                  <c:v>212.19000000000031</c:v>
                </c:pt>
                <c:pt idx="11">
                  <c:v>212.19000000000031</c:v>
                </c:pt>
                <c:pt idx="12">
                  <c:v>212.19000000000031</c:v>
                </c:pt>
                <c:pt idx="13">
                  <c:v>212.19000000000031</c:v>
                </c:pt>
                <c:pt idx="14">
                  <c:v>212.19000000000031</c:v>
                </c:pt>
                <c:pt idx="15">
                  <c:v>212.19000000000031</c:v>
                </c:pt>
                <c:pt idx="16">
                  <c:v>212.19000000000031</c:v>
                </c:pt>
                <c:pt idx="17">
                  <c:v>212.19000000000031</c:v>
                </c:pt>
                <c:pt idx="18">
                  <c:v>212.19000000000031</c:v>
                </c:pt>
                <c:pt idx="19">
                  <c:v>212.19000000000031</c:v>
                </c:pt>
                <c:pt idx="20">
                  <c:v>10607.71200000001</c:v>
                </c:pt>
                <c:pt idx="21">
                  <c:v>10607.71200000001</c:v>
                </c:pt>
                <c:pt idx="22">
                  <c:v>10607.71200000001</c:v>
                </c:pt>
                <c:pt idx="23">
                  <c:v>10607.71200000001</c:v>
                </c:pt>
                <c:pt idx="24">
                  <c:v>10607.71200000001</c:v>
                </c:pt>
                <c:pt idx="25">
                  <c:v>10607.71200000001</c:v>
                </c:pt>
                <c:pt idx="26">
                  <c:v>10607.71200000001</c:v>
                </c:pt>
                <c:pt idx="27">
                  <c:v>10607.71200000001</c:v>
                </c:pt>
                <c:pt idx="28">
                  <c:v>10607.71200000001</c:v>
                </c:pt>
                <c:pt idx="29">
                  <c:v>10607.71200000001</c:v>
                </c:pt>
                <c:pt idx="30">
                  <c:v>10607.71200000001</c:v>
                </c:pt>
                <c:pt idx="31">
                  <c:v>10607.71200000001</c:v>
                </c:pt>
                <c:pt idx="32">
                  <c:v>10607.71200000001</c:v>
                </c:pt>
                <c:pt idx="33">
                  <c:v>10607.71200000001</c:v>
                </c:pt>
                <c:pt idx="34">
                  <c:v>10607.71200000001</c:v>
                </c:pt>
                <c:pt idx="35">
                  <c:v>10607.71200000001</c:v>
                </c:pt>
                <c:pt idx="36">
                  <c:v>10607.71200000001</c:v>
                </c:pt>
                <c:pt idx="37">
                  <c:v>10607.71200000001</c:v>
                </c:pt>
                <c:pt idx="38">
                  <c:v>10607.71200000001</c:v>
                </c:pt>
                <c:pt idx="39">
                  <c:v>-5426.3810000000003</c:v>
                </c:pt>
                <c:pt idx="40">
                  <c:v>-5426.3810000000003</c:v>
                </c:pt>
                <c:pt idx="41">
                  <c:v>-5426.3810000000003</c:v>
                </c:pt>
                <c:pt idx="42">
                  <c:v>-5426.3810000000003</c:v>
                </c:pt>
                <c:pt idx="43">
                  <c:v>-5426.3810000000003</c:v>
                </c:pt>
                <c:pt idx="44">
                  <c:v>-5426.3810000000003</c:v>
                </c:pt>
                <c:pt idx="45">
                  <c:v>-5426.3810000000003</c:v>
                </c:pt>
                <c:pt idx="46">
                  <c:v>-5426.3810000000003</c:v>
                </c:pt>
                <c:pt idx="47">
                  <c:v>-5426.3810000000003</c:v>
                </c:pt>
                <c:pt idx="48">
                  <c:v>-5426.3810000000003</c:v>
                </c:pt>
                <c:pt idx="49">
                  <c:v>-5426.3810000000003</c:v>
                </c:pt>
                <c:pt idx="50">
                  <c:v>-5426.3810000000003</c:v>
                </c:pt>
                <c:pt idx="51">
                  <c:v>-5426.3810000000003</c:v>
                </c:pt>
                <c:pt idx="52">
                  <c:v>-5426.3810000000003</c:v>
                </c:pt>
                <c:pt idx="53">
                  <c:v>-5426.3810000000003</c:v>
                </c:pt>
                <c:pt idx="54">
                  <c:v>-5426.3810000000003</c:v>
                </c:pt>
                <c:pt idx="55">
                  <c:v>-5426.3810000000003</c:v>
                </c:pt>
                <c:pt idx="56">
                  <c:v>-5426.3810000000003</c:v>
                </c:pt>
                <c:pt idx="57">
                  <c:v>-5426.3810000000003</c:v>
                </c:pt>
                <c:pt idx="58">
                  <c:v>-5426.3810000000003</c:v>
                </c:pt>
                <c:pt idx="59">
                  <c:v>-5426.3810000000003</c:v>
                </c:pt>
                <c:pt idx="60">
                  <c:v>-5426.3810000000003</c:v>
                </c:pt>
                <c:pt idx="61">
                  <c:v>5896.2560000000003</c:v>
                </c:pt>
                <c:pt idx="62">
                  <c:v>5896.2560000000003</c:v>
                </c:pt>
                <c:pt idx="63">
                  <c:v>5896.2560000000003</c:v>
                </c:pt>
                <c:pt idx="64">
                  <c:v>5896.2560000000003</c:v>
                </c:pt>
                <c:pt idx="65">
                  <c:v>5896.2560000000003</c:v>
                </c:pt>
                <c:pt idx="66">
                  <c:v>5896.2560000000003</c:v>
                </c:pt>
                <c:pt idx="67">
                  <c:v>5896.2560000000003</c:v>
                </c:pt>
                <c:pt idx="68">
                  <c:v>5896.2560000000003</c:v>
                </c:pt>
                <c:pt idx="69">
                  <c:v>5896.2560000000003</c:v>
                </c:pt>
                <c:pt idx="70">
                  <c:v>5896.2560000000003</c:v>
                </c:pt>
                <c:pt idx="71">
                  <c:v>5896.2560000000003</c:v>
                </c:pt>
                <c:pt idx="72">
                  <c:v>5896.2560000000003</c:v>
                </c:pt>
                <c:pt idx="73">
                  <c:v>5896.2560000000003</c:v>
                </c:pt>
                <c:pt idx="74">
                  <c:v>5896.2560000000003</c:v>
                </c:pt>
                <c:pt idx="75">
                  <c:v>5896.2560000000003</c:v>
                </c:pt>
                <c:pt idx="76">
                  <c:v>5896.2560000000003</c:v>
                </c:pt>
                <c:pt idx="77">
                  <c:v>5896.2560000000003</c:v>
                </c:pt>
                <c:pt idx="78">
                  <c:v>5896.2560000000003</c:v>
                </c:pt>
                <c:pt idx="79">
                  <c:v>5896.2560000000003</c:v>
                </c:pt>
                <c:pt idx="80">
                  <c:v>5896.2560000000003</c:v>
                </c:pt>
                <c:pt idx="81">
                  <c:v>5896.2560000000003</c:v>
                </c:pt>
                <c:pt idx="82">
                  <c:v>-3460.2809999999931</c:v>
                </c:pt>
                <c:pt idx="83">
                  <c:v>-3460.2809999999931</c:v>
                </c:pt>
                <c:pt idx="84">
                  <c:v>-3460.2809999999931</c:v>
                </c:pt>
                <c:pt idx="85">
                  <c:v>-3460.2809999999931</c:v>
                </c:pt>
                <c:pt idx="86">
                  <c:v>-3460.2809999999931</c:v>
                </c:pt>
                <c:pt idx="87">
                  <c:v>-3460.2809999999931</c:v>
                </c:pt>
                <c:pt idx="88">
                  <c:v>-3460.2809999999931</c:v>
                </c:pt>
                <c:pt idx="89">
                  <c:v>-3460.2809999999931</c:v>
                </c:pt>
                <c:pt idx="90">
                  <c:v>-3460.2809999999931</c:v>
                </c:pt>
                <c:pt idx="91">
                  <c:v>-3460.2809999999931</c:v>
                </c:pt>
                <c:pt idx="92">
                  <c:v>-3460.2809999999931</c:v>
                </c:pt>
                <c:pt idx="93">
                  <c:v>-3460.2809999999931</c:v>
                </c:pt>
                <c:pt idx="94">
                  <c:v>-3460.2809999999931</c:v>
                </c:pt>
                <c:pt idx="95">
                  <c:v>-3460.2809999999931</c:v>
                </c:pt>
                <c:pt idx="96">
                  <c:v>-3460.2809999999931</c:v>
                </c:pt>
                <c:pt idx="97">
                  <c:v>-3460.2809999999931</c:v>
                </c:pt>
                <c:pt idx="98">
                  <c:v>-3460.2809999999931</c:v>
                </c:pt>
                <c:pt idx="99">
                  <c:v>-3460.2809999999931</c:v>
                </c:pt>
                <c:pt idx="100">
                  <c:v>-3460.2809999999931</c:v>
                </c:pt>
                <c:pt idx="101">
                  <c:v>-4089.1620000000012</c:v>
                </c:pt>
                <c:pt idx="102">
                  <c:v>-4089.1620000000012</c:v>
                </c:pt>
                <c:pt idx="103">
                  <c:v>-4089.1620000000012</c:v>
                </c:pt>
                <c:pt idx="104">
                  <c:v>-4089.1620000000012</c:v>
                </c:pt>
                <c:pt idx="105">
                  <c:v>-4089.1620000000012</c:v>
                </c:pt>
                <c:pt idx="106">
                  <c:v>-4089.1620000000012</c:v>
                </c:pt>
                <c:pt idx="107">
                  <c:v>-4089.1620000000012</c:v>
                </c:pt>
                <c:pt idx="108">
                  <c:v>-4089.1620000000012</c:v>
                </c:pt>
                <c:pt idx="109">
                  <c:v>-4089.1620000000012</c:v>
                </c:pt>
                <c:pt idx="110">
                  <c:v>-4089.1620000000012</c:v>
                </c:pt>
                <c:pt idx="111">
                  <c:v>-4089.1620000000012</c:v>
                </c:pt>
                <c:pt idx="112">
                  <c:v>-4089.1620000000012</c:v>
                </c:pt>
                <c:pt idx="113">
                  <c:v>-4089.1620000000012</c:v>
                </c:pt>
                <c:pt idx="114">
                  <c:v>-4089.1620000000012</c:v>
                </c:pt>
                <c:pt idx="115">
                  <c:v>-4089.1620000000012</c:v>
                </c:pt>
                <c:pt idx="116">
                  <c:v>-4089.1620000000012</c:v>
                </c:pt>
                <c:pt idx="117">
                  <c:v>-4089.1620000000012</c:v>
                </c:pt>
                <c:pt idx="118">
                  <c:v>-4089.1620000000012</c:v>
                </c:pt>
                <c:pt idx="119">
                  <c:v>-4089.1620000000012</c:v>
                </c:pt>
                <c:pt idx="120">
                  <c:v>-4089.1620000000012</c:v>
                </c:pt>
                <c:pt idx="121">
                  <c:v>-4089.1620000000012</c:v>
                </c:pt>
                <c:pt idx="122">
                  <c:v>132.28299999999999</c:v>
                </c:pt>
                <c:pt idx="123">
                  <c:v>132.28299999999999</c:v>
                </c:pt>
                <c:pt idx="124">
                  <c:v>132.28299999999999</c:v>
                </c:pt>
                <c:pt idx="125">
                  <c:v>132.28299999999999</c:v>
                </c:pt>
                <c:pt idx="126">
                  <c:v>132.28299999999999</c:v>
                </c:pt>
                <c:pt idx="127">
                  <c:v>132.28299999999999</c:v>
                </c:pt>
                <c:pt idx="128">
                  <c:v>132.28299999999999</c:v>
                </c:pt>
                <c:pt idx="129">
                  <c:v>132.28299999999999</c:v>
                </c:pt>
                <c:pt idx="130">
                  <c:v>132.28299999999999</c:v>
                </c:pt>
                <c:pt idx="131">
                  <c:v>132.28299999999999</c:v>
                </c:pt>
                <c:pt idx="132">
                  <c:v>132.28299999999999</c:v>
                </c:pt>
                <c:pt idx="133">
                  <c:v>132.28299999999999</c:v>
                </c:pt>
                <c:pt idx="134">
                  <c:v>132.28299999999999</c:v>
                </c:pt>
                <c:pt idx="135">
                  <c:v>132.28299999999999</c:v>
                </c:pt>
                <c:pt idx="136">
                  <c:v>132.28299999999999</c:v>
                </c:pt>
                <c:pt idx="137">
                  <c:v>132.28299999999999</c:v>
                </c:pt>
                <c:pt idx="138">
                  <c:v>132.28299999999999</c:v>
                </c:pt>
                <c:pt idx="139">
                  <c:v>132.28299999999999</c:v>
                </c:pt>
                <c:pt idx="140">
                  <c:v>132.28299999999999</c:v>
                </c:pt>
                <c:pt idx="141">
                  <c:v>-9819.5339999999851</c:v>
                </c:pt>
                <c:pt idx="142">
                  <c:v>-9819.5339999999851</c:v>
                </c:pt>
                <c:pt idx="143">
                  <c:v>-9819.5339999999851</c:v>
                </c:pt>
                <c:pt idx="144">
                  <c:v>-9819.5339999999851</c:v>
                </c:pt>
                <c:pt idx="145">
                  <c:v>-9819.5339999999851</c:v>
                </c:pt>
                <c:pt idx="146">
                  <c:v>-9819.5339999999851</c:v>
                </c:pt>
                <c:pt idx="147">
                  <c:v>-9819.5339999999851</c:v>
                </c:pt>
                <c:pt idx="148">
                  <c:v>-9819.5339999999851</c:v>
                </c:pt>
                <c:pt idx="149">
                  <c:v>-9819.5339999999851</c:v>
                </c:pt>
                <c:pt idx="150">
                  <c:v>-9819.5339999999851</c:v>
                </c:pt>
                <c:pt idx="151">
                  <c:v>-9819.5339999999851</c:v>
                </c:pt>
                <c:pt idx="152">
                  <c:v>-9819.5339999999851</c:v>
                </c:pt>
                <c:pt idx="153">
                  <c:v>-9819.5339999999851</c:v>
                </c:pt>
                <c:pt idx="154">
                  <c:v>-9819.5339999999851</c:v>
                </c:pt>
                <c:pt idx="155">
                  <c:v>-9819.5339999999851</c:v>
                </c:pt>
                <c:pt idx="156">
                  <c:v>-9819.5339999999851</c:v>
                </c:pt>
                <c:pt idx="157">
                  <c:v>-9819.5339999999851</c:v>
                </c:pt>
                <c:pt idx="158">
                  <c:v>-9819.5339999999851</c:v>
                </c:pt>
                <c:pt idx="159">
                  <c:v>-9819.5339999999851</c:v>
                </c:pt>
                <c:pt idx="160">
                  <c:v>-9819.5339999999851</c:v>
                </c:pt>
                <c:pt idx="161">
                  <c:v>-6681.5650000000014</c:v>
                </c:pt>
                <c:pt idx="162">
                  <c:v>-6681.5650000000014</c:v>
                </c:pt>
                <c:pt idx="163">
                  <c:v>-6681.5650000000014</c:v>
                </c:pt>
                <c:pt idx="164">
                  <c:v>-6681.5650000000014</c:v>
                </c:pt>
                <c:pt idx="165">
                  <c:v>-6681.5650000000014</c:v>
                </c:pt>
                <c:pt idx="166">
                  <c:v>-6681.5650000000014</c:v>
                </c:pt>
                <c:pt idx="167">
                  <c:v>-6681.5650000000014</c:v>
                </c:pt>
                <c:pt idx="168">
                  <c:v>-6681.5650000000014</c:v>
                </c:pt>
                <c:pt idx="169">
                  <c:v>-6681.5650000000014</c:v>
                </c:pt>
                <c:pt idx="170">
                  <c:v>-6681.5650000000014</c:v>
                </c:pt>
                <c:pt idx="171">
                  <c:v>-6681.5650000000014</c:v>
                </c:pt>
                <c:pt idx="172">
                  <c:v>-6681.5650000000014</c:v>
                </c:pt>
                <c:pt idx="173">
                  <c:v>-6681.5650000000014</c:v>
                </c:pt>
                <c:pt idx="174">
                  <c:v>-6681.5650000000014</c:v>
                </c:pt>
                <c:pt idx="175">
                  <c:v>-6681.5650000000014</c:v>
                </c:pt>
                <c:pt idx="176">
                  <c:v>-6681.5650000000014</c:v>
                </c:pt>
                <c:pt idx="177">
                  <c:v>-6681.5650000000014</c:v>
                </c:pt>
                <c:pt idx="178">
                  <c:v>-6681.5650000000014</c:v>
                </c:pt>
              </c:numCache>
            </c:numRef>
          </c:val>
        </c:ser>
        <c:dLbls>
          <c:showLegendKey val="0"/>
          <c:showVal val="0"/>
          <c:showCatName val="0"/>
          <c:showSerName val="0"/>
          <c:showPercent val="0"/>
          <c:showBubbleSize val="0"/>
        </c:dLbls>
        <c:gapWidth val="0"/>
        <c:axId val="124259712"/>
        <c:axId val="124273792"/>
      </c:barChart>
      <c:lineChart>
        <c:grouping val="standard"/>
        <c:varyColors val="0"/>
        <c:ser>
          <c:idx val="0"/>
          <c:order val="0"/>
          <c:tx>
            <c:strRef>
              <c:f>'Graph NFB IHSG'!$J$5</c:f>
              <c:strCache>
                <c:ptCount val="1"/>
                <c:pt idx="0">
                  <c:v>IHSG - RHS</c:v>
                </c:pt>
              </c:strCache>
            </c:strRef>
          </c:tx>
          <c:spPr>
            <a:ln>
              <a:solidFill>
                <a:srgbClr val="0000FF"/>
              </a:solidFill>
            </a:ln>
          </c:spPr>
          <c:marker>
            <c:symbol val="none"/>
          </c:marker>
          <c:dLbls>
            <c:dLbl>
              <c:idx val="0"/>
              <c:layout>
                <c:manualLayout>
                  <c:x val="-9.2938122383554294E-3"/>
                  <c:y val="-4.120648318425530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0"/>
              <c:layout>
                <c:manualLayout>
                  <c:x val="-4.64690611917771E-2"/>
                  <c:y val="-5.297976409404250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96"/>
              <c:layout>
                <c:manualLayout>
                  <c:x val="-4.64690611917771E-2"/>
                  <c:y val="-4.414980341170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24"/>
              <c:layout>
                <c:manualLayout>
                  <c:x val="-3.5316486505750498E-2"/>
                  <c:y val="-3.237652250191490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55"/>
              <c:layout>
                <c:manualLayout>
                  <c:x val="-5.0186586087119199E-2"/>
                  <c:y val="4.120648318425520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78"/>
              <c:layout/>
              <c:showLegendKey val="0"/>
              <c:showVal val="1"/>
              <c:showCatName val="0"/>
              <c:showSerName val="0"/>
              <c:showPercent val="0"/>
              <c:showBubbleSize val="0"/>
              <c:extLst>
                <c:ext xmlns:c15="http://schemas.microsoft.com/office/drawing/2012/chart" uri="{CE6537A1-D6FC-4f65-9D91-7224C49458BB}">
                  <c15:layout/>
                </c:ext>
              </c:extLst>
            </c:dLbl>
            <c:numFmt formatCode="#,##0" sourceLinked="0"/>
            <c:spPr>
              <a:solidFill>
                <a:srgbClr val="0000FF"/>
              </a:solidFill>
            </c:spPr>
            <c:txPr>
              <a:bodyPr/>
              <a:lstStyle/>
              <a:p>
                <a:pPr>
                  <a:defRPr b="1">
                    <a:solidFill>
                      <a:schemeClr val="bg1"/>
                    </a:solidFill>
                  </a:defRPr>
                </a:pPr>
                <a:endParaRPr lang="id-ID"/>
              </a:p>
            </c:txPr>
            <c:showLegendKey val="0"/>
            <c:showVal val="0"/>
            <c:showCatName val="0"/>
            <c:showSerName val="0"/>
            <c:showPercent val="0"/>
            <c:showBubbleSize val="0"/>
            <c:extLst>
              <c:ext xmlns:c15="http://schemas.microsoft.com/office/drawing/2012/chart" uri="{CE6537A1-D6FC-4f65-9D91-7224C49458BB}">
                <c15:showLeaderLines val="0"/>
              </c:ext>
            </c:extLst>
          </c:dLbls>
          <c:cat>
            <c:multiLvlStrRef>
              <c:f>'Graph NFB IHSG'!$H$7:$I$185</c:f>
              <c:multiLvlStrCache>
                <c:ptCount val="179"/>
                <c:lvl>
                  <c:pt idx="0">
                    <c:v>5</c:v>
                  </c:pt>
                  <c:pt idx="1">
                    <c:v>6</c:v>
                  </c:pt>
                  <c:pt idx="2">
                    <c:v>7</c:v>
                  </c:pt>
                  <c:pt idx="3">
                    <c:v>8</c:v>
                  </c:pt>
                  <c:pt idx="4">
                    <c:v>9</c:v>
                  </c:pt>
                  <c:pt idx="5">
                    <c:v>12</c:v>
                  </c:pt>
                  <c:pt idx="6">
                    <c:v>13</c:v>
                  </c:pt>
                  <c:pt idx="7">
                    <c:v>14</c:v>
                  </c:pt>
                  <c:pt idx="8">
                    <c:v>15</c:v>
                  </c:pt>
                  <c:pt idx="9">
                    <c:v>16</c:v>
                  </c:pt>
                  <c:pt idx="10">
                    <c:v>19</c:v>
                  </c:pt>
                  <c:pt idx="11">
                    <c:v>20</c:v>
                  </c:pt>
                  <c:pt idx="12">
                    <c:v>21</c:v>
                  </c:pt>
                  <c:pt idx="13">
                    <c:v>22</c:v>
                  </c:pt>
                  <c:pt idx="14">
                    <c:v>23</c:v>
                  </c:pt>
                  <c:pt idx="15">
                    <c:v>26</c:v>
                  </c:pt>
                  <c:pt idx="16">
                    <c:v>27</c:v>
                  </c:pt>
                  <c:pt idx="17">
                    <c:v>28</c:v>
                  </c:pt>
                  <c:pt idx="18">
                    <c:v>29</c:v>
                  </c:pt>
                  <c:pt idx="19">
                    <c:v>30</c:v>
                  </c:pt>
                  <c:pt idx="20">
                    <c:v>2</c:v>
                  </c:pt>
                  <c:pt idx="21">
                    <c:v>3</c:v>
                  </c:pt>
                  <c:pt idx="22">
                    <c:v>4</c:v>
                  </c:pt>
                  <c:pt idx="23">
                    <c:v>5</c:v>
                  </c:pt>
                  <c:pt idx="24">
                    <c:v>6</c:v>
                  </c:pt>
                  <c:pt idx="25">
                    <c:v>9</c:v>
                  </c:pt>
                  <c:pt idx="26">
                    <c:v>10</c:v>
                  </c:pt>
                  <c:pt idx="27">
                    <c:v>11</c:v>
                  </c:pt>
                  <c:pt idx="28">
                    <c:v>12</c:v>
                  </c:pt>
                  <c:pt idx="29">
                    <c:v>13</c:v>
                  </c:pt>
                  <c:pt idx="30">
                    <c:v>16</c:v>
                  </c:pt>
                  <c:pt idx="31">
                    <c:v>17</c:v>
                  </c:pt>
                  <c:pt idx="32">
                    <c:v>18</c:v>
                  </c:pt>
                  <c:pt idx="33">
                    <c:v>20</c:v>
                  </c:pt>
                  <c:pt idx="34">
                    <c:v>23</c:v>
                  </c:pt>
                  <c:pt idx="35">
                    <c:v>24</c:v>
                  </c:pt>
                  <c:pt idx="36">
                    <c:v>25</c:v>
                  </c:pt>
                  <c:pt idx="37">
                    <c:v>26</c:v>
                  </c:pt>
                  <c:pt idx="38">
                    <c:v>27</c:v>
                  </c:pt>
                  <c:pt idx="39">
                    <c:v>2</c:v>
                  </c:pt>
                  <c:pt idx="40">
                    <c:v>3</c:v>
                  </c:pt>
                  <c:pt idx="41">
                    <c:v>4</c:v>
                  </c:pt>
                  <c:pt idx="42">
                    <c:v>5</c:v>
                  </c:pt>
                  <c:pt idx="43">
                    <c:v>6</c:v>
                  </c:pt>
                  <c:pt idx="44">
                    <c:v>9</c:v>
                  </c:pt>
                  <c:pt idx="45">
                    <c:v>10</c:v>
                  </c:pt>
                  <c:pt idx="46">
                    <c:v>11</c:v>
                  </c:pt>
                  <c:pt idx="47">
                    <c:v>12</c:v>
                  </c:pt>
                  <c:pt idx="48">
                    <c:v>13</c:v>
                  </c:pt>
                  <c:pt idx="49">
                    <c:v>16</c:v>
                  </c:pt>
                  <c:pt idx="50">
                    <c:v>17</c:v>
                  </c:pt>
                  <c:pt idx="51">
                    <c:v>18</c:v>
                  </c:pt>
                  <c:pt idx="52">
                    <c:v>19</c:v>
                  </c:pt>
                  <c:pt idx="53">
                    <c:v>20</c:v>
                  </c:pt>
                  <c:pt idx="54">
                    <c:v>23</c:v>
                  </c:pt>
                  <c:pt idx="55">
                    <c:v>24</c:v>
                  </c:pt>
                  <c:pt idx="56">
                    <c:v>25</c:v>
                  </c:pt>
                  <c:pt idx="57">
                    <c:v>26</c:v>
                  </c:pt>
                  <c:pt idx="58">
                    <c:v>27</c:v>
                  </c:pt>
                  <c:pt idx="59">
                    <c:v>30</c:v>
                  </c:pt>
                  <c:pt idx="60">
                    <c:v>31</c:v>
                  </c:pt>
                  <c:pt idx="61">
                    <c:v>1</c:v>
                  </c:pt>
                  <c:pt idx="62">
                    <c:v>2</c:v>
                  </c:pt>
                  <c:pt idx="63">
                    <c:v>6</c:v>
                  </c:pt>
                  <c:pt idx="64">
                    <c:v>7</c:v>
                  </c:pt>
                  <c:pt idx="65">
                    <c:v>8</c:v>
                  </c:pt>
                  <c:pt idx="66">
                    <c:v>9</c:v>
                  </c:pt>
                  <c:pt idx="67">
                    <c:v>10</c:v>
                  </c:pt>
                  <c:pt idx="68">
                    <c:v>13</c:v>
                  </c:pt>
                  <c:pt idx="69">
                    <c:v>14</c:v>
                  </c:pt>
                  <c:pt idx="70">
                    <c:v>15</c:v>
                  </c:pt>
                  <c:pt idx="71">
                    <c:v>16</c:v>
                  </c:pt>
                  <c:pt idx="72">
                    <c:v>17</c:v>
                  </c:pt>
                  <c:pt idx="73">
                    <c:v>20</c:v>
                  </c:pt>
                  <c:pt idx="74">
                    <c:v>21</c:v>
                  </c:pt>
                  <c:pt idx="75">
                    <c:v>22</c:v>
                  </c:pt>
                  <c:pt idx="76">
                    <c:v>23</c:v>
                  </c:pt>
                  <c:pt idx="77">
                    <c:v>24</c:v>
                  </c:pt>
                  <c:pt idx="78">
                    <c:v>27</c:v>
                  </c:pt>
                  <c:pt idx="79">
                    <c:v>28</c:v>
                  </c:pt>
                  <c:pt idx="80">
                    <c:v>29</c:v>
                  </c:pt>
                  <c:pt idx="81">
                    <c:v>30</c:v>
                  </c:pt>
                  <c:pt idx="82">
                    <c:v>4</c:v>
                  </c:pt>
                  <c:pt idx="83">
                    <c:v>5</c:v>
                  </c:pt>
                  <c:pt idx="84">
                    <c:v>6</c:v>
                  </c:pt>
                  <c:pt idx="85">
                    <c:v>7</c:v>
                  </c:pt>
                  <c:pt idx="86">
                    <c:v>8</c:v>
                  </c:pt>
                  <c:pt idx="87">
                    <c:v>11</c:v>
                  </c:pt>
                  <c:pt idx="88">
                    <c:v>12</c:v>
                  </c:pt>
                  <c:pt idx="89">
                    <c:v>13</c:v>
                  </c:pt>
                  <c:pt idx="90">
                    <c:v>15</c:v>
                  </c:pt>
                  <c:pt idx="91">
                    <c:v>18</c:v>
                  </c:pt>
                  <c:pt idx="92">
                    <c:v>19</c:v>
                  </c:pt>
                  <c:pt idx="93">
                    <c:v>20</c:v>
                  </c:pt>
                  <c:pt idx="94">
                    <c:v>21</c:v>
                  </c:pt>
                  <c:pt idx="95">
                    <c:v>22</c:v>
                  </c:pt>
                  <c:pt idx="96">
                    <c:v>25</c:v>
                  </c:pt>
                  <c:pt idx="97">
                    <c:v>26</c:v>
                  </c:pt>
                  <c:pt idx="98">
                    <c:v>27</c:v>
                  </c:pt>
                  <c:pt idx="99">
                    <c:v>28</c:v>
                  </c:pt>
                  <c:pt idx="100">
                    <c:v>29</c:v>
                  </c:pt>
                  <c:pt idx="101">
                    <c:v>1</c:v>
                  </c:pt>
                  <c:pt idx="102">
                    <c:v>3</c:v>
                  </c:pt>
                  <c:pt idx="103">
                    <c:v>4</c:v>
                  </c:pt>
                  <c:pt idx="104">
                    <c:v>5</c:v>
                  </c:pt>
                  <c:pt idx="105">
                    <c:v>8</c:v>
                  </c:pt>
                  <c:pt idx="106">
                    <c:v>9</c:v>
                  </c:pt>
                  <c:pt idx="107">
                    <c:v>10</c:v>
                  </c:pt>
                  <c:pt idx="108">
                    <c:v>11</c:v>
                  </c:pt>
                  <c:pt idx="109">
                    <c:v>12</c:v>
                  </c:pt>
                  <c:pt idx="110">
                    <c:v>15</c:v>
                  </c:pt>
                  <c:pt idx="111">
                    <c:v>16</c:v>
                  </c:pt>
                  <c:pt idx="112">
                    <c:v>17</c:v>
                  </c:pt>
                  <c:pt idx="113">
                    <c:v>18</c:v>
                  </c:pt>
                  <c:pt idx="114">
                    <c:v>19</c:v>
                  </c:pt>
                  <c:pt idx="115">
                    <c:v>22</c:v>
                  </c:pt>
                  <c:pt idx="116">
                    <c:v>23</c:v>
                  </c:pt>
                  <c:pt idx="117">
                    <c:v>24</c:v>
                  </c:pt>
                  <c:pt idx="118">
                    <c:v>25</c:v>
                  </c:pt>
                  <c:pt idx="119">
                    <c:v>26</c:v>
                  </c:pt>
                  <c:pt idx="120">
                    <c:v>29</c:v>
                  </c:pt>
                  <c:pt idx="121">
                    <c:v>30</c:v>
                  </c:pt>
                  <c:pt idx="122">
                    <c:v>1</c:v>
                  </c:pt>
                  <c:pt idx="123">
                    <c:v>2</c:v>
                  </c:pt>
                  <c:pt idx="124">
                    <c:v>3</c:v>
                  </c:pt>
                  <c:pt idx="125">
                    <c:v>6</c:v>
                  </c:pt>
                  <c:pt idx="126">
                    <c:v>7</c:v>
                  </c:pt>
                  <c:pt idx="127">
                    <c:v>8</c:v>
                  </c:pt>
                  <c:pt idx="128">
                    <c:v>9</c:v>
                  </c:pt>
                  <c:pt idx="129">
                    <c:v>10</c:v>
                  </c:pt>
                  <c:pt idx="130">
                    <c:v>13</c:v>
                  </c:pt>
                  <c:pt idx="131">
                    <c:v>14</c:v>
                  </c:pt>
                  <c:pt idx="132">
                    <c:v>15</c:v>
                  </c:pt>
                  <c:pt idx="133">
                    <c:v>22</c:v>
                  </c:pt>
                  <c:pt idx="134">
                    <c:v>23</c:v>
                  </c:pt>
                  <c:pt idx="135">
                    <c:v>24</c:v>
                  </c:pt>
                  <c:pt idx="136">
                    <c:v>27</c:v>
                  </c:pt>
                  <c:pt idx="137">
                    <c:v>28</c:v>
                  </c:pt>
                  <c:pt idx="138">
                    <c:v>29</c:v>
                  </c:pt>
                  <c:pt idx="139">
                    <c:v>30</c:v>
                  </c:pt>
                  <c:pt idx="140">
                    <c:v>31</c:v>
                  </c:pt>
                  <c:pt idx="141">
                    <c:v>3</c:v>
                  </c:pt>
                  <c:pt idx="142">
                    <c:v>4</c:v>
                  </c:pt>
                  <c:pt idx="143">
                    <c:v>5</c:v>
                  </c:pt>
                  <c:pt idx="144">
                    <c:v>6</c:v>
                  </c:pt>
                  <c:pt idx="145">
                    <c:v>7</c:v>
                  </c:pt>
                  <c:pt idx="146">
                    <c:v>10</c:v>
                  </c:pt>
                  <c:pt idx="147">
                    <c:v>11</c:v>
                  </c:pt>
                  <c:pt idx="148">
                    <c:v>12</c:v>
                  </c:pt>
                  <c:pt idx="149">
                    <c:v>13</c:v>
                  </c:pt>
                  <c:pt idx="150">
                    <c:v>14</c:v>
                  </c:pt>
                  <c:pt idx="151">
                    <c:v>18</c:v>
                  </c:pt>
                  <c:pt idx="152">
                    <c:v>19</c:v>
                  </c:pt>
                  <c:pt idx="153">
                    <c:v>20</c:v>
                  </c:pt>
                  <c:pt idx="154">
                    <c:v>21</c:v>
                  </c:pt>
                  <c:pt idx="155">
                    <c:v>24</c:v>
                  </c:pt>
                  <c:pt idx="156">
                    <c:v>25</c:v>
                  </c:pt>
                  <c:pt idx="157">
                    <c:v>26</c:v>
                  </c:pt>
                  <c:pt idx="158">
                    <c:v>27</c:v>
                  </c:pt>
                  <c:pt idx="159">
                    <c:v>28</c:v>
                  </c:pt>
                  <c:pt idx="160">
                    <c:v>31</c:v>
                  </c:pt>
                  <c:pt idx="161">
                    <c:v>1</c:v>
                  </c:pt>
                  <c:pt idx="162">
                    <c:v>2</c:v>
                  </c:pt>
                  <c:pt idx="163">
                    <c:v>3</c:v>
                  </c:pt>
                  <c:pt idx="164">
                    <c:v>4</c:v>
                  </c:pt>
                  <c:pt idx="165">
                    <c:v>7</c:v>
                  </c:pt>
                  <c:pt idx="166">
                    <c:v>8</c:v>
                  </c:pt>
                  <c:pt idx="167">
                    <c:v>9</c:v>
                  </c:pt>
                  <c:pt idx="168">
                    <c:v>10</c:v>
                  </c:pt>
                  <c:pt idx="169">
                    <c:v>11</c:v>
                  </c:pt>
                  <c:pt idx="170">
                    <c:v>14</c:v>
                  </c:pt>
                  <c:pt idx="171">
                    <c:v>15</c:v>
                  </c:pt>
                  <c:pt idx="172">
                    <c:v>16</c:v>
                  </c:pt>
                  <c:pt idx="173">
                    <c:v>17</c:v>
                  </c:pt>
                  <c:pt idx="174">
                    <c:v>18</c:v>
                  </c:pt>
                  <c:pt idx="175">
                    <c:v>21</c:v>
                  </c:pt>
                  <c:pt idx="176">
                    <c:v>22</c:v>
                  </c:pt>
                  <c:pt idx="177">
                    <c:v>23</c:v>
                  </c:pt>
                  <c:pt idx="178">
                    <c:v>25</c:v>
                  </c:pt>
                </c:lvl>
                <c:lvl>
                  <c:pt idx="0">
                    <c:v>Januari</c:v>
                  </c:pt>
                  <c:pt idx="20">
                    <c:v>Februari</c:v>
                  </c:pt>
                  <c:pt idx="39">
                    <c:v>Maret</c:v>
                  </c:pt>
                  <c:pt idx="61">
                    <c:v>April</c:v>
                  </c:pt>
                  <c:pt idx="82">
                    <c:v>Mei</c:v>
                  </c:pt>
                  <c:pt idx="101">
                    <c:v>Juni</c:v>
                  </c:pt>
                  <c:pt idx="122">
                    <c:v>Juli</c:v>
                  </c:pt>
                  <c:pt idx="141">
                    <c:v>Agt</c:v>
                  </c:pt>
                  <c:pt idx="161">
                    <c:v>Sept</c:v>
                  </c:pt>
                </c:lvl>
              </c:multiLvlStrCache>
            </c:multiLvlStrRef>
          </c:cat>
          <c:val>
            <c:numRef>
              <c:f>'Graph NFB IHSG'!$J$7:$J$185</c:f>
              <c:numCache>
                <c:formatCode>_-* #,##0.0_-;\-* #,##0.0_-;_-* "-"_-;_-@_-</c:formatCode>
                <c:ptCount val="179"/>
                <c:pt idx="0">
                  <c:v>5219.9949999999999</c:v>
                </c:pt>
                <c:pt idx="1">
                  <c:v>5169.0600000000004</c:v>
                </c:pt>
                <c:pt idx="2">
                  <c:v>5207.1180000000004</c:v>
                </c:pt>
                <c:pt idx="3">
                  <c:v>5211.8280000000004</c:v>
                </c:pt>
                <c:pt idx="4">
                  <c:v>5216.6650000000054</c:v>
                </c:pt>
                <c:pt idx="5">
                  <c:v>5187.933</c:v>
                </c:pt>
                <c:pt idx="6">
                  <c:v>5214.3590000000004</c:v>
                </c:pt>
                <c:pt idx="7">
                  <c:v>5159.6680000000024</c:v>
                </c:pt>
                <c:pt idx="8">
                  <c:v>5188.7120000000004</c:v>
                </c:pt>
                <c:pt idx="9">
                  <c:v>5148.3789999999999</c:v>
                </c:pt>
                <c:pt idx="10">
                  <c:v>5152.0930000000017</c:v>
                </c:pt>
                <c:pt idx="11">
                  <c:v>5166.09</c:v>
                </c:pt>
                <c:pt idx="12">
                  <c:v>5215.2660000000014</c:v>
                </c:pt>
                <c:pt idx="13">
                  <c:v>5253.183</c:v>
                </c:pt>
                <c:pt idx="14">
                  <c:v>5323.8850000000002</c:v>
                </c:pt>
                <c:pt idx="15">
                  <c:v>5260.0240000000003</c:v>
                </c:pt>
                <c:pt idx="16">
                  <c:v>5277.1490000000003</c:v>
                </c:pt>
                <c:pt idx="17">
                  <c:v>5268.8520000000044</c:v>
                </c:pt>
                <c:pt idx="18">
                  <c:v>5262.7179999999998</c:v>
                </c:pt>
                <c:pt idx="19">
                  <c:v>5289.4040000000005</c:v>
                </c:pt>
                <c:pt idx="20">
                  <c:v>5276.2359999999999</c:v>
                </c:pt>
                <c:pt idx="21">
                  <c:v>5291.7179999999998</c:v>
                </c:pt>
                <c:pt idx="22">
                  <c:v>5315.2840000000006</c:v>
                </c:pt>
                <c:pt idx="23">
                  <c:v>5279.8950000000004</c:v>
                </c:pt>
                <c:pt idx="24">
                  <c:v>5342.5150000000003</c:v>
                </c:pt>
                <c:pt idx="25">
                  <c:v>5348.47</c:v>
                </c:pt>
                <c:pt idx="26">
                  <c:v>5321.4739999999974</c:v>
                </c:pt>
                <c:pt idx="27">
                  <c:v>5336.5190000000002</c:v>
                </c:pt>
                <c:pt idx="28">
                  <c:v>5343.4110000000001</c:v>
                </c:pt>
                <c:pt idx="29">
                  <c:v>5374.1650000000054</c:v>
                </c:pt>
                <c:pt idx="30">
                  <c:v>5325.4949999999999</c:v>
                </c:pt>
                <c:pt idx="31">
                  <c:v>5337.5010000000002</c:v>
                </c:pt>
                <c:pt idx="32">
                  <c:v>5390.4489999999996</c:v>
                </c:pt>
                <c:pt idx="33">
                  <c:v>5400.1040000000003</c:v>
                </c:pt>
                <c:pt idx="34">
                  <c:v>5403.277</c:v>
                </c:pt>
                <c:pt idx="35">
                  <c:v>5417.3140000000003</c:v>
                </c:pt>
                <c:pt idx="36">
                  <c:v>5445.1080000000002</c:v>
                </c:pt>
                <c:pt idx="37">
                  <c:v>5451.4220000000014</c:v>
                </c:pt>
                <c:pt idx="38">
                  <c:v>5450.2940000000008</c:v>
                </c:pt>
                <c:pt idx="39">
                  <c:v>5477.8310000000001</c:v>
                </c:pt>
                <c:pt idx="40">
                  <c:v>5474.6190000000024</c:v>
                </c:pt>
                <c:pt idx="41">
                  <c:v>5448.0590000000002</c:v>
                </c:pt>
                <c:pt idx="42">
                  <c:v>5450.9470000000001</c:v>
                </c:pt>
                <c:pt idx="43">
                  <c:v>5514.7870000000003</c:v>
                </c:pt>
                <c:pt idx="44">
                  <c:v>5444.634</c:v>
                </c:pt>
                <c:pt idx="45">
                  <c:v>5462.9280000000008</c:v>
                </c:pt>
                <c:pt idx="46">
                  <c:v>5419.5660000000034</c:v>
                </c:pt>
                <c:pt idx="47">
                  <c:v>5439.8320000000003</c:v>
                </c:pt>
                <c:pt idx="48">
                  <c:v>5426.4660000000003</c:v>
                </c:pt>
                <c:pt idx="49">
                  <c:v>5435.2709999999997</c:v>
                </c:pt>
                <c:pt idx="50">
                  <c:v>5439.1530000000002</c:v>
                </c:pt>
                <c:pt idx="51">
                  <c:v>5413.1510000000044</c:v>
                </c:pt>
                <c:pt idx="52">
                  <c:v>5453.8540000000003</c:v>
                </c:pt>
                <c:pt idx="53">
                  <c:v>5443.0650000000014</c:v>
                </c:pt>
                <c:pt idx="54">
                  <c:v>5437.098</c:v>
                </c:pt>
                <c:pt idx="55">
                  <c:v>5447.6480000000001</c:v>
                </c:pt>
                <c:pt idx="56">
                  <c:v>5405.4889999999996</c:v>
                </c:pt>
                <c:pt idx="57">
                  <c:v>5368.8</c:v>
                </c:pt>
                <c:pt idx="58">
                  <c:v>5396.8540000000003</c:v>
                </c:pt>
                <c:pt idx="59">
                  <c:v>5438.6560000000054</c:v>
                </c:pt>
                <c:pt idx="60">
                  <c:v>5518.6750000000002</c:v>
                </c:pt>
                <c:pt idx="61">
                  <c:v>5466.8670000000002</c:v>
                </c:pt>
                <c:pt idx="62">
                  <c:v>5456.3990000000003</c:v>
                </c:pt>
                <c:pt idx="63">
                  <c:v>5480.0309999999999</c:v>
                </c:pt>
                <c:pt idx="64">
                  <c:v>5523.29</c:v>
                </c:pt>
                <c:pt idx="65">
                  <c:v>5486.5839999999998</c:v>
                </c:pt>
                <c:pt idx="66">
                  <c:v>5500.9</c:v>
                </c:pt>
                <c:pt idx="67">
                  <c:v>5491.34</c:v>
                </c:pt>
                <c:pt idx="68">
                  <c:v>5447.4090000000006</c:v>
                </c:pt>
                <c:pt idx="69">
                  <c:v>5419.107</c:v>
                </c:pt>
                <c:pt idx="70">
                  <c:v>5414.5469999999996</c:v>
                </c:pt>
                <c:pt idx="71">
                  <c:v>5420.7330000000002</c:v>
                </c:pt>
                <c:pt idx="72">
                  <c:v>5410.6440000000002</c:v>
                </c:pt>
                <c:pt idx="73">
                  <c:v>5400.8030000000008</c:v>
                </c:pt>
                <c:pt idx="74">
                  <c:v>5460.5730000000003</c:v>
                </c:pt>
                <c:pt idx="75">
                  <c:v>5437.1190000000024</c:v>
                </c:pt>
                <c:pt idx="76">
                  <c:v>5436.2089999999998</c:v>
                </c:pt>
                <c:pt idx="77">
                  <c:v>5435.3550000000014</c:v>
                </c:pt>
                <c:pt idx="78">
                  <c:v>5245.4460000000008</c:v>
                </c:pt>
                <c:pt idx="79">
                  <c:v>5242.1570000000002</c:v>
                </c:pt>
                <c:pt idx="80">
                  <c:v>5105.5630000000001</c:v>
                </c:pt>
                <c:pt idx="81">
                  <c:v>5086.4250000000002</c:v>
                </c:pt>
                <c:pt idx="82">
                  <c:v>5141.1370000000024</c:v>
                </c:pt>
                <c:pt idx="83">
                  <c:v>5160.308</c:v>
                </c:pt>
                <c:pt idx="84">
                  <c:v>5184.95</c:v>
                </c:pt>
                <c:pt idx="85">
                  <c:v>5150.4859999999999</c:v>
                </c:pt>
                <c:pt idx="86">
                  <c:v>5182.2130000000006</c:v>
                </c:pt>
                <c:pt idx="87">
                  <c:v>5172.482</c:v>
                </c:pt>
                <c:pt idx="88">
                  <c:v>5205.6120000000101</c:v>
                </c:pt>
                <c:pt idx="89">
                  <c:v>5246.1330000000007</c:v>
                </c:pt>
                <c:pt idx="90">
                  <c:v>5227.0960000000014</c:v>
                </c:pt>
                <c:pt idx="91">
                  <c:v>5237.8110000000024</c:v>
                </c:pt>
                <c:pt idx="92">
                  <c:v>5269.3710000000001</c:v>
                </c:pt>
                <c:pt idx="93">
                  <c:v>5292.7490000000007</c:v>
                </c:pt>
                <c:pt idx="94">
                  <c:v>5313.2079999999996</c:v>
                </c:pt>
                <c:pt idx="95">
                  <c:v>5315.1530000000002</c:v>
                </c:pt>
                <c:pt idx="96">
                  <c:v>5288.3620000000101</c:v>
                </c:pt>
                <c:pt idx="97">
                  <c:v>5320.9010000000007</c:v>
                </c:pt>
                <c:pt idx="98">
                  <c:v>5253.3879999999999</c:v>
                </c:pt>
                <c:pt idx="99">
                  <c:v>5237.4010000000007</c:v>
                </c:pt>
                <c:pt idx="100">
                  <c:v>5216.3789999999999</c:v>
                </c:pt>
                <c:pt idx="101">
                  <c:v>5213.8160000000034</c:v>
                </c:pt>
                <c:pt idx="102">
                  <c:v>5130.4990000000007</c:v>
                </c:pt>
                <c:pt idx="103">
                  <c:v>5095.8210000000054</c:v>
                </c:pt>
                <c:pt idx="104">
                  <c:v>5100.5720000000001</c:v>
                </c:pt>
                <c:pt idx="105">
                  <c:v>5014.9920000000002</c:v>
                </c:pt>
                <c:pt idx="106">
                  <c:v>4899.8820000000014</c:v>
                </c:pt>
                <c:pt idx="107">
                  <c:v>4933.5570000000016</c:v>
                </c:pt>
                <c:pt idx="108">
                  <c:v>4928.8120000000044</c:v>
                </c:pt>
                <c:pt idx="109">
                  <c:v>4935.817</c:v>
                </c:pt>
                <c:pt idx="110">
                  <c:v>4837.7940000000008</c:v>
                </c:pt>
                <c:pt idx="111">
                  <c:v>4872.5990000000002</c:v>
                </c:pt>
                <c:pt idx="112">
                  <c:v>4945.7530000000024</c:v>
                </c:pt>
                <c:pt idx="113">
                  <c:v>4945.4990000000007</c:v>
                </c:pt>
                <c:pt idx="114">
                  <c:v>4985.0060000000003</c:v>
                </c:pt>
                <c:pt idx="115">
                  <c:v>4959.2520000000004</c:v>
                </c:pt>
                <c:pt idx="116">
                  <c:v>4937.6480000000001</c:v>
                </c:pt>
                <c:pt idx="117">
                  <c:v>4953.5160000000014</c:v>
                </c:pt>
                <c:pt idx="118">
                  <c:v>4920.0420000000004</c:v>
                </c:pt>
                <c:pt idx="119">
                  <c:v>4923.0050000000001</c:v>
                </c:pt>
                <c:pt idx="120">
                  <c:v>4882.5780000000004</c:v>
                </c:pt>
                <c:pt idx="121">
                  <c:v>4910.6580000000004</c:v>
                </c:pt>
                <c:pt idx="122">
                  <c:v>4904.0630000000001</c:v>
                </c:pt>
                <c:pt idx="123">
                  <c:v>4944.7809999999999</c:v>
                </c:pt>
                <c:pt idx="124">
                  <c:v>4982.91</c:v>
                </c:pt>
                <c:pt idx="125">
                  <c:v>4916.741</c:v>
                </c:pt>
                <c:pt idx="126">
                  <c:v>4906.05</c:v>
                </c:pt>
                <c:pt idx="127">
                  <c:v>4871.5710000000008</c:v>
                </c:pt>
                <c:pt idx="128">
                  <c:v>4838.2840000000006</c:v>
                </c:pt>
                <c:pt idx="129">
                  <c:v>4859.0340000000006</c:v>
                </c:pt>
                <c:pt idx="130">
                  <c:v>4893.9170000000004</c:v>
                </c:pt>
                <c:pt idx="131">
                  <c:v>4901.8070000000016</c:v>
                </c:pt>
                <c:pt idx="132">
                  <c:v>4869.8490000000002</c:v>
                </c:pt>
                <c:pt idx="133">
                  <c:v>4906.6890000000003</c:v>
                </c:pt>
                <c:pt idx="134">
                  <c:v>4902.8450000000003</c:v>
                </c:pt>
                <c:pt idx="135">
                  <c:v>4856.5950000000003</c:v>
                </c:pt>
                <c:pt idx="136">
                  <c:v>4771.2850000000008</c:v>
                </c:pt>
                <c:pt idx="137">
                  <c:v>4714.7560000000003</c:v>
                </c:pt>
                <c:pt idx="138">
                  <c:v>4721.1210000000101</c:v>
                </c:pt>
                <c:pt idx="139">
                  <c:v>4712.4920000000002</c:v>
                </c:pt>
                <c:pt idx="140">
                  <c:v>4802.5290000000014</c:v>
                </c:pt>
                <c:pt idx="141">
                  <c:v>4800.1820000000034</c:v>
                </c:pt>
                <c:pt idx="142">
                  <c:v>4781.0870000000004</c:v>
                </c:pt>
                <c:pt idx="143">
                  <c:v>4850.5320000000002</c:v>
                </c:pt>
                <c:pt idx="144">
                  <c:v>4806.5640000000003</c:v>
                </c:pt>
                <c:pt idx="145">
                  <c:v>4770.3030000000008</c:v>
                </c:pt>
                <c:pt idx="146">
                  <c:v>4748.9489999999996</c:v>
                </c:pt>
                <c:pt idx="147">
                  <c:v>4622.5910000000003</c:v>
                </c:pt>
                <c:pt idx="148">
                  <c:v>4479.491</c:v>
                </c:pt>
                <c:pt idx="149">
                  <c:v>4584.25</c:v>
                </c:pt>
                <c:pt idx="150">
                  <c:v>4585.3910000000014</c:v>
                </c:pt>
                <c:pt idx="151">
                  <c:v>4510.4779999999964</c:v>
                </c:pt>
                <c:pt idx="152">
                  <c:v>4484.2420000000002</c:v>
                </c:pt>
                <c:pt idx="153">
                  <c:v>4441.9110000000001</c:v>
                </c:pt>
                <c:pt idx="154">
                  <c:v>4335.9530000000004</c:v>
                </c:pt>
                <c:pt idx="155">
                  <c:v>4163.7290000000003</c:v>
                </c:pt>
                <c:pt idx="156">
                  <c:v>4228.5010000000002</c:v>
                </c:pt>
                <c:pt idx="157">
                  <c:v>4237.7330000000002</c:v>
                </c:pt>
                <c:pt idx="158">
                  <c:v>4430.6320000000014</c:v>
                </c:pt>
                <c:pt idx="159">
                  <c:v>4446.201</c:v>
                </c:pt>
                <c:pt idx="160">
                  <c:v>4509.607</c:v>
                </c:pt>
                <c:pt idx="161">
                  <c:v>4412.4589999999998</c:v>
                </c:pt>
                <c:pt idx="162">
                  <c:v>4401.2930000000006</c:v>
                </c:pt>
                <c:pt idx="163">
                  <c:v>4433.1110000000044</c:v>
                </c:pt>
                <c:pt idx="164">
                  <c:v>4415.3430000000017</c:v>
                </c:pt>
                <c:pt idx="165">
                  <c:v>4301.3650000000034</c:v>
                </c:pt>
                <c:pt idx="166">
                  <c:v>4318.5910000000003</c:v>
                </c:pt>
                <c:pt idx="167">
                  <c:v>4347.277</c:v>
                </c:pt>
                <c:pt idx="168">
                  <c:v>4343.2610000000004</c:v>
                </c:pt>
                <c:pt idx="169">
                  <c:v>4360.4679999999998</c:v>
                </c:pt>
                <c:pt idx="170">
                  <c:v>4390.3730000000014</c:v>
                </c:pt>
                <c:pt idx="171">
                  <c:v>4347.1600000000044</c:v>
                </c:pt>
                <c:pt idx="172">
                  <c:v>4332.5130000000017</c:v>
                </c:pt>
                <c:pt idx="173">
                  <c:v>4378.3850000000002</c:v>
                </c:pt>
                <c:pt idx="174">
                  <c:v>4380.3200000000024</c:v>
                </c:pt>
                <c:pt idx="175">
                  <c:v>4376.0820000000003</c:v>
                </c:pt>
                <c:pt idx="176">
                  <c:v>4344.0440000000008</c:v>
                </c:pt>
                <c:pt idx="177">
                  <c:v>4244.4270000000006</c:v>
                </c:pt>
                <c:pt idx="178">
                  <c:v>4209.4389999999976</c:v>
                </c:pt>
              </c:numCache>
            </c:numRef>
          </c:val>
          <c:smooth val="0"/>
        </c:ser>
        <c:dLbls>
          <c:showLegendKey val="0"/>
          <c:showVal val="0"/>
          <c:showCatName val="0"/>
          <c:showSerName val="0"/>
          <c:showPercent val="0"/>
          <c:showBubbleSize val="0"/>
        </c:dLbls>
        <c:marker val="1"/>
        <c:smooth val="0"/>
        <c:axId val="124281600"/>
        <c:axId val="124275712"/>
      </c:lineChart>
      <c:catAx>
        <c:axId val="124259712"/>
        <c:scaling>
          <c:orientation val="minMax"/>
        </c:scaling>
        <c:delete val="0"/>
        <c:axPos val="b"/>
        <c:numFmt formatCode="General" sourceLinked="0"/>
        <c:majorTickMark val="none"/>
        <c:minorTickMark val="none"/>
        <c:tickLblPos val="low"/>
        <c:crossAx val="124273792"/>
        <c:crosses val="autoZero"/>
        <c:auto val="1"/>
        <c:lblAlgn val="ctr"/>
        <c:lblOffset val="100"/>
        <c:noMultiLvlLbl val="0"/>
      </c:catAx>
      <c:valAx>
        <c:axId val="124273792"/>
        <c:scaling>
          <c:orientation val="minMax"/>
        </c:scaling>
        <c:delete val="0"/>
        <c:axPos val="l"/>
        <c:title>
          <c:tx>
            <c:rich>
              <a:bodyPr rot="-5400000" vert="horz"/>
              <a:lstStyle/>
              <a:p>
                <a:pPr>
                  <a:defRPr/>
                </a:pPr>
                <a:r>
                  <a:rPr lang="en-US"/>
                  <a:t>Miliar Rp</a:t>
                </a:r>
              </a:p>
            </c:rich>
          </c:tx>
          <c:layout>
            <c:manualLayout>
              <c:xMode val="edge"/>
              <c:yMode val="edge"/>
              <c:x val="1.38888888888889E-2"/>
              <c:y val="0.362088994262593"/>
            </c:manualLayout>
          </c:layout>
          <c:overlay val="0"/>
        </c:title>
        <c:numFmt formatCode="#,##0" sourceLinked="0"/>
        <c:majorTickMark val="out"/>
        <c:minorTickMark val="none"/>
        <c:tickLblPos val="nextTo"/>
        <c:crossAx val="124259712"/>
        <c:crosses val="autoZero"/>
        <c:crossBetween val="between"/>
      </c:valAx>
      <c:valAx>
        <c:axId val="124275712"/>
        <c:scaling>
          <c:orientation val="minMax"/>
          <c:min val="3000"/>
        </c:scaling>
        <c:delete val="0"/>
        <c:axPos val="r"/>
        <c:numFmt formatCode="#,##0" sourceLinked="0"/>
        <c:majorTickMark val="out"/>
        <c:minorTickMark val="none"/>
        <c:tickLblPos val="nextTo"/>
        <c:crossAx val="124281600"/>
        <c:crosses val="max"/>
        <c:crossBetween val="between"/>
      </c:valAx>
      <c:catAx>
        <c:axId val="124281600"/>
        <c:scaling>
          <c:orientation val="minMax"/>
        </c:scaling>
        <c:delete val="1"/>
        <c:axPos val="b"/>
        <c:numFmt formatCode="General" sourceLinked="1"/>
        <c:majorTickMark val="out"/>
        <c:minorTickMark val="none"/>
        <c:tickLblPos val="none"/>
        <c:crossAx val="124275712"/>
        <c:crosses val="autoZero"/>
        <c:auto val="1"/>
        <c:lblAlgn val="ctr"/>
        <c:lblOffset val="100"/>
        <c:noMultiLvlLbl val="0"/>
      </c:catAx>
    </c:plotArea>
    <c:legend>
      <c:legendPos val="b"/>
      <c:layout>
        <c:manualLayout>
          <c:xMode val="edge"/>
          <c:yMode val="edge"/>
          <c:x val="6.00660562307712E-2"/>
          <c:y val="0.90532288876078004"/>
          <c:w val="0.86425610526382601"/>
          <c:h val="8.2372280866634506E-2"/>
        </c:manualLayout>
      </c:layout>
      <c:overlay val="0"/>
    </c:legend>
    <c:plotVisOnly val="1"/>
    <c:dispBlanksAs val="gap"/>
    <c:showDLblsOverMax val="0"/>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200" dirty="0" err="1"/>
              <a:t>Perkembangan</a:t>
            </a:r>
            <a:r>
              <a:rPr lang="en-US" sz="1200" dirty="0"/>
              <a:t> Yield SUN</a:t>
            </a:r>
          </a:p>
        </c:rich>
      </c:tx>
      <c:layout>
        <c:manualLayout>
          <c:xMode val="edge"/>
          <c:yMode val="edge"/>
          <c:x val="0.33153975107950201"/>
          <c:y val="3.1469605812213197E-2"/>
        </c:manualLayout>
      </c:layout>
      <c:overlay val="0"/>
    </c:title>
    <c:autoTitleDeleted val="0"/>
    <c:plotArea>
      <c:layout>
        <c:manualLayout>
          <c:layoutTarget val="inner"/>
          <c:xMode val="edge"/>
          <c:yMode val="edge"/>
          <c:x val="7.8919072615923E-2"/>
          <c:y val="0.14399314668999699"/>
          <c:w val="0.85503237095363005"/>
          <c:h val="0.74002697579469201"/>
        </c:manualLayout>
      </c:layout>
      <c:lineChart>
        <c:grouping val="standard"/>
        <c:varyColors val="0"/>
        <c:ser>
          <c:idx val="0"/>
          <c:order val="0"/>
          <c:tx>
            <c:strRef>
              <c:f>'Yield SUN'!$B$4</c:f>
              <c:strCache>
                <c:ptCount val="1"/>
                <c:pt idx="0">
                  <c:v>31-Des-14</c:v>
                </c:pt>
              </c:strCache>
            </c:strRef>
          </c:tx>
          <c:spPr>
            <a:ln>
              <a:solidFill>
                <a:schemeClr val="bg1">
                  <a:lumMod val="50000"/>
                </a:schemeClr>
              </a:solidFill>
              <a:prstDash val="sysDash"/>
            </a:ln>
          </c:spPr>
          <c:marker>
            <c:symbol val="none"/>
          </c:marker>
          <c:cat>
            <c:strRef>
              <c:f>'Yield SUN'!$A$5:$A$31</c:f>
              <c:strCache>
                <c:ptCount val="27"/>
                <c:pt idx="0">
                  <c:v>1Y</c:v>
                </c:pt>
                <c:pt idx="1">
                  <c:v>2Y</c:v>
                </c:pt>
                <c:pt idx="2">
                  <c:v>3Y</c:v>
                </c:pt>
                <c:pt idx="3">
                  <c:v>4Y</c:v>
                </c:pt>
                <c:pt idx="4">
                  <c:v>5Y</c:v>
                </c:pt>
                <c:pt idx="5">
                  <c:v>6Y</c:v>
                </c:pt>
                <c:pt idx="6">
                  <c:v>7Y</c:v>
                </c:pt>
                <c:pt idx="7">
                  <c:v>8Y</c:v>
                </c:pt>
                <c:pt idx="8">
                  <c:v>9Y</c:v>
                </c:pt>
                <c:pt idx="9">
                  <c:v>10Y</c:v>
                </c:pt>
                <c:pt idx="14">
                  <c:v>15Y</c:v>
                </c:pt>
                <c:pt idx="19">
                  <c:v>20Y</c:v>
                </c:pt>
                <c:pt idx="26">
                  <c:v>30Y</c:v>
                </c:pt>
              </c:strCache>
            </c:strRef>
          </c:cat>
          <c:val>
            <c:numRef>
              <c:f>'Yield SUN'!$B$5:$B$31</c:f>
              <c:numCache>
                <c:formatCode>General</c:formatCode>
                <c:ptCount val="27"/>
                <c:pt idx="0">
                  <c:v>6.944</c:v>
                </c:pt>
                <c:pt idx="1">
                  <c:v>7.4890000000000008</c:v>
                </c:pt>
                <c:pt idx="2">
                  <c:v>7.5539999999999976</c:v>
                </c:pt>
                <c:pt idx="3">
                  <c:v>7.6659999999999888</c:v>
                </c:pt>
                <c:pt idx="4">
                  <c:v>7.7039999999999997</c:v>
                </c:pt>
                <c:pt idx="5">
                  <c:v>7.7519999999999998</c:v>
                </c:pt>
                <c:pt idx="6">
                  <c:v>7.7830000000000004</c:v>
                </c:pt>
                <c:pt idx="7">
                  <c:v>7.7969999999999997</c:v>
                </c:pt>
                <c:pt idx="8">
                  <c:v>7.8199999999999976</c:v>
                </c:pt>
                <c:pt idx="9">
                  <c:v>7.7960000000000003</c:v>
                </c:pt>
                <c:pt idx="10" formatCode="0.000">
                  <c:v>7.8671999999999889</c:v>
                </c:pt>
                <c:pt idx="11" formatCode="0.000">
                  <c:v>7.9384000000000023</c:v>
                </c:pt>
                <c:pt idx="12" formatCode="0.000">
                  <c:v>8.0096000000000007</c:v>
                </c:pt>
                <c:pt idx="13" formatCode="0.000">
                  <c:v>8.0808</c:v>
                </c:pt>
                <c:pt idx="14">
                  <c:v>8.1520000000000028</c:v>
                </c:pt>
                <c:pt idx="15" formatCode="0.000">
                  <c:v>8.1804000000000006</c:v>
                </c:pt>
                <c:pt idx="16" formatCode="0.000">
                  <c:v>8.2088000000000001</c:v>
                </c:pt>
                <c:pt idx="17" formatCode="0.000">
                  <c:v>8.2371999999999996</c:v>
                </c:pt>
                <c:pt idx="18" formatCode="0.000">
                  <c:v>8.2656000000000027</c:v>
                </c:pt>
                <c:pt idx="19">
                  <c:v>8.2939999999999987</c:v>
                </c:pt>
                <c:pt idx="20" formatCode="0.000">
                  <c:v>8.3428571428571434</c:v>
                </c:pt>
                <c:pt idx="21" formatCode="0.000">
                  <c:v>8.3917142857142863</c:v>
                </c:pt>
                <c:pt idx="22" formatCode="0.000">
                  <c:v>8.4405714285713991</c:v>
                </c:pt>
                <c:pt idx="23" formatCode="0.000">
                  <c:v>8.4894285714285722</c:v>
                </c:pt>
                <c:pt idx="24" formatCode="0.000">
                  <c:v>8.5382857142857151</c:v>
                </c:pt>
                <c:pt idx="25" formatCode="0.000">
                  <c:v>8.5871428571428705</c:v>
                </c:pt>
                <c:pt idx="26">
                  <c:v>8.636000000000001</c:v>
                </c:pt>
              </c:numCache>
            </c:numRef>
          </c:val>
          <c:smooth val="0"/>
        </c:ser>
        <c:ser>
          <c:idx val="1"/>
          <c:order val="1"/>
          <c:tx>
            <c:strRef>
              <c:f>'Yield SUN'!$C$4</c:f>
              <c:strCache>
                <c:ptCount val="1"/>
                <c:pt idx="0">
                  <c:v>31-Mar-15</c:v>
                </c:pt>
              </c:strCache>
            </c:strRef>
          </c:tx>
          <c:spPr>
            <a:ln w="12700" cmpd="sng">
              <a:solidFill>
                <a:schemeClr val="tx1"/>
              </a:solidFill>
              <a:prstDash val="sysDash"/>
            </a:ln>
          </c:spPr>
          <c:marker>
            <c:symbol val="none"/>
          </c:marker>
          <c:cat>
            <c:strRef>
              <c:f>'Yield SUN'!$A$5:$A$31</c:f>
              <c:strCache>
                <c:ptCount val="27"/>
                <c:pt idx="0">
                  <c:v>1Y</c:v>
                </c:pt>
                <c:pt idx="1">
                  <c:v>2Y</c:v>
                </c:pt>
                <c:pt idx="2">
                  <c:v>3Y</c:v>
                </c:pt>
                <c:pt idx="3">
                  <c:v>4Y</c:v>
                </c:pt>
                <c:pt idx="4">
                  <c:v>5Y</c:v>
                </c:pt>
                <c:pt idx="5">
                  <c:v>6Y</c:v>
                </c:pt>
                <c:pt idx="6">
                  <c:v>7Y</c:v>
                </c:pt>
                <c:pt idx="7">
                  <c:v>8Y</c:v>
                </c:pt>
                <c:pt idx="8">
                  <c:v>9Y</c:v>
                </c:pt>
                <c:pt idx="9">
                  <c:v>10Y</c:v>
                </c:pt>
                <c:pt idx="14">
                  <c:v>15Y</c:v>
                </c:pt>
                <c:pt idx="19">
                  <c:v>20Y</c:v>
                </c:pt>
                <c:pt idx="26">
                  <c:v>30Y</c:v>
                </c:pt>
              </c:strCache>
            </c:strRef>
          </c:cat>
          <c:val>
            <c:numRef>
              <c:f>'Yield SUN'!$C$5:$C$31</c:f>
              <c:numCache>
                <c:formatCode>General</c:formatCode>
                <c:ptCount val="27"/>
                <c:pt idx="0">
                  <c:v>6.72</c:v>
                </c:pt>
                <c:pt idx="1">
                  <c:v>7.1129999999999898</c:v>
                </c:pt>
                <c:pt idx="2">
                  <c:v>7.1269999999999927</c:v>
                </c:pt>
                <c:pt idx="3">
                  <c:v>7.2119999999999997</c:v>
                </c:pt>
                <c:pt idx="4">
                  <c:v>7.3410000000000002</c:v>
                </c:pt>
                <c:pt idx="5">
                  <c:v>7.3789999999999996</c:v>
                </c:pt>
                <c:pt idx="6">
                  <c:v>7.49</c:v>
                </c:pt>
                <c:pt idx="7">
                  <c:v>7.4630000000000001</c:v>
                </c:pt>
                <c:pt idx="8">
                  <c:v>7.5579999999999927</c:v>
                </c:pt>
                <c:pt idx="9">
                  <c:v>7.4390000000000098</c:v>
                </c:pt>
                <c:pt idx="10" formatCode="0.000">
                  <c:v>7.4998000000000014</c:v>
                </c:pt>
                <c:pt idx="11" formatCode="0.000">
                  <c:v>7.5606000000000009</c:v>
                </c:pt>
                <c:pt idx="12" formatCode="0.000">
                  <c:v>7.6213999999999986</c:v>
                </c:pt>
                <c:pt idx="13" formatCode="0.000">
                  <c:v>7.6822000000000017</c:v>
                </c:pt>
                <c:pt idx="14">
                  <c:v>7.7430000000000003</c:v>
                </c:pt>
                <c:pt idx="15" formatCode="0.000">
                  <c:v>7.7478000000000007</c:v>
                </c:pt>
                <c:pt idx="16" formatCode="0.000">
                  <c:v>7.752600000000001</c:v>
                </c:pt>
                <c:pt idx="17" formatCode="0.000">
                  <c:v>7.7573999999999996</c:v>
                </c:pt>
                <c:pt idx="18" formatCode="0.000">
                  <c:v>7.7622000000000018</c:v>
                </c:pt>
                <c:pt idx="19">
                  <c:v>7.7669999999999977</c:v>
                </c:pt>
                <c:pt idx="20" formatCode="0.000">
                  <c:v>7.8158571428571406</c:v>
                </c:pt>
                <c:pt idx="21" formatCode="0.000">
                  <c:v>7.8647142857142764</c:v>
                </c:pt>
                <c:pt idx="22" formatCode="0.000">
                  <c:v>7.91357142857143</c:v>
                </c:pt>
                <c:pt idx="23" formatCode="0.000">
                  <c:v>7.9624285714285676</c:v>
                </c:pt>
                <c:pt idx="24" formatCode="0.000">
                  <c:v>8.0112857142857141</c:v>
                </c:pt>
                <c:pt idx="25" formatCode="0.000">
                  <c:v>8.060142857142873</c:v>
                </c:pt>
                <c:pt idx="26">
                  <c:v>8.0460000000000012</c:v>
                </c:pt>
              </c:numCache>
            </c:numRef>
          </c:val>
          <c:smooth val="0"/>
        </c:ser>
        <c:ser>
          <c:idx val="2"/>
          <c:order val="2"/>
          <c:tx>
            <c:strRef>
              <c:f>'Yield SUN'!$D$4</c:f>
              <c:strCache>
                <c:ptCount val="1"/>
                <c:pt idx="0">
                  <c:v>26-Agt-15</c:v>
                </c:pt>
              </c:strCache>
            </c:strRef>
          </c:tx>
          <c:spPr>
            <a:ln>
              <a:solidFill>
                <a:schemeClr val="tx1"/>
              </a:solidFill>
            </a:ln>
          </c:spPr>
          <c:marker>
            <c:symbol val="none"/>
          </c:marker>
          <c:cat>
            <c:strRef>
              <c:f>'Yield SUN'!$A$5:$A$31</c:f>
              <c:strCache>
                <c:ptCount val="27"/>
                <c:pt idx="0">
                  <c:v>1Y</c:v>
                </c:pt>
                <c:pt idx="1">
                  <c:v>2Y</c:v>
                </c:pt>
                <c:pt idx="2">
                  <c:v>3Y</c:v>
                </c:pt>
                <c:pt idx="3">
                  <c:v>4Y</c:v>
                </c:pt>
                <c:pt idx="4">
                  <c:v>5Y</c:v>
                </c:pt>
                <c:pt idx="5">
                  <c:v>6Y</c:v>
                </c:pt>
                <c:pt idx="6">
                  <c:v>7Y</c:v>
                </c:pt>
                <c:pt idx="7">
                  <c:v>8Y</c:v>
                </c:pt>
                <c:pt idx="8">
                  <c:v>9Y</c:v>
                </c:pt>
                <c:pt idx="9">
                  <c:v>10Y</c:v>
                </c:pt>
                <c:pt idx="14">
                  <c:v>15Y</c:v>
                </c:pt>
                <c:pt idx="19">
                  <c:v>20Y</c:v>
                </c:pt>
                <c:pt idx="26">
                  <c:v>30Y</c:v>
                </c:pt>
              </c:strCache>
            </c:strRef>
          </c:cat>
          <c:val>
            <c:numRef>
              <c:f>'Yield SUN'!$D$5:$D$31</c:f>
              <c:numCache>
                <c:formatCode>General</c:formatCode>
                <c:ptCount val="27"/>
                <c:pt idx="0">
                  <c:v>7.5410000000000004</c:v>
                </c:pt>
                <c:pt idx="1">
                  <c:v>8.2369999999999983</c:v>
                </c:pt>
                <c:pt idx="2">
                  <c:v>8.423</c:v>
                </c:pt>
                <c:pt idx="3">
                  <c:v>8.7279999999999998</c:v>
                </c:pt>
                <c:pt idx="4">
                  <c:v>8.7550000000000008</c:v>
                </c:pt>
                <c:pt idx="5">
                  <c:v>8.9210000000000012</c:v>
                </c:pt>
                <c:pt idx="6">
                  <c:v>9.0389999999999997</c:v>
                </c:pt>
                <c:pt idx="7">
                  <c:v>9.0170000000000012</c:v>
                </c:pt>
                <c:pt idx="8">
                  <c:v>8.9409999999999972</c:v>
                </c:pt>
                <c:pt idx="9">
                  <c:v>9.0060000000000002</c:v>
                </c:pt>
                <c:pt idx="10" formatCode="0.000">
                  <c:v>9.0752000000000006</c:v>
                </c:pt>
                <c:pt idx="11" formatCode="0.000">
                  <c:v>9.144400000000001</c:v>
                </c:pt>
                <c:pt idx="12" formatCode="0.000">
                  <c:v>9.2136000000000013</c:v>
                </c:pt>
                <c:pt idx="13" formatCode="0.000">
                  <c:v>9.2828000000000017</c:v>
                </c:pt>
                <c:pt idx="14">
                  <c:v>9.3520000000000234</c:v>
                </c:pt>
                <c:pt idx="15" formatCode="0.000">
                  <c:v>9.3502000000000027</c:v>
                </c:pt>
                <c:pt idx="16" formatCode="0.000">
                  <c:v>9.3484000000000016</c:v>
                </c:pt>
                <c:pt idx="17" formatCode="0.000">
                  <c:v>9.3466000000000022</c:v>
                </c:pt>
                <c:pt idx="18" formatCode="0.000">
                  <c:v>9.3448000000000029</c:v>
                </c:pt>
                <c:pt idx="19">
                  <c:v>9.343</c:v>
                </c:pt>
                <c:pt idx="20" formatCode="0.000">
                  <c:v>9.3828571428571426</c:v>
                </c:pt>
                <c:pt idx="21" formatCode="0.000">
                  <c:v>9.4227142857143011</c:v>
                </c:pt>
                <c:pt idx="22" formatCode="0.000">
                  <c:v>9.4625714285714206</c:v>
                </c:pt>
                <c:pt idx="23" formatCode="0.000">
                  <c:v>9.5024285714285703</c:v>
                </c:pt>
                <c:pt idx="24" formatCode="0.000">
                  <c:v>9.5422857142857147</c:v>
                </c:pt>
                <c:pt idx="25" formatCode="0.000">
                  <c:v>9.5821428571428733</c:v>
                </c:pt>
                <c:pt idx="26">
                  <c:v>9.577</c:v>
                </c:pt>
              </c:numCache>
            </c:numRef>
          </c:val>
          <c:smooth val="0"/>
        </c:ser>
        <c:ser>
          <c:idx val="3"/>
          <c:order val="3"/>
          <c:tx>
            <c:strRef>
              <c:f>'Yield SUN'!$E$4</c:f>
              <c:strCache>
                <c:ptCount val="1"/>
                <c:pt idx="0">
                  <c:v>25-Sep-15</c:v>
                </c:pt>
              </c:strCache>
            </c:strRef>
          </c:tx>
          <c:spPr>
            <a:ln>
              <a:solidFill>
                <a:srgbClr val="FF6600"/>
              </a:solidFill>
            </a:ln>
          </c:spPr>
          <c:marker>
            <c:symbol val="none"/>
          </c:marker>
          <c:cat>
            <c:strRef>
              <c:f>'Yield SUN'!$A$5:$A$31</c:f>
              <c:strCache>
                <c:ptCount val="27"/>
                <c:pt idx="0">
                  <c:v>1Y</c:v>
                </c:pt>
                <c:pt idx="1">
                  <c:v>2Y</c:v>
                </c:pt>
                <c:pt idx="2">
                  <c:v>3Y</c:v>
                </c:pt>
                <c:pt idx="3">
                  <c:v>4Y</c:v>
                </c:pt>
                <c:pt idx="4">
                  <c:v>5Y</c:v>
                </c:pt>
                <c:pt idx="5">
                  <c:v>6Y</c:v>
                </c:pt>
                <c:pt idx="6">
                  <c:v>7Y</c:v>
                </c:pt>
                <c:pt idx="7">
                  <c:v>8Y</c:v>
                </c:pt>
                <c:pt idx="8">
                  <c:v>9Y</c:v>
                </c:pt>
                <c:pt idx="9">
                  <c:v>10Y</c:v>
                </c:pt>
                <c:pt idx="14">
                  <c:v>15Y</c:v>
                </c:pt>
                <c:pt idx="19">
                  <c:v>20Y</c:v>
                </c:pt>
                <c:pt idx="26">
                  <c:v>30Y</c:v>
                </c:pt>
              </c:strCache>
            </c:strRef>
          </c:cat>
          <c:val>
            <c:numRef>
              <c:f>'Yield SUN'!$E$5:$E$31</c:f>
              <c:numCache>
                <c:formatCode>General</c:formatCode>
                <c:ptCount val="27"/>
                <c:pt idx="0">
                  <c:v>8.1170000000000009</c:v>
                </c:pt>
                <c:pt idx="1">
                  <c:v>8.9350000000000005</c:v>
                </c:pt>
                <c:pt idx="2">
                  <c:v>9.1770000000000014</c:v>
                </c:pt>
                <c:pt idx="3">
                  <c:v>9.3260000000000005</c:v>
                </c:pt>
                <c:pt idx="4" formatCode="0.000">
                  <c:v>9.4020000000000028</c:v>
                </c:pt>
                <c:pt idx="5">
                  <c:v>9.4440000000000008</c:v>
                </c:pt>
                <c:pt idx="6">
                  <c:v>9.5710000000000015</c:v>
                </c:pt>
                <c:pt idx="7">
                  <c:v>9.57</c:v>
                </c:pt>
                <c:pt idx="8">
                  <c:v>9.5540000000000003</c:v>
                </c:pt>
                <c:pt idx="9">
                  <c:v>9.5530000000000008</c:v>
                </c:pt>
                <c:pt idx="10" formatCode="0.000">
                  <c:v>9.5904000000000007</c:v>
                </c:pt>
                <c:pt idx="11" formatCode="0.000">
                  <c:v>9.6277999999999988</c:v>
                </c:pt>
                <c:pt idx="12" formatCode="0.000">
                  <c:v>9.6652000000000005</c:v>
                </c:pt>
                <c:pt idx="13" formatCode="0.000">
                  <c:v>9.7026000000000003</c:v>
                </c:pt>
                <c:pt idx="14">
                  <c:v>9.7399999999999984</c:v>
                </c:pt>
                <c:pt idx="15" formatCode="0.000">
                  <c:v>9.7475999999999985</c:v>
                </c:pt>
                <c:pt idx="16" formatCode="0.000">
                  <c:v>9.7552000000000003</c:v>
                </c:pt>
                <c:pt idx="17" formatCode="0.000">
                  <c:v>9.7628000000000004</c:v>
                </c:pt>
                <c:pt idx="18" formatCode="0.000">
                  <c:v>9.7704000000000004</c:v>
                </c:pt>
                <c:pt idx="19">
                  <c:v>9.7779999999999987</c:v>
                </c:pt>
                <c:pt idx="20" formatCode="0.000">
                  <c:v>9.7990000000000013</c:v>
                </c:pt>
                <c:pt idx="21" formatCode="0.000">
                  <c:v>9.8200000000000021</c:v>
                </c:pt>
                <c:pt idx="22" formatCode="0.000">
                  <c:v>9.8410000000000029</c:v>
                </c:pt>
                <c:pt idx="23" formatCode="0.000">
                  <c:v>9.8620000000000232</c:v>
                </c:pt>
                <c:pt idx="24" formatCode="0.000">
                  <c:v>9.8830000000000044</c:v>
                </c:pt>
                <c:pt idx="25" formatCode="0.000">
                  <c:v>9.9040000000000052</c:v>
                </c:pt>
                <c:pt idx="26">
                  <c:v>9.9250000000000007</c:v>
                </c:pt>
              </c:numCache>
            </c:numRef>
          </c:val>
          <c:smooth val="0"/>
        </c:ser>
        <c:dLbls>
          <c:showLegendKey val="0"/>
          <c:showVal val="0"/>
          <c:showCatName val="0"/>
          <c:showSerName val="0"/>
          <c:showPercent val="0"/>
          <c:showBubbleSize val="0"/>
        </c:dLbls>
        <c:marker val="1"/>
        <c:smooth val="0"/>
        <c:axId val="123998592"/>
        <c:axId val="124000128"/>
      </c:lineChart>
      <c:catAx>
        <c:axId val="123998592"/>
        <c:scaling>
          <c:orientation val="minMax"/>
        </c:scaling>
        <c:delete val="0"/>
        <c:axPos val="b"/>
        <c:numFmt formatCode="General" sourceLinked="0"/>
        <c:majorTickMark val="out"/>
        <c:minorTickMark val="none"/>
        <c:tickLblPos val="nextTo"/>
        <c:crossAx val="124000128"/>
        <c:crosses val="autoZero"/>
        <c:auto val="1"/>
        <c:lblAlgn val="ctr"/>
        <c:lblOffset val="100"/>
        <c:noMultiLvlLbl val="0"/>
      </c:catAx>
      <c:valAx>
        <c:axId val="124000128"/>
        <c:scaling>
          <c:orientation val="minMax"/>
          <c:min val="6"/>
        </c:scaling>
        <c:delete val="0"/>
        <c:axPos val="l"/>
        <c:numFmt formatCode="General" sourceLinked="1"/>
        <c:majorTickMark val="out"/>
        <c:minorTickMark val="none"/>
        <c:tickLblPos val="nextTo"/>
        <c:crossAx val="123998592"/>
        <c:crosses val="autoZero"/>
        <c:crossBetween val="between"/>
      </c:valAx>
    </c:plotArea>
    <c:legend>
      <c:legendPos val="r"/>
      <c:layout>
        <c:manualLayout>
          <c:xMode val="edge"/>
          <c:yMode val="edge"/>
          <c:x val="0.63864221488443096"/>
          <c:y val="0.62640085174429205"/>
          <c:w val="0.319703688354746"/>
          <c:h val="0.243057742782152"/>
        </c:manualLayout>
      </c:layout>
      <c:overlay val="0"/>
      <c:txPr>
        <a:bodyPr/>
        <a:lstStyle/>
        <a:p>
          <a:pPr>
            <a:defRPr sz="900"/>
          </a:pPr>
          <a:endParaRPr lang="id-ID"/>
        </a:p>
      </c:txPr>
    </c:legend>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587796506219195E-2"/>
          <c:y val="0.108085724982838"/>
          <c:w val="0.893130302354742"/>
          <c:h val="0.80220689707486303"/>
        </c:manualLayout>
      </c:layout>
      <c:barChart>
        <c:barDir val="bar"/>
        <c:grouping val="clustered"/>
        <c:varyColors val="0"/>
        <c:ser>
          <c:idx val="1"/>
          <c:order val="1"/>
          <c:spPr>
            <a:noFill/>
            <a:ln>
              <a:noFill/>
            </a:ln>
            <a:effectLst/>
          </c:spPr>
          <c:invertIfNegative val="0"/>
          <c:cat>
            <c:strRef>
              <c:f>'[Grafik Rating Kredit.xlsx]CRPR'!$J$39:$J$62</c:f>
              <c:strCache>
                <c:ptCount val="24"/>
                <c:pt idx="0">
                  <c:v>AAA</c:v>
                </c:pt>
                <c:pt idx="1">
                  <c:v>AA+</c:v>
                </c:pt>
                <c:pt idx="2">
                  <c:v>AA</c:v>
                </c:pt>
                <c:pt idx="3">
                  <c:v>AA-</c:v>
                </c:pt>
                <c:pt idx="4">
                  <c:v>A+</c:v>
                </c:pt>
                <c:pt idx="5">
                  <c:v>A</c:v>
                </c:pt>
                <c:pt idx="6">
                  <c:v>A-</c:v>
                </c:pt>
                <c:pt idx="7">
                  <c:v>BBB+</c:v>
                </c:pt>
                <c:pt idx="8">
                  <c:v>BBB</c:v>
                </c:pt>
                <c:pt idx="9">
                  <c:v>BBB-</c:v>
                </c:pt>
                <c:pt idx="10">
                  <c:v>BB+</c:v>
                </c:pt>
                <c:pt idx="11">
                  <c:v>BB</c:v>
                </c:pt>
                <c:pt idx="12">
                  <c:v>BB-</c:v>
                </c:pt>
                <c:pt idx="13">
                  <c:v>B+</c:v>
                </c:pt>
                <c:pt idx="14">
                  <c:v>B</c:v>
                </c:pt>
                <c:pt idx="15">
                  <c:v>B-</c:v>
                </c:pt>
                <c:pt idx="16">
                  <c:v>CCC+</c:v>
                </c:pt>
                <c:pt idx="17">
                  <c:v>CCC</c:v>
                </c:pt>
                <c:pt idx="18">
                  <c:v>CCC-</c:v>
                </c:pt>
                <c:pt idx="19">
                  <c:v>CC</c:v>
                </c:pt>
                <c:pt idx="20">
                  <c:v>C</c:v>
                </c:pt>
                <c:pt idx="21">
                  <c:v>RD</c:v>
                </c:pt>
                <c:pt idx="22">
                  <c:v>SD</c:v>
                </c:pt>
                <c:pt idx="23">
                  <c:v>D</c:v>
                </c:pt>
              </c:strCache>
            </c:strRef>
          </c:cat>
          <c:val>
            <c:numRef>
              <c:f>'[Grafik Rating Kredit.xlsx]CRPR'!$K$39:$K$62</c:f>
              <c:numCache>
                <c:formatCode>General</c:formatCode>
                <c:ptCount val="24"/>
                <c:pt idx="0">
                  <c:v>20</c:v>
                </c:pt>
                <c:pt idx="1">
                  <c:v>19</c:v>
                </c:pt>
                <c:pt idx="2">
                  <c:v>18</c:v>
                </c:pt>
                <c:pt idx="3">
                  <c:v>17</c:v>
                </c:pt>
                <c:pt idx="4">
                  <c:v>16</c:v>
                </c:pt>
                <c:pt idx="5">
                  <c:v>15</c:v>
                </c:pt>
                <c:pt idx="6">
                  <c:v>14</c:v>
                </c:pt>
                <c:pt idx="7">
                  <c:v>13</c:v>
                </c:pt>
                <c:pt idx="8">
                  <c:v>12</c:v>
                </c:pt>
                <c:pt idx="9">
                  <c:v>11</c:v>
                </c:pt>
                <c:pt idx="10">
                  <c:v>10</c:v>
                </c:pt>
                <c:pt idx="11">
                  <c:v>9</c:v>
                </c:pt>
                <c:pt idx="12">
                  <c:v>8</c:v>
                </c:pt>
                <c:pt idx="13">
                  <c:v>7</c:v>
                </c:pt>
                <c:pt idx="14">
                  <c:v>6</c:v>
                </c:pt>
                <c:pt idx="15">
                  <c:v>5</c:v>
                </c:pt>
                <c:pt idx="16">
                  <c:v>4</c:v>
                </c:pt>
                <c:pt idx="17">
                  <c:v>3</c:v>
                </c:pt>
                <c:pt idx="18">
                  <c:v>2</c:v>
                </c:pt>
                <c:pt idx="19">
                  <c:v>1</c:v>
                </c:pt>
                <c:pt idx="20">
                  <c:v>0</c:v>
                </c:pt>
                <c:pt idx="21">
                  <c:v>-1</c:v>
                </c:pt>
                <c:pt idx="22">
                  <c:v>-2</c:v>
                </c:pt>
                <c:pt idx="23">
                  <c:v>-3</c:v>
                </c:pt>
              </c:numCache>
            </c:numRef>
          </c:val>
        </c:ser>
        <c:dLbls>
          <c:showLegendKey val="0"/>
          <c:showVal val="0"/>
          <c:showCatName val="0"/>
          <c:showSerName val="0"/>
          <c:showPercent val="0"/>
          <c:showBubbleSize val="0"/>
        </c:dLbls>
        <c:gapWidth val="150"/>
        <c:axId val="124172928"/>
        <c:axId val="124171392"/>
      </c:barChart>
      <c:lineChart>
        <c:grouping val="standard"/>
        <c:varyColors val="0"/>
        <c:ser>
          <c:idx val="0"/>
          <c:order val="0"/>
          <c:tx>
            <c:v>Brazil</c:v>
          </c:tx>
          <c:spPr>
            <a:ln w="28575" cap="rnd">
              <a:solidFill>
                <a:schemeClr val="accent3">
                  <a:lumMod val="75000"/>
                </a:schemeClr>
              </a:solidFill>
              <a:round/>
            </a:ln>
            <a:effectLst/>
          </c:spPr>
          <c:marker>
            <c:symbol val="none"/>
          </c:marker>
          <c:cat>
            <c:numRef>
              <c:f>'[Grafik Rating Kredit.xlsx]CRPR'!$V$86:$V$97</c:f>
              <c:numCache>
                <c:formatCode>General</c:formatCode>
                <c:ptCount val="12"/>
                <c:pt idx="0">
                  <c:v>2001</c:v>
                </c:pt>
                <c:pt idx="1">
                  <c:v>2002</c:v>
                </c:pt>
                <c:pt idx="2">
                  <c:v>2003</c:v>
                </c:pt>
                <c:pt idx="3">
                  <c:v>2004</c:v>
                </c:pt>
                <c:pt idx="4">
                  <c:v>2005</c:v>
                </c:pt>
                <c:pt idx="5">
                  <c:v>2006</c:v>
                </c:pt>
                <c:pt idx="6">
                  <c:v>2007</c:v>
                </c:pt>
                <c:pt idx="7">
                  <c:v>2008</c:v>
                </c:pt>
                <c:pt idx="8">
                  <c:v>2010</c:v>
                </c:pt>
                <c:pt idx="9">
                  <c:v>2011</c:v>
                </c:pt>
                <c:pt idx="10">
                  <c:v>2014</c:v>
                </c:pt>
                <c:pt idx="11">
                  <c:v>2015</c:v>
                </c:pt>
              </c:numCache>
            </c:numRef>
          </c:cat>
          <c:val>
            <c:numRef>
              <c:f>'[Grafik Rating Kredit.xlsx]CRPR'!$W$86:$W$97</c:f>
              <c:numCache>
                <c:formatCode>General</c:formatCode>
                <c:ptCount val="12"/>
                <c:pt idx="0">
                  <c:v>8</c:v>
                </c:pt>
                <c:pt idx="1">
                  <c:v>7</c:v>
                </c:pt>
                <c:pt idx="2">
                  <c:v>7</c:v>
                </c:pt>
                <c:pt idx="3">
                  <c:v>8</c:v>
                </c:pt>
                <c:pt idx="4">
                  <c:v>8</c:v>
                </c:pt>
                <c:pt idx="5">
                  <c:v>9</c:v>
                </c:pt>
                <c:pt idx="6">
                  <c:v>10</c:v>
                </c:pt>
                <c:pt idx="7">
                  <c:v>11</c:v>
                </c:pt>
                <c:pt idx="8">
                  <c:v>11</c:v>
                </c:pt>
                <c:pt idx="9">
                  <c:v>12</c:v>
                </c:pt>
                <c:pt idx="10">
                  <c:v>11</c:v>
                </c:pt>
                <c:pt idx="11">
                  <c:v>10</c:v>
                </c:pt>
              </c:numCache>
            </c:numRef>
          </c:val>
          <c:smooth val="0"/>
        </c:ser>
        <c:ser>
          <c:idx val="2"/>
          <c:order val="2"/>
          <c:tx>
            <c:v>Indonesia</c:v>
          </c:tx>
          <c:spPr>
            <a:ln w="28575" cap="rnd">
              <a:solidFill>
                <a:srgbClr val="FF0000"/>
              </a:solidFill>
              <a:round/>
            </a:ln>
            <a:effectLst/>
          </c:spPr>
          <c:marker>
            <c:symbol val="none"/>
          </c:marker>
          <c:cat>
            <c:numRef>
              <c:f>'[Grafik Rating Kredit.xlsx]CRPR'!$V$86:$V$97</c:f>
              <c:numCache>
                <c:formatCode>General</c:formatCode>
                <c:ptCount val="12"/>
                <c:pt idx="0">
                  <c:v>2001</c:v>
                </c:pt>
                <c:pt idx="1">
                  <c:v>2002</c:v>
                </c:pt>
                <c:pt idx="2">
                  <c:v>2003</c:v>
                </c:pt>
                <c:pt idx="3">
                  <c:v>2004</c:v>
                </c:pt>
                <c:pt idx="4">
                  <c:v>2005</c:v>
                </c:pt>
                <c:pt idx="5">
                  <c:v>2006</c:v>
                </c:pt>
                <c:pt idx="6">
                  <c:v>2007</c:v>
                </c:pt>
                <c:pt idx="7">
                  <c:v>2008</c:v>
                </c:pt>
                <c:pt idx="8">
                  <c:v>2010</c:v>
                </c:pt>
                <c:pt idx="9">
                  <c:v>2011</c:v>
                </c:pt>
                <c:pt idx="10">
                  <c:v>2014</c:v>
                </c:pt>
                <c:pt idx="11">
                  <c:v>2015</c:v>
                </c:pt>
              </c:numCache>
            </c:numRef>
          </c:cat>
          <c:val>
            <c:numRef>
              <c:f>'[Grafik Rating Kredit.xlsx]CRPR'!$X$86:$X$97</c:f>
              <c:numCache>
                <c:formatCode>General</c:formatCode>
                <c:ptCount val="12"/>
                <c:pt idx="0">
                  <c:v>3</c:v>
                </c:pt>
                <c:pt idx="1">
                  <c:v>-2</c:v>
                </c:pt>
                <c:pt idx="2">
                  <c:v>6</c:v>
                </c:pt>
                <c:pt idx="3">
                  <c:v>7</c:v>
                </c:pt>
                <c:pt idx="4">
                  <c:v>7</c:v>
                </c:pt>
                <c:pt idx="5">
                  <c:v>8</c:v>
                </c:pt>
                <c:pt idx="6">
                  <c:v>8</c:v>
                </c:pt>
                <c:pt idx="7">
                  <c:v>8</c:v>
                </c:pt>
                <c:pt idx="8">
                  <c:v>9</c:v>
                </c:pt>
                <c:pt idx="9">
                  <c:v>10</c:v>
                </c:pt>
                <c:pt idx="10">
                  <c:v>10</c:v>
                </c:pt>
                <c:pt idx="11">
                  <c:v>10</c:v>
                </c:pt>
              </c:numCache>
            </c:numRef>
          </c:val>
          <c:smooth val="0"/>
        </c:ser>
        <c:ser>
          <c:idx val="3"/>
          <c:order val="3"/>
          <c:tx>
            <c:v>Rusia</c:v>
          </c:tx>
          <c:spPr>
            <a:ln w="28575" cap="rnd">
              <a:solidFill>
                <a:schemeClr val="accent4"/>
              </a:solidFill>
              <a:round/>
            </a:ln>
            <a:effectLst/>
          </c:spPr>
          <c:marker>
            <c:symbol val="none"/>
          </c:marker>
          <c:cat>
            <c:numRef>
              <c:f>'[Grafik Rating Kredit.xlsx]CRPR'!$V$86:$V$97</c:f>
              <c:numCache>
                <c:formatCode>General</c:formatCode>
                <c:ptCount val="12"/>
                <c:pt idx="0">
                  <c:v>2001</c:v>
                </c:pt>
                <c:pt idx="1">
                  <c:v>2002</c:v>
                </c:pt>
                <c:pt idx="2">
                  <c:v>2003</c:v>
                </c:pt>
                <c:pt idx="3">
                  <c:v>2004</c:v>
                </c:pt>
                <c:pt idx="4">
                  <c:v>2005</c:v>
                </c:pt>
                <c:pt idx="5">
                  <c:v>2006</c:v>
                </c:pt>
                <c:pt idx="6">
                  <c:v>2007</c:v>
                </c:pt>
                <c:pt idx="7">
                  <c:v>2008</c:v>
                </c:pt>
                <c:pt idx="8">
                  <c:v>2010</c:v>
                </c:pt>
                <c:pt idx="9">
                  <c:v>2011</c:v>
                </c:pt>
                <c:pt idx="10">
                  <c:v>2014</c:v>
                </c:pt>
                <c:pt idx="11">
                  <c:v>2015</c:v>
                </c:pt>
              </c:numCache>
            </c:numRef>
          </c:cat>
          <c:val>
            <c:numRef>
              <c:f>'[Grafik Rating Kredit.xlsx]CRPR'!$Y$86:$Y$97</c:f>
              <c:numCache>
                <c:formatCode>General</c:formatCode>
                <c:ptCount val="12"/>
                <c:pt idx="0">
                  <c:v>7</c:v>
                </c:pt>
                <c:pt idx="1">
                  <c:v>8</c:v>
                </c:pt>
                <c:pt idx="2">
                  <c:v>9</c:v>
                </c:pt>
                <c:pt idx="3">
                  <c:v>10</c:v>
                </c:pt>
                <c:pt idx="4">
                  <c:v>12</c:v>
                </c:pt>
                <c:pt idx="5">
                  <c:v>13</c:v>
                </c:pt>
                <c:pt idx="6">
                  <c:v>13</c:v>
                </c:pt>
                <c:pt idx="7">
                  <c:v>12</c:v>
                </c:pt>
                <c:pt idx="8">
                  <c:v>12</c:v>
                </c:pt>
                <c:pt idx="9">
                  <c:v>12</c:v>
                </c:pt>
                <c:pt idx="10">
                  <c:v>11</c:v>
                </c:pt>
                <c:pt idx="11">
                  <c:v>10</c:v>
                </c:pt>
              </c:numCache>
            </c:numRef>
          </c:val>
          <c:smooth val="0"/>
        </c:ser>
        <c:dLbls>
          <c:showLegendKey val="0"/>
          <c:showVal val="0"/>
          <c:showCatName val="0"/>
          <c:showSerName val="0"/>
          <c:showPercent val="0"/>
          <c:showBubbleSize val="0"/>
        </c:dLbls>
        <c:marker val="1"/>
        <c:smooth val="0"/>
        <c:axId val="124159872"/>
        <c:axId val="124161408"/>
      </c:lineChart>
      <c:catAx>
        <c:axId val="124159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id-ID"/>
          </a:p>
        </c:txPr>
        <c:crossAx val="124161408"/>
        <c:crosses val="autoZero"/>
        <c:auto val="0"/>
        <c:lblAlgn val="ctr"/>
        <c:lblOffset val="100"/>
        <c:tickLblSkip val="2"/>
        <c:noMultiLvlLbl val="0"/>
      </c:catAx>
      <c:valAx>
        <c:axId val="124161408"/>
        <c:scaling>
          <c:orientation val="minMax"/>
          <c:max val="20"/>
          <c:min val="-3"/>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one"/>
        <c:crossAx val="124159872"/>
        <c:crosses val="autoZero"/>
        <c:crossBetween val="between"/>
      </c:valAx>
      <c:valAx>
        <c:axId val="124171392"/>
        <c:scaling>
          <c:orientation val="minMax"/>
        </c:scaling>
        <c:delete val="1"/>
        <c:axPos val="b"/>
        <c:numFmt formatCode="General" sourceLinked="1"/>
        <c:majorTickMark val="out"/>
        <c:minorTickMark val="none"/>
        <c:tickLblPos val="none"/>
        <c:crossAx val="124172928"/>
        <c:crosses val="max"/>
        <c:crossBetween val="between"/>
      </c:valAx>
      <c:catAx>
        <c:axId val="124172928"/>
        <c:scaling>
          <c:orientation val="maxMin"/>
        </c:scaling>
        <c:delete val="0"/>
        <c:axPos val="r"/>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d-ID"/>
          </a:p>
        </c:txPr>
        <c:crossAx val="124171392"/>
        <c:crosses val="max"/>
        <c:auto val="1"/>
        <c:lblAlgn val="ctr"/>
        <c:lblOffset val="100"/>
        <c:noMultiLvlLbl val="0"/>
      </c:catAx>
      <c:spPr>
        <a:noFill/>
        <a:ln>
          <a:noFill/>
        </a:ln>
        <a:effectLst/>
      </c:spPr>
    </c:plotArea>
    <c:legend>
      <c:legendPos val="b"/>
      <c:legendEntry>
        <c:idx val="0"/>
        <c:delete val="1"/>
      </c:legendEntry>
      <c:layout>
        <c:manualLayout>
          <c:xMode val="edge"/>
          <c:yMode val="edge"/>
          <c:x val="7.6289252307207095E-2"/>
          <c:y val="0.20370705387316099"/>
          <c:w val="0.32494921685310002"/>
          <c:h val="0.1064202647486640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id-ID"/>
        </a:p>
      </c:txPr>
    </c:legend>
    <c:plotVisOnly val="1"/>
    <c:dispBlanksAs val="gap"/>
    <c:showDLblsOverMax val="0"/>
  </c:chart>
  <c:spPr>
    <a:noFill/>
    <a:ln>
      <a:noFill/>
    </a:ln>
    <a:effectLst/>
  </c:spPr>
  <c:txPr>
    <a:bodyPr/>
    <a:lstStyle/>
    <a:p>
      <a:pPr>
        <a:defRPr/>
      </a:pPr>
      <a:endParaRPr lang="id-ID"/>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stacked"/>
        <c:varyColors val="0"/>
        <c:ser>
          <c:idx val="0"/>
          <c:order val="0"/>
          <c:tx>
            <c:strRef>
              <c:f>Sheet1!$X$50</c:f>
              <c:strCache>
                <c:ptCount val="1"/>
                <c:pt idx="0">
                  <c:v>compensation of employee</c:v>
                </c:pt>
              </c:strCache>
            </c:strRef>
          </c:tx>
          <c:invertIfNegative val="0"/>
          <c:dLbls>
            <c:dLbl>
              <c:idx val="0"/>
              <c:layout>
                <c:manualLayout>
                  <c:x val="9.6997690531177794E-2"/>
                  <c:y val="-3.7878787878787902E-3"/>
                </c:manualLayout>
              </c:layout>
              <c:showLegendKey val="0"/>
              <c:showVal val="1"/>
              <c:showCatName val="0"/>
              <c:showSerName val="0"/>
              <c:showPercent val="0"/>
              <c:showBubbleSize val="0"/>
            </c:dLbl>
            <c:dLbl>
              <c:idx val="1"/>
              <c:layout>
                <c:manualLayout>
                  <c:x val="9.6997690531177794E-2"/>
                  <c:y val="1.51515151515151E-2"/>
                </c:manualLayout>
              </c:layout>
              <c:showLegendKey val="0"/>
              <c:showVal val="1"/>
              <c:showCatName val="0"/>
              <c:showSerName val="0"/>
              <c:showPercent val="0"/>
              <c:showBubbleSize val="0"/>
            </c:dLbl>
            <c:txPr>
              <a:bodyPr/>
              <a:lstStyle/>
              <a:p>
                <a:pPr>
                  <a:defRPr b="1">
                    <a:solidFill>
                      <a:schemeClr val="tx2"/>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X$51:$X$52</c:f>
              <c:numCache>
                <c:formatCode>0.00%</c:formatCode>
                <c:ptCount val="2"/>
                <c:pt idx="0">
                  <c:v>0.32339986130459097</c:v>
                </c:pt>
                <c:pt idx="1">
                  <c:v>0.355872638608563</c:v>
                </c:pt>
              </c:numCache>
            </c:numRef>
          </c:val>
        </c:ser>
        <c:ser>
          <c:idx val="1"/>
          <c:order val="1"/>
          <c:tx>
            <c:strRef>
              <c:f>Sheet1!$Y$50</c:f>
              <c:strCache>
                <c:ptCount val="1"/>
                <c:pt idx="0">
                  <c:v>social benefits</c:v>
                </c:pt>
              </c:strCache>
            </c:strRef>
          </c:tx>
          <c:invertIfNegative val="0"/>
          <c:dLbls>
            <c:dLbl>
              <c:idx val="0"/>
              <c:layout>
                <c:manualLayout>
                  <c:x val="9.4688221709006898E-2"/>
                  <c:y val="3.78787878787886E-3"/>
                </c:manualLayout>
              </c:layout>
              <c:showLegendKey val="0"/>
              <c:showVal val="1"/>
              <c:showCatName val="0"/>
              <c:showSerName val="0"/>
              <c:showPercent val="0"/>
              <c:showBubbleSize val="0"/>
            </c:dLbl>
            <c:dLbl>
              <c:idx val="1"/>
              <c:layout>
                <c:manualLayout>
                  <c:x val="9.1097949039555898E-2"/>
                  <c:y val="-3.7881770460510599E-3"/>
                </c:manualLayout>
              </c:layout>
              <c:showLegendKey val="0"/>
              <c:showVal val="1"/>
              <c:showCatName val="0"/>
              <c:showSerName val="0"/>
              <c:showPercent val="0"/>
              <c:showBubbleSize val="0"/>
            </c:dLbl>
            <c:txPr>
              <a:bodyPr/>
              <a:lstStyle/>
              <a:p>
                <a:pPr>
                  <a:defRPr b="1">
                    <a:solidFill>
                      <a:srgbClr val="800000"/>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Y$51:$Y$52</c:f>
              <c:numCache>
                <c:formatCode>0.00%</c:formatCode>
                <c:ptCount val="2"/>
                <c:pt idx="0">
                  <c:v>0.27646137602779502</c:v>
                </c:pt>
                <c:pt idx="1">
                  <c:v>7.2691194790403799E-2</c:v>
                </c:pt>
              </c:numCache>
            </c:numRef>
          </c:val>
        </c:ser>
        <c:ser>
          <c:idx val="2"/>
          <c:order val="2"/>
          <c:tx>
            <c:strRef>
              <c:f>Sheet1!$Z$50</c:f>
              <c:strCache>
                <c:ptCount val="1"/>
                <c:pt idx="0">
                  <c:v>use of goods and services</c:v>
                </c:pt>
              </c:strCache>
            </c:strRef>
          </c:tx>
          <c:invertIfNegative val="0"/>
          <c:dLbls>
            <c:dLbl>
              <c:idx val="0"/>
              <c:layout>
                <c:manualLayout>
                  <c:x val="9.2378579889903098E-2"/>
                  <c:y val="7.5754593175852997E-3"/>
                </c:manualLayout>
              </c:layout>
              <c:showLegendKey val="0"/>
              <c:showVal val="1"/>
              <c:showCatName val="0"/>
              <c:showSerName val="0"/>
              <c:showPercent val="0"/>
              <c:showBubbleSize val="0"/>
            </c:dLbl>
            <c:dLbl>
              <c:idx val="1"/>
              <c:layout>
                <c:manualLayout>
                  <c:x val="9.4882354307481404E-2"/>
                  <c:y val="1.51515151515151E-2"/>
                </c:manualLayout>
              </c:layout>
              <c:showLegendKey val="0"/>
              <c:showVal val="1"/>
              <c:showCatName val="0"/>
              <c:showSerName val="0"/>
              <c:showPercent val="0"/>
              <c:showBubbleSize val="0"/>
            </c:dLbl>
            <c:txPr>
              <a:bodyPr/>
              <a:lstStyle/>
              <a:p>
                <a:pPr>
                  <a:defRPr b="1">
                    <a:solidFill>
                      <a:srgbClr val="008000"/>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Z$51:$Z$52</c:f>
              <c:numCache>
                <c:formatCode>0.00%</c:formatCode>
                <c:ptCount val="2"/>
                <c:pt idx="0">
                  <c:v>0.167616165657378</c:v>
                </c:pt>
                <c:pt idx="1">
                  <c:v>0.19850131070236099</c:v>
                </c:pt>
              </c:numCache>
            </c:numRef>
          </c:val>
        </c:ser>
        <c:ser>
          <c:idx val="3"/>
          <c:order val="3"/>
          <c:tx>
            <c:strRef>
              <c:f>Sheet1!$AA$50</c:f>
              <c:strCache>
                <c:ptCount val="1"/>
                <c:pt idx="0">
                  <c:v>interest expense</c:v>
                </c:pt>
              </c:strCache>
            </c:strRef>
          </c:tx>
          <c:invertIfNegative val="0"/>
          <c:dLbls>
            <c:dLbl>
              <c:idx val="0"/>
              <c:layout>
                <c:manualLayout>
                  <c:x val="9.4688221709006898E-2"/>
                  <c:y val="7.5757575757575699E-3"/>
                </c:manualLayout>
              </c:layout>
              <c:showLegendKey val="0"/>
              <c:showVal val="1"/>
              <c:showCatName val="0"/>
              <c:showSerName val="0"/>
              <c:showPercent val="0"/>
              <c:showBubbleSize val="0"/>
            </c:dLbl>
            <c:dLbl>
              <c:idx val="1"/>
              <c:layout>
                <c:manualLayout>
                  <c:x val="9.2378752886836002E-2"/>
                  <c:y val="0"/>
                </c:manualLayout>
              </c:layout>
              <c:showLegendKey val="0"/>
              <c:showVal val="1"/>
              <c:showCatName val="0"/>
              <c:showSerName val="0"/>
              <c:showPercent val="0"/>
              <c:showBubbleSize val="0"/>
            </c:dLbl>
            <c:txPr>
              <a:bodyPr/>
              <a:lstStyle/>
              <a:p>
                <a:pPr>
                  <a:defRPr b="1">
                    <a:solidFill>
                      <a:schemeClr val="accent4">
                        <a:lumMod val="75000"/>
                      </a:schemeClr>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AA$51:$AA$52</c:f>
              <c:numCache>
                <c:formatCode>0.00%</c:formatCode>
                <c:ptCount val="2"/>
                <c:pt idx="0">
                  <c:v>0.194472447865537</c:v>
                </c:pt>
                <c:pt idx="1">
                  <c:v>8.2701243118215695E-2</c:v>
                </c:pt>
              </c:numCache>
            </c:numRef>
          </c:val>
        </c:ser>
        <c:ser>
          <c:idx val="4"/>
          <c:order val="4"/>
          <c:tx>
            <c:strRef>
              <c:f>Sheet1!$AB$50</c:f>
              <c:strCache>
                <c:ptCount val="1"/>
                <c:pt idx="0">
                  <c:v>subsidies</c:v>
                </c:pt>
              </c:strCache>
            </c:strRef>
          </c:tx>
          <c:invertIfNegative val="0"/>
          <c:dLbls>
            <c:dLbl>
              <c:idx val="0"/>
              <c:layout>
                <c:manualLayout>
                  <c:x val="8.7759854133277596E-2"/>
                  <c:y val="1.51512168933429E-2"/>
                </c:manualLayout>
              </c:layout>
              <c:showLegendKey val="0"/>
              <c:showVal val="1"/>
              <c:showCatName val="0"/>
              <c:showSerName val="0"/>
              <c:showPercent val="0"/>
              <c:showBubbleSize val="0"/>
            </c:dLbl>
            <c:dLbl>
              <c:idx val="1"/>
              <c:layout>
                <c:manualLayout>
                  <c:x val="9.4688221709006995E-2"/>
                  <c:y val="7.5754593175853301E-3"/>
                </c:manualLayout>
              </c:layout>
              <c:showLegendKey val="0"/>
              <c:showVal val="1"/>
              <c:showCatName val="0"/>
              <c:showSerName val="0"/>
              <c:showPercent val="0"/>
              <c:showBubbleSize val="0"/>
            </c:dLbl>
            <c:txPr>
              <a:bodyPr/>
              <a:lstStyle/>
              <a:p>
                <a:pPr>
                  <a:defRPr b="1">
                    <a:solidFill>
                      <a:schemeClr val="accent5"/>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AB$51:$AB$52</c:f>
              <c:numCache>
                <c:formatCode>0.00%</c:formatCode>
                <c:ptCount val="2"/>
                <c:pt idx="0">
                  <c:v>5.8576606237833997E-3</c:v>
                </c:pt>
                <c:pt idx="1">
                  <c:v>0.243064874554099</c:v>
                </c:pt>
              </c:numCache>
            </c:numRef>
          </c:val>
        </c:ser>
        <c:ser>
          <c:idx val="5"/>
          <c:order val="5"/>
          <c:tx>
            <c:strRef>
              <c:f>Sheet1!$AC$50</c:f>
              <c:strCache>
                <c:ptCount val="1"/>
                <c:pt idx="0">
                  <c:v>other expense</c:v>
                </c:pt>
              </c:strCache>
            </c:strRef>
          </c:tx>
          <c:invertIfNegative val="0"/>
          <c:dLbls>
            <c:dLbl>
              <c:idx val="0"/>
              <c:layout>
                <c:manualLayout>
                  <c:x val="8.7759815242494196E-2"/>
                  <c:y val="-1.13636363636364E-2"/>
                </c:manualLayout>
              </c:layout>
              <c:showLegendKey val="0"/>
              <c:showVal val="1"/>
              <c:showCatName val="0"/>
              <c:showSerName val="0"/>
              <c:showPercent val="0"/>
              <c:showBubbleSize val="0"/>
            </c:dLbl>
            <c:dLbl>
              <c:idx val="1"/>
              <c:layout>
                <c:manualLayout>
                  <c:x val="9.0069284064665106E-2"/>
                  <c:y val="3.7878787878787902E-3"/>
                </c:manualLayout>
              </c:layout>
              <c:showLegendKey val="0"/>
              <c:showVal val="1"/>
              <c:showCatName val="0"/>
              <c:showSerName val="0"/>
              <c:showPercent val="0"/>
              <c:showBubbleSize val="0"/>
            </c:dLbl>
            <c:txPr>
              <a:bodyPr/>
              <a:lstStyle/>
              <a:p>
                <a:pPr>
                  <a:defRPr b="1">
                    <a:solidFill>
                      <a:schemeClr val="accent6">
                        <a:lumMod val="75000"/>
                      </a:schemeClr>
                    </a:solidFill>
                  </a:defRPr>
                </a:pPr>
                <a:endParaRPr lang="id-ID"/>
              </a:p>
            </c:txPr>
            <c:showLegendKey val="0"/>
            <c:showVal val="1"/>
            <c:showCatName val="0"/>
            <c:showSerName val="0"/>
            <c:showPercent val="0"/>
            <c:showBubbleSize val="0"/>
            <c:showLeaderLines val="0"/>
          </c:dLbls>
          <c:cat>
            <c:strRef>
              <c:f>Sheet1!$W$51:$W$52</c:f>
              <c:strCache>
                <c:ptCount val="2"/>
                <c:pt idx="0">
                  <c:v>Brazil</c:v>
                </c:pt>
                <c:pt idx="1">
                  <c:v>Indonesia</c:v>
                </c:pt>
              </c:strCache>
            </c:strRef>
          </c:cat>
          <c:val>
            <c:numRef>
              <c:f>Sheet1!$AC$51:$AC$52</c:f>
              <c:numCache>
                <c:formatCode>0.00%</c:formatCode>
                <c:ptCount val="2"/>
                <c:pt idx="0">
                  <c:v>3.2347972577388903E-2</c:v>
                </c:pt>
                <c:pt idx="1">
                  <c:v>4.7168536159512199E-2</c:v>
                </c:pt>
              </c:numCache>
            </c:numRef>
          </c:val>
        </c:ser>
        <c:dLbls>
          <c:showLegendKey val="0"/>
          <c:showVal val="0"/>
          <c:showCatName val="0"/>
          <c:showSerName val="0"/>
          <c:showPercent val="0"/>
          <c:showBubbleSize val="0"/>
        </c:dLbls>
        <c:gapWidth val="150"/>
        <c:overlap val="100"/>
        <c:axId val="124404864"/>
        <c:axId val="124406400"/>
      </c:barChart>
      <c:catAx>
        <c:axId val="124404864"/>
        <c:scaling>
          <c:orientation val="minMax"/>
        </c:scaling>
        <c:delete val="0"/>
        <c:axPos val="b"/>
        <c:majorTickMark val="out"/>
        <c:minorTickMark val="none"/>
        <c:tickLblPos val="nextTo"/>
        <c:txPr>
          <a:bodyPr/>
          <a:lstStyle/>
          <a:p>
            <a:pPr>
              <a:defRPr sz="1400" b="1"/>
            </a:pPr>
            <a:endParaRPr lang="id-ID"/>
          </a:p>
        </c:txPr>
        <c:crossAx val="124406400"/>
        <c:crosses val="autoZero"/>
        <c:auto val="1"/>
        <c:lblAlgn val="ctr"/>
        <c:lblOffset val="100"/>
        <c:noMultiLvlLbl val="0"/>
      </c:catAx>
      <c:valAx>
        <c:axId val="124406400"/>
        <c:scaling>
          <c:orientation val="minMax"/>
          <c:max val="1"/>
        </c:scaling>
        <c:delete val="1"/>
        <c:axPos val="l"/>
        <c:numFmt formatCode="#,##0" sourceLinked="0"/>
        <c:majorTickMark val="out"/>
        <c:minorTickMark val="none"/>
        <c:tickLblPos val="none"/>
        <c:crossAx val="124404864"/>
        <c:crosses val="autoZero"/>
        <c:crossBetween val="between"/>
      </c:valAx>
    </c:plotArea>
    <c:legend>
      <c:legendPos val="r"/>
      <c:layout/>
      <c:overlay val="0"/>
      <c:txPr>
        <a:bodyPr/>
        <a:lstStyle/>
        <a:p>
          <a:pPr>
            <a:defRPr sz="1400"/>
          </a:pPr>
          <a:endParaRPr lang="id-ID"/>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BarChart!$B$4</c:f>
              <c:strCache>
                <c:ptCount val="1"/>
                <c:pt idx="0">
                  <c:v>Q1 '14</c:v>
                </c:pt>
              </c:strCache>
            </c:strRef>
          </c:tx>
          <c:invertIfNegative val="0"/>
          <c:cat>
            <c:strRef>
              <c:f>BarChart!$C$2:$H$3</c:f>
              <c:strCache>
                <c:ptCount val="6"/>
                <c:pt idx="0">
                  <c:v>U.S</c:v>
                </c:pt>
                <c:pt idx="1">
                  <c:v>Canada</c:v>
                </c:pt>
                <c:pt idx="2">
                  <c:v>U.K.</c:v>
                </c:pt>
                <c:pt idx="3">
                  <c:v>Australia</c:v>
                </c:pt>
                <c:pt idx="4">
                  <c:v>South Korea</c:v>
                </c:pt>
                <c:pt idx="5">
                  <c:v>EU</c:v>
                </c:pt>
              </c:strCache>
            </c:strRef>
          </c:cat>
          <c:val>
            <c:numRef>
              <c:f>BarChart!$C$4:$H$4</c:f>
              <c:numCache>
                <c:formatCode>_-* #,##0.0_-;\-* #,##0.0_-;_-* "-"_-;_-@_-</c:formatCode>
                <c:ptCount val="6"/>
                <c:pt idx="0">
                  <c:v>1.73187899</c:v>
                </c:pt>
                <c:pt idx="1">
                  <c:v>2.1370049</c:v>
                </c:pt>
                <c:pt idx="2">
                  <c:v>2.6769272000000002</c:v>
                </c:pt>
                <c:pt idx="3">
                  <c:v>2.9127055699999982</c:v>
                </c:pt>
                <c:pt idx="4">
                  <c:v>3.9070637400000008</c:v>
                </c:pt>
                <c:pt idx="5">
                  <c:v>1.44493234</c:v>
                </c:pt>
              </c:numCache>
            </c:numRef>
          </c:val>
        </c:ser>
        <c:ser>
          <c:idx val="1"/>
          <c:order val="1"/>
          <c:tx>
            <c:strRef>
              <c:f>BarChart!$B$5</c:f>
              <c:strCache>
                <c:ptCount val="1"/>
                <c:pt idx="0">
                  <c:v>Q2 '14</c:v>
                </c:pt>
              </c:strCache>
            </c:strRef>
          </c:tx>
          <c:invertIfNegative val="0"/>
          <c:cat>
            <c:strRef>
              <c:f>BarChart!$C$2:$H$3</c:f>
              <c:strCache>
                <c:ptCount val="6"/>
                <c:pt idx="0">
                  <c:v>U.S</c:v>
                </c:pt>
                <c:pt idx="1">
                  <c:v>Canada</c:v>
                </c:pt>
                <c:pt idx="2">
                  <c:v>U.K.</c:v>
                </c:pt>
                <c:pt idx="3">
                  <c:v>Australia</c:v>
                </c:pt>
                <c:pt idx="4">
                  <c:v>South Korea</c:v>
                </c:pt>
                <c:pt idx="5">
                  <c:v>EU</c:v>
                </c:pt>
              </c:strCache>
            </c:strRef>
          </c:cat>
          <c:val>
            <c:numRef>
              <c:f>BarChart!$C$5:$H$5</c:f>
              <c:numCache>
                <c:formatCode>_-* #,##0.0_-;\-* #,##0.0_-;_-* "-"_-;_-@_-</c:formatCode>
                <c:ptCount val="6"/>
                <c:pt idx="0">
                  <c:v>2.5889988500000012</c:v>
                </c:pt>
                <c:pt idx="1">
                  <c:v>2.502731040000004</c:v>
                </c:pt>
                <c:pt idx="2">
                  <c:v>2.9538073800000002</c:v>
                </c:pt>
                <c:pt idx="3">
                  <c:v>2.750597220000004</c:v>
                </c:pt>
                <c:pt idx="4">
                  <c:v>3.3793041899999992</c:v>
                </c:pt>
                <c:pt idx="5">
                  <c:v>1.29412357</c:v>
                </c:pt>
              </c:numCache>
            </c:numRef>
          </c:val>
        </c:ser>
        <c:ser>
          <c:idx val="2"/>
          <c:order val="2"/>
          <c:tx>
            <c:strRef>
              <c:f>BarChart!$B$6</c:f>
              <c:strCache>
                <c:ptCount val="1"/>
                <c:pt idx="0">
                  <c:v>Q3 '14</c:v>
                </c:pt>
              </c:strCache>
            </c:strRef>
          </c:tx>
          <c:invertIfNegative val="0"/>
          <c:cat>
            <c:strRef>
              <c:f>BarChart!$C$2:$H$3</c:f>
              <c:strCache>
                <c:ptCount val="6"/>
                <c:pt idx="0">
                  <c:v>U.S</c:v>
                </c:pt>
                <c:pt idx="1">
                  <c:v>Canada</c:v>
                </c:pt>
                <c:pt idx="2">
                  <c:v>U.K.</c:v>
                </c:pt>
                <c:pt idx="3">
                  <c:v>Australia</c:v>
                </c:pt>
                <c:pt idx="4">
                  <c:v>South Korea</c:v>
                </c:pt>
                <c:pt idx="5">
                  <c:v>EU</c:v>
                </c:pt>
              </c:strCache>
            </c:strRef>
          </c:cat>
          <c:val>
            <c:numRef>
              <c:f>BarChart!$C$6:$H$6</c:f>
              <c:numCache>
                <c:formatCode>_-* #,##0.0_-;\-* #,##0.0_-;_-* "-"_-;_-@_-</c:formatCode>
                <c:ptCount val="6"/>
                <c:pt idx="0">
                  <c:v>2.9101342400000041</c:v>
                </c:pt>
                <c:pt idx="1">
                  <c:v>2.6414317600000041</c:v>
                </c:pt>
                <c:pt idx="2">
                  <c:v>2.95179955</c:v>
                </c:pt>
                <c:pt idx="3">
                  <c:v>2.79435463</c:v>
                </c:pt>
                <c:pt idx="4">
                  <c:v>3.2873893200000039</c:v>
                </c:pt>
                <c:pt idx="5">
                  <c:v>1.2820649900000001</c:v>
                </c:pt>
              </c:numCache>
            </c:numRef>
          </c:val>
        </c:ser>
        <c:ser>
          <c:idx val="3"/>
          <c:order val="3"/>
          <c:tx>
            <c:strRef>
              <c:f>BarChart!$B$7</c:f>
              <c:strCache>
                <c:ptCount val="1"/>
                <c:pt idx="0">
                  <c:v>Q4 '14</c:v>
                </c:pt>
              </c:strCache>
            </c:strRef>
          </c:tx>
          <c:invertIfNegative val="0"/>
          <c:cat>
            <c:strRef>
              <c:f>BarChart!$C$2:$H$3</c:f>
              <c:strCache>
                <c:ptCount val="6"/>
                <c:pt idx="0">
                  <c:v>U.S</c:v>
                </c:pt>
                <c:pt idx="1">
                  <c:v>Canada</c:v>
                </c:pt>
                <c:pt idx="2">
                  <c:v>U.K.</c:v>
                </c:pt>
                <c:pt idx="3">
                  <c:v>Australia</c:v>
                </c:pt>
                <c:pt idx="4">
                  <c:v>South Korea</c:v>
                </c:pt>
                <c:pt idx="5">
                  <c:v>EU</c:v>
                </c:pt>
              </c:strCache>
            </c:strRef>
          </c:cat>
          <c:val>
            <c:numRef>
              <c:f>BarChart!$C$7:$H$7</c:f>
              <c:numCache>
                <c:formatCode>_-* #,##0.0_-;\-* #,##0.0_-;_-* "-"_-;_-@_-</c:formatCode>
                <c:ptCount val="6"/>
                <c:pt idx="0">
                  <c:v>2.4737493299999982</c:v>
                </c:pt>
                <c:pt idx="1">
                  <c:v>2.4726708599999991</c:v>
                </c:pt>
                <c:pt idx="2">
                  <c:v>3.38418032</c:v>
                </c:pt>
                <c:pt idx="3">
                  <c:v>2.4706882799999992</c:v>
                </c:pt>
                <c:pt idx="4">
                  <c:v>2.6839910700000051</c:v>
                </c:pt>
                <c:pt idx="5">
                  <c:v>1.37180799</c:v>
                </c:pt>
              </c:numCache>
            </c:numRef>
          </c:val>
        </c:ser>
        <c:ser>
          <c:idx val="4"/>
          <c:order val="4"/>
          <c:tx>
            <c:strRef>
              <c:f>BarChart!$B$8</c:f>
              <c:strCache>
                <c:ptCount val="1"/>
                <c:pt idx="0">
                  <c:v>Q1 '15</c:v>
                </c:pt>
              </c:strCache>
            </c:strRef>
          </c:tx>
          <c:spPr>
            <a:solidFill>
              <a:schemeClr val="accent5">
                <a:lumMod val="50000"/>
              </a:schemeClr>
            </a:solidFill>
          </c:spPr>
          <c:invertIfNegative val="0"/>
          <c:cat>
            <c:strRef>
              <c:f>BarChart!$C$2:$H$3</c:f>
              <c:strCache>
                <c:ptCount val="6"/>
                <c:pt idx="0">
                  <c:v>U.S</c:v>
                </c:pt>
                <c:pt idx="1">
                  <c:v>Canada</c:v>
                </c:pt>
                <c:pt idx="2">
                  <c:v>U.K.</c:v>
                </c:pt>
                <c:pt idx="3">
                  <c:v>Australia</c:v>
                </c:pt>
                <c:pt idx="4">
                  <c:v>South Korea</c:v>
                </c:pt>
                <c:pt idx="5">
                  <c:v>EU</c:v>
                </c:pt>
              </c:strCache>
            </c:strRef>
          </c:cat>
          <c:val>
            <c:numRef>
              <c:f>BarChart!$C$8:$H$8</c:f>
              <c:numCache>
                <c:formatCode>_-* #,##0.0_-;\-* #,##0.0_-;_-* "-"_-;_-@_-</c:formatCode>
                <c:ptCount val="6"/>
                <c:pt idx="0">
                  <c:v>2.8769658299999858</c:v>
                </c:pt>
                <c:pt idx="1">
                  <c:v>2.0123765499999999</c:v>
                </c:pt>
                <c:pt idx="2">
                  <c:v>2.8589414699999991</c:v>
                </c:pt>
                <c:pt idx="3">
                  <c:v>2.4517753699999991</c:v>
                </c:pt>
                <c:pt idx="4">
                  <c:v>2.4116438499999981</c:v>
                </c:pt>
                <c:pt idx="5">
                  <c:v>1.451244629999997</c:v>
                </c:pt>
              </c:numCache>
            </c:numRef>
          </c:val>
        </c:ser>
        <c:ser>
          <c:idx val="5"/>
          <c:order val="5"/>
          <c:tx>
            <c:strRef>
              <c:f>BarChart!$B$9</c:f>
              <c:strCache>
                <c:ptCount val="1"/>
                <c:pt idx="0">
                  <c:v>Q2 '15</c:v>
                </c:pt>
              </c:strCache>
            </c:strRef>
          </c:tx>
          <c:spPr>
            <a:solidFill>
              <a:schemeClr val="accent5">
                <a:lumMod val="75000"/>
              </a:schemeClr>
            </a:solidFill>
          </c:spPr>
          <c:invertIfNegative val="0"/>
          <c:dLbls>
            <c:dLbl>
              <c:idx val="0"/>
              <c:layout>
                <c:manualLayout>
                  <c:x val="2.3800693368545901E-3"/>
                  <c:y val="-3.960396039603959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4.7601386737091697E-3"/>
                  <c:y val="-0.26237623762376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4.455445544554449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8.910891089108929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8.7268200888300904E-17"/>
                  <c:y val="-3.960396039603959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pPr>
                <a:endParaRPr lang="id-ID"/>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BarChart!$C$2:$H$3</c:f>
              <c:strCache>
                <c:ptCount val="6"/>
                <c:pt idx="0">
                  <c:v>U.S</c:v>
                </c:pt>
                <c:pt idx="1">
                  <c:v>Canada</c:v>
                </c:pt>
                <c:pt idx="2">
                  <c:v>U.K.</c:v>
                </c:pt>
                <c:pt idx="3">
                  <c:v>Australia</c:v>
                </c:pt>
                <c:pt idx="4">
                  <c:v>South Korea</c:v>
                </c:pt>
                <c:pt idx="5">
                  <c:v>EU</c:v>
                </c:pt>
              </c:strCache>
            </c:strRef>
          </c:cat>
          <c:val>
            <c:numRef>
              <c:f>BarChart!$C$9:$H$9</c:f>
              <c:numCache>
                <c:formatCode>_-* #,##0.0_-;\-* #,##0.0_-;_-* "-"_-;_-@_-</c:formatCode>
                <c:ptCount val="6"/>
                <c:pt idx="0">
                  <c:v>2.7</c:v>
                </c:pt>
                <c:pt idx="1">
                  <c:v>1.01550096</c:v>
                </c:pt>
                <c:pt idx="2">
                  <c:v>2.6122389399999908</c:v>
                </c:pt>
                <c:pt idx="3">
                  <c:v>1.9860859800000039</c:v>
                </c:pt>
                <c:pt idx="4">
                  <c:v>2.2114123999999982</c:v>
                </c:pt>
                <c:pt idx="5">
                  <c:v>1.6098314099999971</c:v>
                </c:pt>
              </c:numCache>
            </c:numRef>
          </c:val>
        </c:ser>
        <c:dLbls>
          <c:showLegendKey val="0"/>
          <c:showVal val="0"/>
          <c:showCatName val="0"/>
          <c:showSerName val="0"/>
          <c:showPercent val="0"/>
          <c:showBubbleSize val="0"/>
        </c:dLbls>
        <c:gapWidth val="100"/>
        <c:overlap val="-27"/>
        <c:axId val="115030656"/>
        <c:axId val="115032448"/>
      </c:barChart>
      <c:catAx>
        <c:axId val="115030656"/>
        <c:scaling>
          <c:orientation val="minMax"/>
        </c:scaling>
        <c:delete val="0"/>
        <c:axPos val="b"/>
        <c:numFmt formatCode="General" sourceLinked="1"/>
        <c:majorTickMark val="none"/>
        <c:minorTickMark val="none"/>
        <c:tickLblPos val="low"/>
        <c:txPr>
          <a:bodyPr rot="-60000000" vert="horz"/>
          <a:lstStyle/>
          <a:p>
            <a:pPr>
              <a:defRPr/>
            </a:pPr>
            <a:endParaRPr lang="id-ID"/>
          </a:p>
        </c:txPr>
        <c:crossAx val="115032448"/>
        <c:crosses val="autoZero"/>
        <c:auto val="1"/>
        <c:lblAlgn val="ctr"/>
        <c:lblOffset val="100"/>
        <c:noMultiLvlLbl val="0"/>
      </c:catAx>
      <c:valAx>
        <c:axId val="115032448"/>
        <c:scaling>
          <c:orientation val="minMax"/>
          <c:max val="4"/>
        </c:scaling>
        <c:delete val="0"/>
        <c:axPos val="l"/>
        <c:numFmt formatCode="0" sourceLinked="0"/>
        <c:majorTickMark val="none"/>
        <c:minorTickMark val="none"/>
        <c:tickLblPos val="nextTo"/>
        <c:txPr>
          <a:bodyPr rot="-60000000" vert="horz"/>
          <a:lstStyle/>
          <a:p>
            <a:pPr>
              <a:defRPr/>
            </a:pPr>
            <a:endParaRPr lang="id-ID"/>
          </a:p>
        </c:txPr>
        <c:crossAx val="115030656"/>
        <c:crosses val="autoZero"/>
        <c:crossBetween val="between"/>
      </c:valAx>
    </c:plotArea>
    <c:legend>
      <c:legendPos val="b"/>
      <c:layout/>
      <c:overlay val="0"/>
      <c:txPr>
        <a:bodyPr rot="0" vert="horz"/>
        <a:lstStyle/>
        <a:p>
          <a:pPr>
            <a:defRPr sz="1200"/>
          </a:pPr>
          <a:endParaRPr lang="id-ID"/>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Indeks Komoditas'!$C$2</c:f>
              <c:strCache>
                <c:ptCount val="1"/>
                <c:pt idx="0">
                  <c:v>Indeks Komoditas</c:v>
                </c:pt>
              </c:strCache>
            </c:strRef>
          </c:tx>
          <c:spPr>
            <a:ln>
              <a:solidFill>
                <a:srgbClr val="0000FF"/>
              </a:solidFill>
            </a:ln>
          </c:spPr>
          <c:marker>
            <c:symbol val="none"/>
          </c:marker>
          <c:cat>
            <c:multiLvlStrRef>
              <c:f>'Indeks Komoditas'!$A$3:$B$70</c:f>
              <c:multiLvlStrCache>
                <c:ptCount val="68"/>
                <c:lvl>
                  <c:pt idx="0">
                    <c:v>1</c:v>
                  </c:pt>
                  <c:pt idx="1">
                    <c:v>2</c:v>
                  </c:pt>
                  <c:pt idx="2">
                    <c:v>3</c:v>
                  </c:pt>
                  <c:pt idx="3">
                    <c:v>4</c:v>
                  </c:pt>
                  <c:pt idx="4">
                    <c:v>5</c:v>
                  </c:pt>
                  <c:pt idx="5">
                    <c:v>6</c:v>
                  </c:pt>
                  <c:pt idx="6">
                    <c:v>7</c:v>
                  </c:pt>
                  <c:pt idx="7">
                    <c:v>8</c:v>
                  </c:pt>
                  <c:pt idx="8">
                    <c:v>9</c:v>
                  </c:pt>
                  <c:pt idx="9">
                    <c:v>10</c:v>
                  </c:pt>
                  <c:pt idx="10">
                    <c:v>11</c:v>
                  </c:pt>
                  <c:pt idx="11">
                    <c:v>12</c:v>
                  </c:pt>
                  <c:pt idx="12">
                    <c:v>1</c:v>
                  </c:pt>
                  <c:pt idx="13">
                    <c:v>2</c:v>
                  </c:pt>
                  <c:pt idx="14">
                    <c:v>3</c:v>
                  </c:pt>
                  <c:pt idx="15">
                    <c:v>4</c:v>
                  </c:pt>
                  <c:pt idx="16">
                    <c:v>5</c:v>
                  </c:pt>
                  <c:pt idx="17">
                    <c:v>6</c:v>
                  </c:pt>
                  <c:pt idx="18">
                    <c:v>7</c:v>
                  </c:pt>
                  <c:pt idx="19">
                    <c:v>8</c:v>
                  </c:pt>
                  <c:pt idx="20">
                    <c:v>9</c:v>
                  </c:pt>
                  <c:pt idx="21">
                    <c:v>10</c:v>
                  </c:pt>
                  <c:pt idx="22">
                    <c:v>11</c:v>
                  </c:pt>
                  <c:pt idx="23">
                    <c:v>12</c:v>
                  </c:pt>
                  <c:pt idx="24">
                    <c:v>1</c:v>
                  </c:pt>
                  <c:pt idx="25">
                    <c:v>2</c:v>
                  </c:pt>
                  <c:pt idx="26">
                    <c:v>3</c:v>
                  </c:pt>
                  <c:pt idx="27">
                    <c:v>4</c:v>
                  </c:pt>
                  <c:pt idx="28">
                    <c:v>5</c:v>
                  </c:pt>
                  <c:pt idx="29">
                    <c:v>6</c:v>
                  </c:pt>
                  <c:pt idx="30">
                    <c:v>7</c:v>
                  </c:pt>
                  <c:pt idx="31">
                    <c:v>8</c:v>
                  </c:pt>
                  <c:pt idx="32">
                    <c:v>9</c:v>
                  </c:pt>
                  <c:pt idx="33">
                    <c:v>10</c:v>
                  </c:pt>
                  <c:pt idx="34">
                    <c:v>11</c:v>
                  </c:pt>
                  <c:pt idx="35">
                    <c:v>12</c:v>
                  </c:pt>
                  <c:pt idx="36">
                    <c:v>1</c:v>
                  </c:pt>
                  <c:pt idx="37">
                    <c:v>2</c:v>
                  </c:pt>
                  <c:pt idx="38">
                    <c:v>3</c:v>
                  </c:pt>
                  <c:pt idx="39">
                    <c:v>4</c:v>
                  </c:pt>
                  <c:pt idx="40">
                    <c:v>5</c:v>
                  </c:pt>
                  <c:pt idx="41">
                    <c:v>6</c:v>
                  </c:pt>
                  <c:pt idx="42">
                    <c:v>7</c:v>
                  </c:pt>
                  <c:pt idx="43">
                    <c:v>8</c:v>
                  </c:pt>
                  <c:pt idx="44">
                    <c:v>9</c:v>
                  </c:pt>
                  <c:pt idx="45">
                    <c:v>10</c:v>
                  </c:pt>
                  <c:pt idx="46">
                    <c:v>11</c:v>
                  </c:pt>
                  <c:pt idx="47">
                    <c:v>12</c:v>
                  </c:pt>
                  <c:pt idx="48">
                    <c:v>1</c:v>
                  </c:pt>
                  <c:pt idx="49">
                    <c:v>2</c:v>
                  </c:pt>
                  <c:pt idx="50">
                    <c:v>3</c:v>
                  </c:pt>
                  <c:pt idx="51">
                    <c:v>4</c:v>
                  </c:pt>
                  <c:pt idx="52">
                    <c:v>5</c:v>
                  </c:pt>
                  <c:pt idx="53">
                    <c:v>6</c:v>
                  </c:pt>
                  <c:pt idx="54">
                    <c:v>7</c:v>
                  </c:pt>
                  <c:pt idx="55">
                    <c:v>8</c:v>
                  </c:pt>
                  <c:pt idx="56">
                    <c:v>9</c:v>
                  </c:pt>
                  <c:pt idx="57">
                    <c:v>10</c:v>
                  </c:pt>
                  <c:pt idx="58">
                    <c:v>11</c:v>
                  </c:pt>
                  <c:pt idx="59">
                    <c:v>12</c:v>
                  </c:pt>
                  <c:pt idx="60">
                    <c:v>1</c:v>
                  </c:pt>
                  <c:pt idx="61">
                    <c:v>2</c:v>
                  </c:pt>
                  <c:pt idx="62">
                    <c:v>3</c:v>
                  </c:pt>
                  <c:pt idx="63">
                    <c:v>4</c:v>
                  </c:pt>
                  <c:pt idx="64">
                    <c:v>5</c:v>
                  </c:pt>
                  <c:pt idx="65">
                    <c:v>6</c:v>
                  </c:pt>
                  <c:pt idx="66">
                    <c:v>7</c:v>
                  </c:pt>
                  <c:pt idx="67">
                    <c:v>8</c:v>
                  </c:pt>
                </c:lvl>
                <c:lvl>
                  <c:pt idx="0">
                    <c:v>2010</c:v>
                  </c:pt>
                  <c:pt idx="12">
                    <c:v>2011</c:v>
                  </c:pt>
                  <c:pt idx="24">
                    <c:v>2012</c:v>
                  </c:pt>
                  <c:pt idx="36">
                    <c:v>2013</c:v>
                  </c:pt>
                  <c:pt idx="48">
                    <c:v>2014</c:v>
                  </c:pt>
                  <c:pt idx="60">
                    <c:v>2015</c:v>
                  </c:pt>
                </c:lvl>
              </c:multiLvlStrCache>
            </c:multiLvlStrRef>
          </c:cat>
          <c:val>
            <c:numRef>
              <c:f>'Indeks Komoditas'!$C$3:$C$70</c:f>
              <c:numCache>
                <c:formatCode>0.00</c:formatCode>
                <c:ptCount val="68"/>
                <c:pt idx="0">
                  <c:v>129.0506</c:v>
                </c:pt>
                <c:pt idx="1">
                  <c:v>133.83179999999999</c:v>
                </c:pt>
                <c:pt idx="2">
                  <c:v>132.15170000000001</c:v>
                </c:pt>
                <c:pt idx="3">
                  <c:v>134.70369999999971</c:v>
                </c:pt>
                <c:pt idx="4">
                  <c:v>125.3626</c:v>
                </c:pt>
                <c:pt idx="5">
                  <c:v>125.7471000000001</c:v>
                </c:pt>
                <c:pt idx="6">
                  <c:v>134.24809999999999</c:v>
                </c:pt>
                <c:pt idx="7">
                  <c:v>130.8135</c:v>
                </c:pt>
                <c:pt idx="8">
                  <c:v>140.29390000000001</c:v>
                </c:pt>
                <c:pt idx="9">
                  <c:v>147.26859999999999</c:v>
                </c:pt>
                <c:pt idx="10">
                  <c:v>146.72989999999999</c:v>
                </c:pt>
                <c:pt idx="11">
                  <c:v>162.39290000000031</c:v>
                </c:pt>
                <c:pt idx="12">
                  <c:v>163.9999</c:v>
                </c:pt>
                <c:pt idx="13">
                  <c:v>166.14369999999971</c:v>
                </c:pt>
                <c:pt idx="14">
                  <c:v>169.55790000000019</c:v>
                </c:pt>
                <c:pt idx="15">
                  <c:v>175.42110000000031</c:v>
                </c:pt>
                <c:pt idx="16">
                  <c:v>166.54159999999999</c:v>
                </c:pt>
                <c:pt idx="17">
                  <c:v>158.13489999999999</c:v>
                </c:pt>
                <c:pt idx="18">
                  <c:v>162.81460000000001</c:v>
                </c:pt>
                <c:pt idx="19">
                  <c:v>164.43270000000001</c:v>
                </c:pt>
                <c:pt idx="20">
                  <c:v>140.20160000000001</c:v>
                </c:pt>
                <c:pt idx="21">
                  <c:v>149.47790000000001</c:v>
                </c:pt>
                <c:pt idx="22">
                  <c:v>146.15960000000001</c:v>
                </c:pt>
                <c:pt idx="23">
                  <c:v>140.68020000000001</c:v>
                </c:pt>
                <c:pt idx="24">
                  <c:v>144.15610000000001</c:v>
                </c:pt>
                <c:pt idx="25">
                  <c:v>148.0367</c:v>
                </c:pt>
                <c:pt idx="26">
                  <c:v>141.90210000000019</c:v>
                </c:pt>
                <c:pt idx="27">
                  <c:v>141.29169999999999</c:v>
                </c:pt>
                <c:pt idx="28">
                  <c:v>128.37889999999999</c:v>
                </c:pt>
                <c:pt idx="29">
                  <c:v>135.42130000000029</c:v>
                </c:pt>
                <c:pt idx="30">
                  <c:v>144.16900000000001</c:v>
                </c:pt>
                <c:pt idx="31">
                  <c:v>146.0275</c:v>
                </c:pt>
                <c:pt idx="32">
                  <c:v>148.5061</c:v>
                </c:pt>
                <c:pt idx="33">
                  <c:v>142.74160000000001</c:v>
                </c:pt>
                <c:pt idx="34">
                  <c:v>142.80280000000019</c:v>
                </c:pt>
                <c:pt idx="35">
                  <c:v>139.07069999999999</c:v>
                </c:pt>
                <c:pt idx="36">
                  <c:v>142.3956</c:v>
                </c:pt>
                <c:pt idx="37">
                  <c:v>136.56659999999999</c:v>
                </c:pt>
                <c:pt idx="38">
                  <c:v>137.47620000000001</c:v>
                </c:pt>
                <c:pt idx="39">
                  <c:v>133.63159999999999</c:v>
                </c:pt>
                <c:pt idx="40">
                  <c:v>130.62950000000001</c:v>
                </c:pt>
                <c:pt idx="41">
                  <c:v>124.4663</c:v>
                </c:pt>
                <c:pt idx="42">
                  <c:v>126.1571</c:v>
                </c:pt>
                <c:pt idx="43">
                  <c:v>130.44450000000001</c:v>
                </c:pt>
                <c:pt idx="44">
                  <c:v>127.1103</c:v>
                </c:pt>
                <c:pt idx="45">
                  <c:v>125.2281</c:v>
                </c:pt>
                <c:pt idx="46">
                  <c:v>124.2192000000001</c:v>
                </c:pt>
                <c:pt idx="47">
                  <c:v>125.75149999999999</c:v>
                </c:pt>
                <c:pt idx="48">
                  <c:v>126.1206</c:v>
                </c:pt>
                <c:pt idx="49">
                  <c:v>133.97830000000019</c:v>
                </c:pt>
                <c:pt idx="50">
                  <c:v>134.52340000000001</c:v>
                </c:pt>
                <c:pt idx="51">
                  <c:v>137.79640000000001</c:v>
                </c:pt>
                <c:pt idx="52">
                  <c:v>133.83240000000029</c:v>
                </c:pt>
                <c:pt idx="53">
                  <c:v>134.6268</c:v>
                </c:pt>
                <c:pt idx="54">
                  <c:v>127.9143000000001</c:v>
                </c:pt>
                <c:pt idx="55">
                  <c:v>126.5745</c:v>
                </c:pt>
                <c:pt idx="56">
                  <c:v>118.6922</c:v>
                </c:pt>
                <c:pt idx="57">
                  <c:v>117.73650000000001</c:v>
                </c:pt>
                <c:pt idx="58">
                  <c:v>112.9451</c:v>
                </c:pt>
                <c:pt idx="59">
                  <c:v>104.32850000000001</c:v>
                </c:pt>
                <c:pt idx="60">
                  <c:v>100.8413</c:v>
                </c:pt>
                <c:pt idx="61">
                  <c:v>103.4379000000001</c:v>
                </c:pt>
                <c:pt idx="62">
                  <c:v>98.122999999999948</c:v>
                </c:pt>
                <c:pt idx="63">
                  <c:v>103.7471000000001</c:v>
                </c:pt>
                <c:pt idx="64">
                  <c:v>100.9465000000001</c:v>
                </c:pt>
                <c:pt idx="65">
                  <c:v>102.6892</c:v>
                </c:pt>
                <c:pt idx="66">
                  <c:v>91.782700000000006</c:v>
                </c:pt>
                <c:pt idx="67">
                  <c:v>90.9328</c:v>
                </c:pt>
              </c:numCache>
            </c:numRef>
          </c:val>
          <c:smooth val="0"/>
        </c:ser>
        <c:dLbls>
          <c:showLegendKey val="0"/>
          <c:showVal val="0"/>
          <c:showCatName val="0"/>
          <c:showSerName val="0"/>
          <c:showPercent val="0"/>
          <c:showBubbleSize val="0"/>
        </c:dLbls>
        <c:marker val="1"/>
        <c:smooth val="0"/>
        <c:axId val="115284224"/>
        <c:axId val="115298304"/>
      </c:lineChart>
      <c:catAx>
        <c:axId val="115284224"/>
        <c:scaling>
          <c:orientation val="minMax"/>
        </c:scaling>
        <c:delete val="0"/>
        <c:axPos val="b"/>
        <c:numFmt formatCode="General" sourceLinked="0"/>
        <c:majorTickMark val="out"/>
        <c:minorTickMark val="none"/>
        <c:tickLblPos val="nextTo"/>
        <c:crossAx val="115298304"/>
        <c:crosses val="autoZero"/>
        <c:auto val="1"/>
        <c:lblAlgn val="ctr"/>
        <c:lblOffset val="100"/>
        <c:noMultiLvlLbl val="0"/>
      </c:catAx>
      <c:valAx>
        <c:axId val="115298304"/>
        <c:scaling>
          <c:orientation val="minMax"/>
          <c:min val="80"/>
        </c:scaling>
        <c:delete val="0"/>
        <c:axPos val="l"/>
        <c:numFmt formatCode="#,##0" sourceLinked="0"/>
        <c:majorTickMark val="out"/>
        <c:minorTickMark val="none"/>
        <c:tickLblPos val="nextTo"/>
        <c:crossAx val="115284224"/>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9.8278636780263204E-2"/>
          <c:y val="4.9516561205289099E-2"/>
          <c:w val="0.86919188177631901"/>
          <c:h val="0.78317294686222005"/>
        </c:manualLayout>
      </c:layout>
      <c:lineChart>
        <c:grouping val="standard"/>
        <c:varyColors val="0"/>
        <c:ser>
          <c:idx val="0"/>
          <c:order val="0"/>
          <c:tx>
            <c:strRef>
              <c:f>Edited!$A$17:$B$17</c:f>
              <c:strCache>
                <c:ptCount val="1"/>
                <c:pt idx="0">
                  <c:v>Food W</c:v>
                </c:pt>
              </c:strCache>
            </c:strRef>
          </c:tx>
          <c:spPr>
            <a:ln w="28575" cmpd="sng">
              <a:solidFill>
                <a:srgbClr val="008000"/>
              </a:solidFill>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17:$I$17</c:f>
              <c:numCache>
                <c:formatCode>0.0</c:formatCode>
                <c:ptCount val="7"/>
                <c:pt idx="0">
                  <c:v>157.39843522580441</c:v>
                </c:pt>
                <c:pt idx="1">
                  <c:v>134.1418180568626</c:v>
                </c:pt>
                <c:pt idx="2">
                  <c:v>150.0907181753401</c:v>
                </c:pt>
                <c:pt idx="3">
                  <c:v>179.89240761587939</c:v>
                </c:pt>
                <c:pt idx="4">
                  <c:v>175.61522946778271</c:v>
                </c:pt>
                <c:pt idx="5">
                  <c:v>177.56105031756101</c:v>
                </c:pt>
                <c:pt idx="6">
                  <c:v>170.20348977124641</c:v>
                </c:pt>
              </c:numCache>
            </c:numRef>
          </c:val>
          <c:smooth val="0"/>
        </c:ser>
        <c:ser>
          <c:idx val="1"/>
          <c:order val="1"/>
          <c:tx>
            <c:strRef>
              <c:f>Edited!$A$19:$B$19</c:f>
              <c:strCache>
                <c:ptCount val="1"/>
                <c:pt idx="0">
                  <c:v>Agricultural W</c:v>
                </c:pt>
              </c:strCache>
            </c:strRef>
          </c:tx>
          <c:spPr>
            <a:ln w="28575" cmpd="sng">
              <a:solidFill>
                <a:srgbClr val="FF0000"/>
              </a:solidFill>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19:$I$19</c:f>
              <c:numCache>
                <c:formatCode>0.0</c:formatCode>
                <c:ptCount val="7"/>
                <c:pt idx="0">
                  <c:v>113.3668331753903</c:v>
                </c:pt>
                <c:pt idx="1">
                  <c:v>93.92917832183845</c:v>
                </c:pt>
                <c:pt idx="2">
                  <c:v>125.1079777050887</c:v>
                </c:pt>
                <c:pt idx="3">
                  <c:v>153.5040799106502</c:v>
                </c:pt>
                <c:pt idx="4">
                  <c:v>134.03217255005001</c:v>
                </c:pt>
                <c:pt idx="5">
                  <c:v>136.20047183225111</c:v>
                </c:pt>
                <c:pt idx="6">
                  <c:v>138.78701502894151</c:v>
                </c:pt>
              </c:numCache>
            </c:numRef>
          </c:val>
          <c:smooth val="0"/>
        </c:ser>
        <c:ser>
          <c:idx val="2"/>
          <c:order val="2"/>
          <c:tx>
            <c:strRef>
              <c:f>Edited!$A$12:$B$12</c:f>
              <c:strCache>
                <c:ptCount val="1"/>
                <c:pt idx="0">
                  <c:v>Energy W</c:v>
                </c:pt>
              </c:strCache>
            </c:strRef>
          </c:tx>
          <c:spPr>
            <a:ln w="28575" cmpd="sng">
              <a:solidFill>
                <a:srgbClr val="0000FF"/>
              </a:solidFill>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12:$I$12</c:f>
              <c:numCache>
                <c:formatCode>0.0</c:formatCode>
                <c:ptCount val="7"/>
                <c:pt idx="0">
                  <c:v>184.4659676870584</c:v>
                </c:pt>
                <c:pt idx="1">
                  <c:v>116.4864955195373</c:v>
                </c:pt>
                <c:pt idx="2">
                  <c:v>146.72633512804191</c:v>
                </c:pt>
                <c:pt idx="3">
                  <c:v>192.97043838178271</c:v>
                </c:pt>
                <c:pt idx="4">
                  <c:v>194.23410306098731</c:v>
                </c:pt>
                <c:pt idx="5">
                  <c:v>190.99839257570841</c:v>
                </c:pt>
                <c:pt idx="6">
                  <c:v>176.8529518035738</c:v>
                </c:pt>
              </c:numCache>
            </c:numRef>
          </c:val>
          <c:smooth val="0"/>
        </c:ser>
        <c:ser>
          <c:idx val="3"/>
          <c:order val="3"/>
          <c:tx>
            <c:strRef>
              <c:f>Edited!$A$22:$B$22</c:f>
              <c:strCache>
                <c:ptCount val="1"/>
                <c:pt idx="0">
                  <c:v>Food - P</c:v>
                </c:pt>
              </c:strCache>
            </c:strRef>
          </c:tx>
          <c:spPr>
            <a:ln w="28575" cmpd="sng">
              <a:solidFill>
                <a:srgbClr val="008000"/>
              </a:solidFill>
              <a:prstDash val="sysDash"/>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22:$P$22</c:f>
              <c:numCache>
                <c:formatCode>General</c:formatCode>
                <c:ptCount val="14"/>
                <c:pt idx="8" formatCode="0.0">
                  <c:v>143.73063749033241</c:v>
                </c:pt>
                <c:pt idx="9" formatCode="0.0">
                  <c:v>139.70092391208561</c:v>
                </c:pt>
                <c:pt idx="10" formatCode="0.0">
                  <c:v>139.65407979501211</c:v>
                </c:pt>
                <c:pt idx="11" formatCode="0.0">
                  <c:v>138.80774162369019</c:v>
                </c:pt>
                <c:pt idx="12" formatCode="0.0">
                  <c:v>137.989649498841</c:v>
                </c:pt>
                <c:pt idx="13" formatCode="0.0">
                  <c:v>137.21310559509939</c:v>
                </c:pt>
              </c:numCache>
            </c:numRef>
          </c:val>
          <c:smooth val="0"/>
        </c:ser>
        <c:ser>
          <c:idx val="4"/>
          <c:order val="4"/>
          <c:tx>
            <c:strRef>
              <c:f>Edited!$A$24:$B$24</c:f>
              <c:strCache>
                <c:ptCount val="1"/>
                <c:pt idx="0">
                  <c:v>Agricultural - P</c:v>
                </c:pt>
              </c:strCache>
            </c:strRef>
          </c:tx>
          <c:spPr>
            <a:ln w="28575" cmpd="sng">
              <a:solidFill>
                <a:srgbClr val="FF0000"/>
              </a:solidFill>
              <a:prstDash val="sysDash"/>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24:$P$24</c:f>
              <c:numCache>
                <c:formatCode>General</c:formatCode>
                <c:ptCount val="14"/>
                <c:pt idx="8" formatCode="0.0">
                  <c:v>125.64002396927791</c:v>
                </c:pt>
                <c:pt idx="9" formatCode="0.0">
                  <c:v>127.0976947927555</c:v>
                </c:pt>
                <c:pt idx="10" formatCode="0.0">
                  <c:v>123.9859665459843</c:v>
                </c:pt>
                <c:pt idx="11" formatCode="0.0">
                  <c:v>121.6348217877615</c:v>
                </c:pt>
                <c:pt idx="12" formatCode="0.0">
                  <c:v>118.1981594901126</c:v>
                </c:pt>
                <c:pt idx="13" formatCode="0.0">
                  <c:v>114.64691838381169</c:v>
                </c:pt>
              </c:numCache>
            </c:numRef>
          </c:val>
          <c:smooth val="0"/>
        </c:ser>
        <c:ser>
          <c:idx val="5"/>
          <c:order val="5"/>
          <c:tx>
            <c:strRef>
              <c:f>Edited!$A$15:$B$15</c:f>
              <c:strCache>
                <c:ptCount val="1"/>
                <c:pt idx="0">
                  <c:v>Energy - P</c:v>
                </c:pt>
              </c:strCache>
            </c:strRef>
          </c:tx>
          <c:spPr>
            <a:ln w="28575" cmpd="sng">
              <a:solidFill>
                <a:srgbClr val="0000FF"/>
              </a:solidFill>
              <a:prstDash val="sysDash"/>
            </a:ln>
          </c:spPr>
          <c:marker>
            <c:symbol val="none"/>
          </c:marker>
          <c:cat>
            <c:strRef>
              <c:f>Edited!$C$9:$P$9</c:f>
              <c:strCache>
                <c:ptCount val="14"/>
                <c:pt idx="0">
                  <c:v>2008</c:v>
                </c:pt>
                <c:pt idx="1">
                  <c:v>2009</c:v>
                </c:pt>
                <c:pt idx="2">
                  <c:v>2010</c:v>
                </c:pt>
                <c:pt idx="3">
                  <c:v>2011</c:v>
                </c:pt>
                <c:pt idx="4">
                  <c:v>2012</c:v>
                </c:pt>
                <c:pt idx="5">
                  <c:v>2013</c:v>
                </c:pt>
                <c:pt idx="6">
                  <c:v>2014</c:v>
                </c:pt>
                <c:pt idx="8">
                  <c:v>2015P</c:v>
                </c:pt>
                <c:pt idx="9">
                  <c:v>2016P</c:v>
                </c:pt>
                <c:pt idx="10">
                  <c:v>2017P</c:v>
                </c:pt>
                <c:pt idx="11">
                  <c:v>2018P</c:v>
                </c:pt>
                <c:pt idx="12">
                  <c:v>2019P</c:v>
                </c:pt>
                <c:pt idx="13">
                  <c:v>2020P</c:v>
                </c:pt>
              </c:strCache>
            </c:strRef>
          </c:cat>
          <c:val>
            <c:numRef>
              <c:f>Edited!$C$15:$P$15</c:f>
              <c:numCache>
                <c:formatCode>General</c:formatCode>
                <c:ptCount val="14"/>
                <c:pt idx="8" formatCode="0.0">
                  <c:v>107.1166492308182</c:v>
                </c:pt>
                <c:pt idx="9" formatCode="0.0">
                  <c:v>111.766734902509</c:v>
                </c:pt>
                <c:pt idx="10" formatCode="0.0">
                  <c:v>117.73626081701541</c:v>
                </c:pt>
                <c:pt idx="11" formatCode="0.0">
                  <c:v>123.1817720034726</c:v>
                </c:pt>
                <c:pt idx="12" formatCode="0.0">
                  <c:v>126.004230274381</c:v>
                </c:pt>
                <c:pt idx="13" formatCode="0.0">
                  <c:v>126.9574048393618</c:v>
                </c:pt>
              </c:numCache>
            </c:numRef>
          </c:val>
          <c:smooth val="0"/>
        </c:ser>
        <c:ser>
          <c:idx val="6"/>
          <c:order val="6"/>
          <c:tx>
            <c:strRef>
              <c:f>Edited!$A$20</c:f>
              <c:strCache>
                <c:ptCount val="1"/>
                <c:pt idx="0">
                  <c:v>Metals</c:v>
                </c:pt>
              </c:strCache>
            </c:strRef>
          </c:tx>
          <c:spPr>
            <a:ln w="28575" cmpd="sng">
              <a:solidFill>
                <a:schemeClr val="accent6">
                  <a:lumMod val="75000"/>
                </a:schemeClr>
              </a:solidFill>
            </a:ln>
          </c:spPr>
          <c:marker>
            <c:symbol val="none"/>
          </c:marker>
          <c:val>
            <c:numRef>
              <c:f>Edited!$C$20:$P$20</c:f>
              <c:numCache>
                <c:formatCode>0.0</c:formatCode>
                <c:ptCount val="14"/>
                <c:pt idx="0">
                  <c:v>169.01308342376441</c:v>
                </c:pt>
                <c:pt idx="1">
                  <c:v>136.53030267712339</c:v>
                </c:pt>
                <c:pt idx="2">
                  <c:v>202.31976447560189</c:v>
                </c:pt>
                <c:pt idx="3">
                  <c:v>229.7191412023241</c:v>
                </c:pt>
                <c:pt idx="4">
                  <c:v>191.03413986335451</c:v>
                </c:pt>
                <c:pt idx="5">
                  <c:v>182.8965927716641</c:v>
                </c:pt>
                <c:pt idx="6">
                  <c:v>164.13322955858999</c:v>
                </c:pt>
              </c:numCache>
            </c:numRef>
          </c:val>
          <c:smooth val="0"/>
        </c:ser>
        <c:ser>
          <c:idx val="7"/>
          <c:order val="7"/>
          <c:tx>
            <c:strRef>
              <c:f>Edited!$A$25</c:f>
              <c:strCache>
                <c:ptCount val="1"/>
                <c:pt idx="0">
                  <c:v>Metals - P</c:v>
                </c:pt>
              </c:strCache>
            </c:strRef>
          </c:tx>
          <c:spPr>
            <a:ln w="28575" cmpd="sng">
              <a:solidFill>
                <a:srgbClr val="E46C0A"/>
              </a:solidFill>
              <a:prstDash val="sysDash"/>
            </a:ln>
          </c:spPr>
          <c:marker>
            <c:symbol val="none"/>
          </c:marker>
          <c:val>
            <c:numRef>
              <c:f>Edited!$C$25:$P$25</c:f>
              <c:numCache>
                <c:formatCode>General</c:formatCode>
                <c:ptCount val="14"/>
                <c:pt idx="8" formatCode="0.0">
                  <c:v>129.66628785602171</c:v>
                </c:pt>
                <c:pt idx="9" formatCode="0.0">
                  <c:v>122.79155814435779</c:v>
                </c:pt>
                <c:pt idx="10" formatCode="0.0">
                  <c:v>123.94248385241281</c:v>
                </c:pt>
                <c:pt idx="11" formatCode="0.0">
                  <c:v>125.2642209552199</c:v>
                </c:pt>
                <c:pt idx="12" formatCode="0.0">
                  <c:v>126.4167952379583</c:v>
                </c:pt>
                <c:pt idx="13" formatCode="0.0">
                  <c:v>127.43512286902209</c:v>
                </c:pt>
              </c:numCache>
            </c:numRef>
          </c:val>
          <c:smooth val="0"/>
        </c:ser>
        <c:dLbls>
          <c:showLegendKey val="0"/>
          <c:showVal val="0"/>
          <c:showCatName val="0"/>
          <c:showSerName val="0"/>
          <c:showPercent val="0"/>
          <c:showBubbleSize val="0"/>
        </c:dLbls>
        <c:marker val="1"/>
        <c:smooth val="0"/>
        <c:axId val="121701120"/>
        <c:axId val="121702656"/>
      </c:lineChart>
      <c:catAx>
        <c:axId val="121701120"/>
        <c:scaling>
          <c:orientation val="minMax"/>
        </c:scaling>
        <c:delete val="0"/>
        <c:axPos val="b"/>
        <c:numFmt formatCode="General" sourceLinked="1"/>
        <c:majorTickMark val="none"/>
        <c:minorTickMark val="none"/>
        <c:tickLblPos val="nextTo"/>
        <c:txPr>
          <a:bodyPr/>
          <a:lstStyle/>
          <a:p>
            <a:pPr>
              <a:defRPr sz="900"/>
            </a:pPr>
            <a:endParaRPr lang="id-ID"/>
          </a:p>
        </c:txPr>
        <c:crossAx val="121702656"/>
        <c:crosses val="autoZero"/>
        <c:auto val="1"/>
        <c:lblAlgn val="ctr"/>
        <c:lblOffset val="100"/>
        <c:noMultiLvlLbl val="0"/>
      </c:catAx>
      <c:valAx>
        <c:axId val="121702656"/>
        <c:scaling>
          <c:orientation val="minMax"/>
          <c:min val="70"/>
        </c:scaling>
        <c:delete val="0"/>
        <c:axPos val="l"/>
        <c:numFmt formatCode="0" sourceLinked="0"/>
        <c:majorTickMark val="none"/>
        <c:minorTickMark val="none"/>
        <c:tickLblPos val="nextTo"/>
        <c:txPr>
          <a:bodyPr/>
          <a:lstStyle/>
          <a:p>
            <a:pPr>
              <a:defRPr sz="900"/>
            </a:pPr>
            <a:endParaRPr lang="id-ID"/>
          </a:p>
        </c:txPr>
        <c:crossAx val="121701120"/>
        <c:crosses val="autoZero"/>
        <c:crossBetween val="between"/>
        <c:majorUnit val="30"/>
      </c:valAx>
    </c:plotArea>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dPt>
          <c:dPt>
            <c:idx val="1"/>
            <c:invertIfNegative val="0"/>
            <c:bubble3D val="0"/>
            <c:spPr>
              <a:solidFill>
                <a:schemeClr val="accent2"/>
              </a:solidFill>
              <a:ln>
                <a:noFill/>
              </a:ln>
              <a:effectLst/>
            </c:spPr>
          </c:dPt>
          <c:dPt>
            <c:idx val="2"/>
            <c:invertIfNegative val="0"/>
            <c:bubble3D val="0"/>
            <c:spPr>
              <a:solidFill>
                <a:schemeClr val="accent2"/>
              </a:solidFill>
              <a:ln>
                <a:noFill/>
              </a:ln>
              <a:effectLst/>
            </c:spPr>
          </c:dPt>
          <c:dPt>
            <c:idx val="3"/>
            <c:invertIfNegative val="0"/>
            <c:bubble3D val="0"/>
            <c:spPr>
              <a:solidFill>
                <a:schemeClr val="accent2"/>
              </a:solidFill>
              <a:ln>
                <a:noFill/>
              </a:ln>
              <a:effectLst/>
            </c:spPr>
          </c:dPt>
          <c:dPt>
            <c:idx val="4"/>
            <c:invertIfNegative val="0"/>
            <c:bubble3D val="0"/>
            <c:spPr>
              <a:solidFill>
                <a:schemeClr val="accent6"/>
              </a:solidFill>
              <a:ln>
                <a:noFill/>
              </a:ln>
              <a:effectLst/>
            </c:spPr>
          </c:dPt>
          <c:dPt>
            <c:idx val="5"/>
            <c:invertIfNegative val="0"/>
            <c:bubble3D val="0"/>
            <c:spPr>
              <a:solidFill>
                <a:schemeClr val="accent6"/>
              </a:solidFill>
              <a:ln>
                <a:noFill/>
              </a:ln>
              <a:effectLst/>
            </c:spPr>
          </c:dPt>
          <c:dPt>
            <c:idx val="6"/>
            <c:invertIfNegative val="0"/>
            <c:bubble3D val="0"/>
            <c:spPr>
              <a:solidFill>
                <a:schemeClr val="accent6"/>
              </a:solidFill>
              <a:ln>
                <a:noFill/>
              </a:ln>
              <a:effectLst/>
            </c:spPr>
          </c:dPt>
          <c:dPt>
            <c:idx val="7"/>
            <c:invertIfNegative val="0"/>
            <c:bubble3D val="0"/>
            <c:spPr>
              <a:solidFill>
                <a:schemeClr val="accent6"/>
              </a:solidFill>
              <a:ln>
                <a:noFill/>
              </a:ln>
              <a:effectLst/>
            </c:spPr>
          </c:dPt>
          <c:dPt>
            <c:idx val="8"/>
            <c:invertIfNegative val="0"/>
            <c:bubble3D val="0"/>
            <c:spPr>
              <a:solidFill>
                <a:schemeClr val="accent6"/>
              </a:solidFill>
              <a:ln>
                <a:noFill/>
              </a:ln>
              <a:effectLst/>
            </c:spPr>
          </c:dPt>
          <c:dPt>
            <c:idx val="9"/>
            <c:invertIfNegative val="0"/>
            <c:bubble3D val="0"/>
            <c:spPr>
              <a:solidFill>
                <a:schemeClr val="accent6"/>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solidFill>
                    <a:latin typeface="+mn-lt"/>
                    <a:ea typeface="+mn-ea"/>
                    <a:cs typeface="+mn-cs"/>
                  </a:defRPr>
                </a:pPr>
                <a:endParaRPr lang="id-ID"/>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abel!$C$45:$C$60</c:f>
              <c:strCache>
                <c:ptCount val="16"/>
                <c:pt idx="0">
                  <c:v>Batubara</c:v>
                </c:pt>
                <c:pt idx="1">
                  <c:v>Minyak Mentah Brent</c:v>
                </c:pt>
                <c:pt idx="2">
                  <c:v>Minyak Mentah WTI</c:v>
                </c:pt>
                <c:pt idx="3">
                  <c:v>Gas</c:v>
                </c:pt>
                <c:pt idx="4">
                  <c:v>Nickel</c:v>
                </c:pt>
                <c:pt idx="5">
                  <c:v>Tembaga</c:v>
                </c:pt>
                <c:pt idx="6">
                  <c:v>Alumunium</c:v>
                </c:pt>
                <c:pt idx="7">
                  <c:v>Biji Besi</c:v>
                </c:pt>
                <c:pt idx="8">
                  <c:v>Perak</c:v>
                </c:pt>
                <c:pt idx="9">
                  <c:v>Emas</c:v>
                </c:pt>
                <c:pt idx="10">
                  <c:v>Minyak Sawit</c:v>
                </c:pt>
                <c:pt idx="11">
                  <c:v>Gula</c:v>
                </c:pt>
                <c:pt idx="12">
                  <c:v>Gandum</c:v>
                </c:pt>
                <c:pt idx="13">
                  <c:v>Kedelai</c:v>
                </c:pt>
                <c:pt idx="14">
                  <c:v>Jagung</c:v>
                </c:pt>
                <c:pt idx="15">
                  <c:v>Kapas</c:v>
                </c:pt>
              </c:strCache>
            </c:strRef>
          </c:cat>
          <c:val>
            <c:numRef>
              <c:f>Tabel!$D$45:$D$60</c:f>
              <c:numCache>
                <c:formatCode>0.0%</c:formatCode>
                <c:ptCount val="16"/>
                <c:pt idx="0">
                  <c:v>-0.241234221598878</c:v>
                </c:pt>
                <c:pt idx="1">
                  <c:v>-0.16337876614060201</c:v>
                </c:pt>
                <c:pt idx="2">
                  <c:v>-0.15918903698141601</c:v>
                </c:pt>
                <c:pt idx="3">
                  <c:v>-0.15734035549703801</c:v>
                </c:pt>
                <c:pt idx="4">
                  <c:v>-0.34653465346534701</c:v>
                </c:pt>
                <c:pt idx="5">
                  <c:v>-0.19825396825396799</c:v>
                </c:pt>
                <c:pt idx="6">
                  <c:v>-0.14763832658569501</c:v>
                </c:pt>
                <c:pt idx="7">
                  <c:v>-6.7000000000000004E-2</c:v>
                </c:pt>
                <c:pt idx="8">
                  <c:v>-4.60751179087662E-2</c:v>
                </c:pt>
                <c:pt idx="9">
                  <c:v>-3.5892499810025603E-2</c:v>
                </c:pt>
                <c:pt idx="10">
                  <c:v>-0.27800304878048798</c:v>
                </c:pt>
                <c:pt idx="11">
                  <c:v>-0.255176613885506</c:v>
                </c:pt>
                <c:pt idx="12">
                  <c:v>-0.18503456689711301</c:v>
                </c:pt>
                <c:pt idx="13">
                  <c:v>-0.106879544414502</c:v>
                </c:pt>
                <c:pt idx="14">
                  <c:v>-8.9073634204275498E-2</c:v>
                </c:pt>
                <c:pt idx="15">
                  <c:v>-6.1937286556969902E-2</c:v>
                </c:pt>
              </c:numCache>
            </c:numRef>
          </c:val>
        </c:ser>
        <c:dLbls>
          <c:showLegendKey val="0"/>
          <c:showVal val="0"/>
          <c:showCatName val="0"/>
          <c:showSerName val="0"/>
          <c:showPercent val="0"/>
          <c:showBubbleSize val="0"/>
        </c:dLbls>
        <c:gapWidth val="70"/>
        <c:axId val="121760000"/>
        <c:axId val="122617856"/>
      </c:barChart>
      <c:catAx>
        <c:axId val="121760000"/>
        <c:scaling>
          <c:orientation val="minMax"/>
        </c:scaling>
        <c:delete val="0"/>
        <c:axPos val="l"/>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id-ID"/>
          </a:p>
        </c:txPr>
        <c:crossAx val="122617856"/>
        <c:crosses val="autoZero"/>
        <c:auto val="1"/>
        <c:lblAlgn val="ctr"/>
        <c:lblOffset val="100"/>
        <c:noMultiLvlLbl val="0"/>
      </c:catAx>
      <c:valAx>
        <c:axId val="122617856"/>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d-ID"/>
          </a:p>
        </c:txPr>
        <c:crossAx val="12176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d-ID"/>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86217143753789E-2"/>
          <c:y val="3.1597348818354347E-2"/>
          <c:w val="0.90294285352792369"/>
          <c:h val="0.86571704233831082"/>
        </c:manualLayout>
      </c:layout>
      <c:lineChart>
        <c:grouping val="standard"/>
        <c:varyColors val="0"/>
        <c:ser>
          <c:idx val="0"/>
          <c:order val="0"/>
          <c:spPr>
            <a:ln w="19050"/>
          </c:spPr>
          <c:marker>
            <c:symbol val="none"/>
          </c:marker>
          <c:dLbls>
            <c:dLbl>
              <c:idx val="391"/>
              <c:layout/>
              <c:showLegendKey val="0"/>
              <c:showVal val="1"/>
              <c:showCatName val="0"/>
              <c:showSerName val="0"/>
              <c:showPercent val="0"/>
              <c:showBubbleSize val="0"/>
            </c:dLbl>
            <c:dLbl>
              <c:idx val="643"/>
              <c:layout/>
              <c:showLegendKey val="0"/>
              <c:showVal val="1"/>
              <c:showCatName val="0"/>
              <c:showSerName val="0"/>
              <c:showPercent val="0"/>
              <c:showBubbleSize val="0"/>
            </c:dLbl>
            <c:dLbl>
              <c:idx val="3321"/>
              <c:layout/>
              <c:showLegendKey val="0"/>
              <c:showVal val="1"/>
              <c:showCatName val="0"/>
              <c:showSerName val="0"/>
              <c:showPercent val="0"/>
              <c:showBubbleSize val="0"/>
            </c:dLbl>
            <c:dLbl>
              <c:idx val="3363"/>
              <c:layout/>
              <c:showLegendKey val="0"/>
              <c:showVal val="1"/>
              <c:showCatName val="0"/>
              <c:showSerName val="0"/>
              <c:showPercent val="0"/>
              <c:showBubbleSize val="0"/>
            </c:dLbl>
            <c:dLbl>
              <c:idx val="4534"/>
              <c:layout/>
              <c:showLegendKey val="0"/>
              <c:showVal val="1"/>
              <c:showCatName val="0"/>
              <c:showSerName val="0"/>
              <c:showPercent val="0"/>
              <c:showBubbleSize val="0"/>
            </c:dLbl>
            <c:dLbl>
              <c:idx val="5129"/>
              <c:layout/>
              <c:showLegendKey val="0"/>
              <c:showVal val="1"/>
              <c:showCatName val="0"/>
              <c:showSerName val="0"/>
              <c:showPercent val="0"/>
              <c:showBubbleSize val="0"/>
            </c:dLbl>
            <c:spPr>
              <a:solidFill>
                <a:schemeClr val="tx2"/>
              </a:solidFill>
            </c:spPr>
            <c:txPr>
              <a:bodyPr/>
              <a:lstStyle/>
              <a:p>
                <a:pPr>
                  <a:defRPr b="1">
                    <a:solidFill>
                      <a:schemeClr val="bg1"/>
                    </a:solidFill>
                  </a:defRPr>
                </a:pPr>
                <a:endParaRPr lang="id-ID"/>
              </a:p>
            </c:txPr>
            <c:showLegendKey val="0"/>
            <c:showVal val="0"/>
            <c:showCatName val="0"/>
            <c:showSerName val="0"/>
            <c:showPercent val="0"/>
            <c:showBubbleSize val="0"/>
          </c:dLbls>
          <c:cat>
            <c:numRef>
              <c:f>Sheet1!$B$788:$B$5917</c:f>
              <c:numCache>
                <c:formatCode>m/d/yyyy</c:formatCode>
                <c:ptCount val="5130"/>
                <c:pt idx="0">
                  <c:v>35062</c:v>
                </c:pt>
                <c:pt idx="1">
                  <c:v>35065</c:v>
                </c:pt>
                <c:pt idx="2">
                  <c:v>35066</c:v>
                </c:pt>
                <c:pt idx="3">
                  <c:v>35067</c:v>
                </c:pt>
                <c:pt idx="4">
                  <c:v>35068</c:v>
                </c:pt>
                <c:pt idx="5">
                  <c:v>35069</c:v>
                </c:pt>
                <c:pt idx="6">
                  <c:v>35072</c:v>
                </c:pt>
                <c:pt idx="7">
                  <c:v>35073</c:v>
                </c:pt>
                <c:pt idx="8">
                  <c:v>35074</c:v>
                </c:pt>
                <c:pt idx="9">
                  <c:v>35075</c:v>
                </c:pt>
                <c:pt idx="10">
                  <c:v>35076</c:v>
                </c:pt>
                <c:pt idx="11">
                  <c:v>35079</c:v>
                </c:pt>
                <c:pt idx="12">
                  <c:v>35080</c:v>
                </c:pt>
                <c:pt idx="13">
                  <c:v>35081</c:v>
                </c:pt>
                <c:pt idx="14">
                  <c:v>35082</c:v>
                </c:pt>
                <c:pt idx="15">
                  <c:v>35083</c:v>
                </c:pt>
                <c:pt idx="16">
                  <c:v>35086</c:v>
                </c:pt>
                <c:pt idx="17">
                  <c:v>35087</c:v>
                </c:pt>
                <c:pt idx="18">
                  <c:v>35088</c:v>
                </c:pt>
                <c:pt idx="19">
                  <c:v>35089</c:v>
                </c:pt>
                <c:pt idx="20">
                  <c:v>35090</c:v>
                </c:pt>
                <c:pt idx="21">
                  <c:v>35093</c:v>
                </c:pt>
                <c:pt idx="22">
                  <c:v>35094</c:v>
                </c:pt>
                <c:pt idx="23">
                  <c:v>35095</c:v>
                </c:pt>
                <c:pt idx="24">
                  <c:v>35096</c:v>
                </c:pt>
                <c:pt idx="25">
                  <c:v>35097</c:v>
                </c:pt>
                <c:pt idx="26">
                  <c:v>35100</c:v>
                </c:pt>
                <c:pt idx="27">
                  <c:v>35101</c:v>
                </c:pt>
                <c:pt idx="28">
                  <c:v>35102</c:v>
                </c:pt>
                <c:pt idx="29">
                  <c:v>35103</c:v>
                </c:pt>
                <c:pt idx="30">
                  <c:v>35104</c:v>
                </c:pt>
                <c:pt idx="31">
                  <c:v>35107</c:v>
                </c:pt>
                <c:pt idx="32">
                  <c:v>35108</c:v>
                </c:pt>
                <c:pt idx="33">
                  <c:v>35109</c:v>
                </c:pt>
                <c:pt idx="34">
                  <c:v>35110</c:v>
                </c:pt>
                <c:pt idx="35">
                  <c:v>35111</c:v>
                </c:pt>
                <c:pt idx="36">
                  <c:v>35114</c:v>
                </c:pt>
                <c:pt idx="37">
                  <c:v>35115</c:v>
                </c:pt>
                <c:pt idx="38">
                  <c:v>35116</c:v>
                </c:pt>
                <c:pt idx="39">
                  <c:v>35117</c:v>
                </c:pt>
                <c:pt idx="40">
                  <c:v>35118</c:v>
                </c:pt>
                <c:pt idx="41">
                  <c:v>35121</c:v>
                </c:pt>
                <c:pt idx="42">
                  <c:v>35122</c:v>
                </c:pt>
                <c:pt idx="43">
                  <c:v>35123</c:v>
                </c:pt>
                <c:pt idx="44">
                  <c:v>35124</c:v>
                </c:pt>
                <c:pt idx="45">
                  <c:v>35125</c:v>
                </c:pt>
                <c:pt idx="46">
                  <c:v>35128</c:v>
                </c:pt>
                <c:pt idx="47">
                  <c:v>35129</c:v>
                </c:pt>
                <c:pt idx="48">
                  <c:v>35130</c:v>
                </c:pt>
                <c:pt idx="49">
                  <c:v>35131</c:v>
                </c:pt>
                <c:pt idx="50">
                  <c:v>35132</c:v>
                </c:pt>
                <c:pt idx="51">
                  <c:v>35135</c:v>
                </c:pt>
                <c:pt idx="52">
                  <c:v>35136</c:v>
                </c:pt>
                <c:pt idx="53">
                  <c:v>35137</c:v>
                </c:pt>
                <c:pt idx="54">
                  <c:v>35138</c:v>
                </c:pt>
                <c:pt idx="55">
                  <c:v>35139</c:v>
                </c:pt>
                <c:pt idx="56">
                  <c:v>35142</c:v>
                </c:pt>
                <c:pt idx="57">
                  <c:v>35143</c:v>
                </c:pt>
                <c:pt idx="58">
                  <c:v>35144</c:v>
                </c:pt>
                <c:pt idx="59">
                  <c:v>35145</c:v>
                </c:pt>
                <c:pt idx="60">
                  <c:v>35146</c:v>
                </c:pt>
                <c:pt idx="61">
                  <c:v>35149</c:v>
                </c:pt>
                <c:pt idx="62">
                  <c:v>35150</c:v>
                </c:pt>
                <c:pt idx="63">
                  <c:v>35151</c:v>
                </c:pt>
                <c:pt idx="64">
                  <c:v>35152</c:v>
                </c:pt>
                <c:pt idx="65">
                  <c:v>35153</c:v>
                </c:pt>
                <c:pt idx="66">
                  <c:v>35156</c:v>
                </c:pt>
                <c:pt idx="67">
                  <c:v>35157</c:v>
                </c:pt>
                <c:pt idx="68">
                  <c:v>35158</c:v>
                </c:pt>
                <c:pt idx="69">
                  <c:v>35159</c:v>
                </c:pt>
                <c:pt idx="70">
                  <c:v>35160</c:v>
                </c:pt>
                <c:pt idx="71">
                  <c:v>35163</c:v>
                </c:pt>
                <c:pt idx="72">
                  <c:v>35164</c:v>
                </c:pt>
                <c:pt idx="73">
                  <c:v>35165</c:v>
                </c:pt>
                <c:pt idx="74">
                  <c:v>35166</c:v>
                </c:pt>
                <c:pt idx="75">
                  <c:v>35167</c:v>
                </c:pt>
                <c:pt idx="76">
                  <c:v>35170</c:v>
                </c:pt>
                <c:pt idx="77">
                  <c:v>35171</c:v>
                </c:pt>
                <c:pt idx="78">
                  <c:v>35172</c:v>
                </c:pt>
                <c:pt idx="79">
                  <c:v>35173</c:v>
                </c:pt>
                <c:pt idx="80">
                  <c:v>35174</c:v>
                </c:pt>
                <c:pt idx="81">
                  <c:v>35177</c:v>
                </c:pt>
                <c:pt idx="82">
                  <c:v>35178</c:v>
                </c:pt>
                <c:pt idx="83">
                  <c:v>35179</c:v>
                </c:pt>
                <c:pt idx="84">
                  <c:v>35180</c:v>
                </c:pt>
                <c:pt idx="85">
                  <c:v>35181</c:v>
                </c:pt>
                <c:pt idx="86">
                  <c:v>35184</c:v>
                </c:pt>
                <c:pt idx="87">
                  <c:v>35185</c:v>
                </c:pt>
                <c:pt idx="88">
                  <c:v>35186</c:v>
                </c:pt>
                <c:pt idx="89">
                  <c:v>35187</c:v>
                </c:pt>
                <c:pt idx="90">
                  <c:v>35188</c:v>
                </c:pt>
                <c:pt idx="91">
                  <c:v>35191</c:v>
                </c:pt>
                <c:pt idx="92">
                  <c:v>35192</c:v>
                </c:pt>
                <c:pt idx="93">
                  <c:v>35193</c:v>
                </c:pt>
                <c:pt idx="94">
                  <c:v>35194</c:v>
                </c:pt>
                <c:pt idx="95">
                  <c:v>35195</c:v>
                </c:pt>
                <c:pt idx="96">
                  <c:v>35198</c:v>
                </c:pt>
                <c:pt idx="97">
                  <c:v>35199</c:v>
                </c:pt>
                <c:pt idx="98">
                  <c:v>35200</c:v>
                </c:pt>
                <c:pt idx="99">
                  <c:v>35201</c:v>
                </c:pt>
                <c:pt idx="100">
                  <c:v>35202</c:v>
                </c:pt>
                <c:pt idx="101">
                  <c:v>35205</c:v>
                </c:pt>
                <c:pt idx="102">
                  <c:v>35206</c:v>
                </c:pt>
                <c:pt idx="103">
                  <c:v>35207</c:v>
                </c:pt>
                <c:pt idx="104">
                  <c:v>35208</c:v>
                </c:pt>
                <c:pt idx="105">
                  <c:v>35209</c:v>
                </c:pt>
                <c:pt idx="106">
                  <c:v>35212</c:v>
                </c:pt>
                <c:pt idx="107">
                  <c:v>35213</c:v>
                </c:pt>
                <c:pt idx="108">
                  <c:v>35214</c:v>
                </c:pt>
                <c:pt idx="109">
                  <c:v>35215</c:v>
                </c:pt>
                <c:pt idx="110">
                  <c:v>35216</c:v>
                </c:pt>
                <c:pt idx="111">
                  <c:v>35219</c:v>
                </c:pt>
                <c:pt idx="112">
                  <c:v>35220</c:v>
                </c:pt>
                <c:pt idx="113">
                  <c:v>35221</c:v>
                </c:pt>
                <c:pt idx="114">
                  <c:v>35222</c:v>
                </c:pt>
                <c:pt idx="115">
                  <c:v>35223</c:v>
                </c:pt>
                <c:pt idx="116">
                  <c:v>35226</c:v>
                </c:pt>
                <c:pt idx="117">
                  <c:v>35227</c:v>
                </c:pt>
                <c:pt idx="118">
                  <c:v>35228</c:v>
                </c:pt>
                <c:pt idx="119">
                  <c:v>35229</c:v>
                </c:pt>
                <c:pt idx="120">
                  <c:v>35230</c:v>
                </c:pt>
                <c:pt idx="121">
                  <c:v>35233</c:v>
                </c:pt>
                <c:pt idx="122">
                  <c:v>35234</c:v>
                </c:pt>
                <c:pt idx="123">
                  <c:v>35235</c:v>
                </c:pt>
                <c:pt idx="124">
                  <c:v>35236</c:v>
                </c:pt>
                <c:pt idx="125">
                  <c:v>35237</c:v>
                </c:pt>
                <c:pt idx="126">
                  <c:v>35240</c:v>
                </c:pt>
                <c:pt idx="127">
                  <c:v>35241</c:v>
                </c:pt>
                <c:pt idx="128">
                  <c:v>35242</c:v>
                </c:pt>
                <c:pt idx="129">
                  <c:v>35243</c:v>
                </c:pt>
                <c:pt idx="130">
                  <c:v>35244</c:v>
                </c:pt>
                <c:pt idx="131">
                  <c:v>35247</c:v>
                </c:pt>
                <c:pt idx="132">
                  <c:v>35248</c:v>
                </c:pt>
                <c:pt idx="133">
                  <c:v>35249</c:v>
                </c:pt>
                <c:pt idx="134">
                  <c:v>35250</c:v>
                </c:pt>
                <c:pt idx="135">
                  <c:v>35251</c:v>
                </c:pt>
                <c:pt idx="136">
                  <c:v>35254</c:v>
                </c:pt>
                <c:pt idx="137">
                  <c:v>35255</c:v>
                </c:pt>
                <c:pt idx="138">
                  <c:v>35256</c:v>
                </c:pt>
                <c:pt idx="139">
                  <c:v>35257</c:v>
                </c:pt>
                <c:pt idx="140">
                  <c:v>35258</c:v>
                </c:pt>
                <c:pt idx="141">
                  <c:v>35261</c:v>
                </c:pt>
                <c:pt idx="142">
                  <c:v>35262</c:v>
                </c:pt>
                <c:pt idx="143">
                  <c:v>35263</c:v>
                </c:pt>
                <c:pt idx="144">
                  <c:v>35264</c:v>
                </c:pt>
                <c:pt idx="145">
                  <c:v>35265</c:v>
                </c:pt>
                <c:pt idx="146">
                  <c:v>35268</c:v>
                </c:pt>
                <c:pt idx="147">
                  <c:v>35269</c:v>
                </c:pt>
                <c:pt idx="148">
                  <c:v>35270</c:v>
                </c:pt>
                <c:pt idx="149">
                  <c:v>35271</c:v>
                </c:pt>
                <c:pt idx="150">
                  <c:v>35272</c:v>
                </c:pt>
                <c:pt idx="151">
                  <c:v>35275</c:v>
                </c:pt>
                <c:pt idx="152">
                  <c:v>35276</c:v>
                </c:pt>
                <c:pt idx="153">
                  <c:v>35277</c:v>
                </c:pt>
                <c:pt idx="154">
                  <c:v>35278</c:v>
                </c:pt>
                <c:pt idx="155">
                  <c:v>35279</c:v>
                </c:pt>
                <c:pt idx="156">
                  <c:v>35282</c:v>
                </c:pt>
                <c:pt idx="157">
                  <c:v>35283</c:v>
                </c:pt>
                <c:pt idx="158">
                  <c:v>35284</c:v>
                </c:pt>
                <c:pt idx="159">
                  <c:v>35285</c:v>
                </c:pt>
                <c:pt idx="160">
                  <c:v>35286</c:v>
                </c:pt>
                <c:pt idx="161">
                  <c:v>35289</c:v>
                </c:pt>
                <c:pt idx="162">
                  <c:v>35290</c:v>
                </c:pt>
                <c:pt idx="163">
                  <c:v>35291</c:v>
                </c:pt>
                <c:pt idx="164">
                  <c:v>35292</c:v>
                </c:pt>
                <c:pt idx="165">
                  <c:v>35293</c:v>
                </c:pt>
                <c:pt idx="166">
                  <c:v>35296</c:v>
                </c:pt>
                <c:pt idx="167">
                  <c:v>35297</c:v>
                </c:pt>
                <c:pt idx="168">
                  <c:v>35298</c:v>
                </c:pt>
                <c:pt idx="169">
                  <c:v>35299</c:v>
                </c:pt>
                <c:pt idx="170">
                  <c:v>35300</c:v>
                </c:pt>
                <c:pt idx="171">
                  <c:v>35303</c:v>
                </c:pt>
                <c:pt idx="172">
                  <c:v>35304</c:v>
                </c:pt>
                <c:pt idx="173">
                  <c:v>35305</c:v>
                </c:pt>
                <c:pt idx="174">
                  <c:v>35306</c:v>
                </c:pt>
                <c:pt idx="175">
                  <c:v>35307</c:v>
                </c:pt>
                <c:pt idx="176">
                  <c:v>35310</c:v>
                </c:pt>
                <c:pt idx="177">
                  <c:v>35311</c:v>
                </c:pt>
                <c:pt idx="178">
                  <c:v>35312</c:v>
                </c:pt>
                <c:pt idx="179">
                  <c:v>35313</c:v>
                </c:pt>
                <c:pt idx="180">
                  <c:v>35314</c:v>
                </c:pt>
                <c:pt idx="181">
                  <c:v>35317</c:v>
                </c:pt>
                <c:pt idx="182">
                  <c:v>35318</c:v>
                </c:pt>
                <c:pt idx="183">
                  <c:v>35319</c:v>
                </c:pt>
                <c:pt idx="184">
                  <c:v>35320</c:v>
                </c:pt>
                <c:pt idx="185">
                  <c:v>35321</c:v>
                </c:pt>
                <c:pt idx="186">
                  <c:v>35324</c:v>
                </c:pt>
                <c:pt idx="187">
                  <c:v>35325</c:v>
                </c:pt>
                <c:pt idx="188">
                  <c:v>35326</c:v>
                </c:pt>
                <c:pt idx="189">
                  <c:v>35327</c:v>
                </c:pt>
                <c:pt idx="190">
                  <c:v>35328</c:v>
                </c:pt>
                <c:pt idx="191">
                  <c:v>35331</c:v>
                </c:pt>
                <c:pt idx="192">
                  <c:v>35332</c:v>
                </c:pt>
                <c:pt idx="193">
                  <c:v>35333</c:v>
                </c:pt>
                <c:pt idx="194">
                  <c:v>35334</c:v>
                </c:pt>
                <c:pt idx="195">
                  <c:v>35335</c:v>
                </c:pt>
                <c:pt idx="196">
                  <c:v>35338</c:v>
                </c:pt>
                <c:pt idx="197">
                  <c:v>35339</c:v>
                </c:pt>
                <c:pt idx="198">
                  <c:v>35340</c:v>
                </c:pt>
                <c:pt idx="199">
                  <c:v>35341</c:v>
                </c:pt>
                <c:pt idx="200">
                  <c:v>35342</c:v>
                </c:pt>
                <c:pt idx="201">
                  <c:v>35345</c:v>
                </c:pt>
                <c:pt idx="202">
                  <c:v>35346</c:v>
                </c:pt>
                <c:pt idx="203">
                  <c:v>35347</c:v>
                </c:pt>
                <c:pt idx="204">
                  <c:v>35348</c:v>
                </c:pt>
                <c:pt idx="205">
                  <c:v>35349</c:v>
                </c:pt>
                <c:pt idx="206">
                  <c:v>35352</c:v>
                </c:pt>
                <c:pt idx="207">
                  <c:v>35353</c:v>
                </c:pt>
                <c:pt idx="208">
                  <c:v>35354</c:v>
                </c:pt>
                <c:pt idx="209">
                  <c:v>35355</c:v>
                </c:pt>
                <c:pt idx="210">
                  <c:v>35356</c:v>
                </c:pt>
                <c:pt idx="211">
                  <c:v>35359</c:v>
                </c:pt>
                <c:pt idx="212">
                  <c:v>35360</c:v>
                </c:pt>
                <c:pt idx="213">
                  <c:v>35361</c:v>
                </c:pt>
                <c:pt idx="214">
                  <c:v>35362</c:v>
                </c:pt>
                <c:pt idx="215">
                  <c:v>35363</c:v>
                </c:pt>
                <c:pt idx="216">
                  <c:v>35366</c:v>
                </c:pt>
                <c:pt idx="217">
                  <c:v>35367</c:v>
                </c:pt>
                <c:pt idx="218">
                  <c:v>35368</c:v>
                </c:pt>
                <c:pt idx="219">
                  <c:v>35369</c:v>
                </c:pt>
                <c:pt idx="220">
                  <c:v>35370</c:v>
                </c:pt>
                <c:pt idx="221">
                  <c:v>35373</c:v>
                </c:pt>
                <c:pt idx="222">
                  <c:v>35374</c:v>
                </c:pt>
                <c:pt idx="223">
                  <c:v>35375</c:v>
                </c:pt>
                <c:pt idx="224">
                  <c:v>35376</c:v>
                </c:pt>
                <c:pt idx="225">
                  <c:v>35377</c:v>
                </c:pt>
                <c:pt idx="226">
                  <c:v>35380</c:v>
                </c:pt>
                <c:pt idx="227">
                  <c:v>35381</c:v>
                </c:pt>
                <c:pt idx="228">
                  <c:v>35382</c:v>
                </c:pt>
                <c:pt idx="229">
                  <c:v>35383</c:v>
                </c:pt>
                <c:pt idx="230">
                  <c:v>35384</c:v>
                </c:pt>
                <c:pt idx="231">
                  <c:v>35387</c:v>
                </c:pt>
                <c:pt idx="232">
                  <c:v>35388</c:v>
                </c:pt>
                <c:pt idx="233">
                  <c:v>35389</c:v>
                </c:pt>
                <c:pt idx="234">
                  <c:v>35390</c:v>
                </c:pt>
                <c:pt idx="235">
                  <c:v>35391</c:v>
                </c:pt>
                <c:pt idx="236">
                  <c:v>35394</c:v>
                </c:pt>
                <c:pt idx="237">
                  <c:v>35395</c:v>
                </c:pt>
                <c:pt idx="238">
                  <c:v>35396</c:v>
                </c:pt>
                <c:pt idx="239">
                  <c:v>35397</c:v>
                </c:pt>
                <c:pt idx="240">
                  <c:v>35398</c:v>
                </c:pt>
                <c:pt idx="241">
                  <c:v>35401</c:v>
                </c:pt>
                <c:pt idx="242">
                  <c:v>35402</c:v>
                </c:pt>
                <c:pt idx="243">
                  <c:v>35403</c:v>
                </c:pt>
                <c:pt idx="244">
                  <c:v>35404</c:v>
                </c:pt>
                <c:pt idx="245">
                  <c:v>35405</c:v>
                </c:pt>
                <c:pt idx="246">
                  <c:v>35408</c:v>
                </c:pt>
                <c:pt idx="247">
                  <c:v>35409</c:v>
                </c:pt>
                <c:pt idx="248">
                  <c:v>35410</c:v>
                </c:pt>
                <c:pt idx="249">
                  <c:v>35411</c:v>
                </c:pt>
                <c:pt idx="250">
                  <c:v>35412</c:v>
                </c:pt>
                <c:pt idx="251">
                  <c:v>35415</c:v>
                </c:pt>
                <c:pt idx="252">
                  <c:v>35416</c:v>
                </c:pt>
                <c:pt idx="253">
                  <c:v>35417</c:v>
                </c:pt>
                <c:pt idx="254">
                  <c:v>35418</c:v>
                </c:pt>
                <c:pt idx="255">
                  <c:v>35419</c:v>
                </c:pt>
                <c:pt idx="256">
                  <c:v>35422</c:v>
                </c:pt>
                <c:pt idx="257">
                  <c:v>35423</c:v>
                </c:pt>
                <c:pt idx="258">
                  <c:v>35424</c:v>
                </c:pt>
                <c:pt idx="259">
                  <c:v>35425</c:v>
                </c:pt>
                <c:pt idx="260">
                  <c:v>35426</c:v>
                </c:pt>
                <c:pt idx="261">
                  <c:v>35429</c:v>
                </c:pt>
                <c:pt idx="262">
                  <c:v>35430</c:v>
                </c:pt>
                <c:pt idx="263">
                  <c:v>35431</c:v>
                </c:pt>
                <c:pt idx="264">
                  <c:v>35432</c:v>
                </c:pt>
                <c:pt idx="265">
                  <c:v>35433</c:v>
                </c:pt>
                <c:pt idx="266">
                  <c:v>35436</c:v>
                </c:pt>
                <c:pt idx="267">
                  <c:v>35437</c:v>
                </c:pt>
                <c:pt idx="268">
                  <c:v>35438</c:v>
                </c:pt>
                <c:pt idx="269">
                  <c:v>35439</c:v>
                </c:pt>
                <c:pt idx="270">
                  <c:v>35440</c:v>
                </c:pt>
                <c:pt idx="271">
                  <c:v>35443</c:v>
                </c:pt>
                <c:pt idx="272">
                  <c:v>35444</c:v>
                </c:pt>
                <c:pt idx="273">
                  <c:v>35445</c:v>
                </c:pt>
                <c:pt idx="274">
                  <c:v>35446</c:v>
                </c:pt>
                <c:pt idx="275">
                  <c:v>35447</c:v>
                </c:pt>
                <c:pt idx="276">
                  <c:v>35450</c:v>
                </c:pt>
                <c:pt idx="277">
                  <c:v>35451</c:v>
                </c:pt>
                <c:pt idx="278">
                  <c:v>35452</c:v>
                </c:pt>
                <c:pt idx="279">
                  <c:v>35453</c:v>
                </c:pt>
                <c:pt idx="280">
                  <c:v>35454</c:v>
                </c:pt>
                <c:pt idx="281">
                  <c:v>35457</c:v>
                </c:pt>
                <c:pt idx="282">
                  <c:v>35458</c:v>
                </c:pt>
                <c:pt idx="283">
                  <c:v>35459</c:v>
                </c:pt>
                <c:pt idx="284">
                  <c:v>35460</c:v>
                </c:pt>
                <c:pt idx="285">
                  <c:v>35461</c:v>
                </c:pt>
                <c:pt idx="286">
                  <c:v>35464</c:v>
                </c:pt>
                <c:pt idx="287">
                  <c:v>35465</c:v>
                </c:pt>
                <c:pt idx="288">
                  <c:v>35466</c:v>
                </c:pt>
                <c:pt idx="289">
                  <c:v>35467</c:v>
                </c:pt>
                <c:pt idx="290">
                  <c:v>35468</c:v>
                </c:pt>
                <c:pt idx="291">
                  <c:v>35471</c:v>
                </c:pt>
                <c:pt idx="292">
                  <c:v>35472</c:v>
                </c:pt>
                <c:pt idx="293">
                  <c:v>35473</c:v>
                </c:pt>
                <c:pt idx="294">
                  <c:v>35474</c:v>
                </c:pt>
                <c:pt idx="295">
                  <c:v>35475</c:v>
                </c:pt>
                <c:pt idx="296">
                  <c:v>35478</c:v>
                </c:pt>
                <c:pt idx="297">
                  <c:v>35479</c:v>
                </c:pt>
                <c:pt idx="298">
                  <c:v>35480</c:v>
                </c:pt>
                <c:pt idx="299">
                  <c:v>35481</c:v>
                </c:pt>
                <c:pt idx="300">
                  <c:v>35482</c:v>
                </c:pt>
                <c:pt idx="301">
                  <c:v>35485</c:v>
                </c:pt>
                <c:pt idx="302">
                  <c:v>35486</c:v>
                </c:pt>
                <c:pt idx="303">
                  <c:v>35487</c:v>
                </c:pt>
                <c:pt idx="304">
                  <c:v>35488</c:v>
                </c:pt>
                <c:pt idx="305">
                  <c:v>35489</c:v>
                </c:pt>
                <c:pt idx="306">
                  <c:v>35492</c:v>
                </c:pt>
                <c:pt idx="307">
                  <c:v>35493</c:v>
                </c:pt>
                <c:pt idx="308">
                  <c:v>35494</c:v>
                </c:pt>
                <c:pt idx="309">
                  <c:v>35495</c:v>
                </c:pt>
                <c:pt idx="310">
                  <c:v>35496</c:v>
                </c:pt>
                <c:pt idx="311">
                  <c:v>35499</c:v>
                </c:pt>
                <c:pt idx="312">
                  <c:v>35500</c:v>
                </c:pt>
                <c:pt idx="313">
                  <c:v>35501</c:v>
                </c:pt>
                <c:pt idx="314">
                  <c:v>35502</c:v>
                </c:pt>
                <c:pt idx="315">
                  <c:v>35503</c:v>
                </c:pt>
                <c:pt idx="316">
                  <c:v>35506</c:v>
                </c:pt>
                <c:pt idx="317">
                  <c:v>35507</c:v>
                </c:pt>
                <c:pt idx="318">
                  <c:v>35508</c:v>
                </c:pt>
                <c:pt idx="319">
                  <c:v>35509</c:v>
                </c:pt>
                <c:pt idx="320">
                  <c:v>35510</c:v>
                </c:pt>
                <c:pt idx="321">
                  <c:v>35513</c:v>
                </c:pt>
                <c:pt idx="322">
                  <c:v>35514</c:v>
                </c:pt>
                <c:pt idx="323">
                  <c:v>35515</c:v>
                </c:pt>
                <c:pt idx="324">
                  <c:v>35516</c:v>
                </c:pt>
                <c:pt idx="325">
                  <c:v>35517</c:v>
                </c:pt>
                <c:pt idx="326">
                  <c:v>35520</c:v>
                </c:pt>
                <c:pt idx="327">
                  <c:v>35521</c:v>
                </c:pt>
                <c:pt idx="328">
                  <c:v>35522</c:v>
                </c:pt>
                <c:pt idx="329">
                  <c:v>35523</c:v>
                </c:pt>
                <c:pt idx="330">
                  <c:v>35524</c:v>
                </c:pt>
                <c:pt idx="331">
                  <c:v>35527</c:v>
                </c:pt>
                <c:pt idx="332">
                  <c:v>35528</c:v>
                </c:pt>
                <c:pt idx="333">
                  <c:v>35529</c:v>
                </c:pt>
                <c:pt idx="334">
                  <c:v>35530</c:v>
                </c:pt>
                <c:pt idx="335">
                  <c:v>35531</c:v>
                </c:pt>
                <c:pt idx="336">
                  <c:v>35534</c:v>
                </c:pt>
                <c:pt idx="337">
                  <c:v>35535</c:v>
                </c:pt>
                <c:pt idx="338">
                  <c:v>35536</c:v>
                </c:pt>
                <c:pt idx="339">
                  <c:v>35537</c:v>
                </c:pt>
                <c:pt idx="340">
                  <c:v>35538</c:v>
                </c:pt>
                <c:pt idx="341">
                  <c:v>35541</c:v>
                </c:pt>
                <c:pt idx="342">
                  <c:v>35542</c:v>
                </c:pt>
                <c:pt idx="343">
                  <c:v>35543</c:v>
                </c:pt>
                <c:pt idx="344">
                  <c:v>35544</c:v>
                </c:pt>
                <c:pt idx="345">
                  <c:v>35545</c:v>
                </c:pt>
                <c:pt idx="346">
                  <c:v>35548</c:v>
                </c:pt>
                <c:pt idx="347">
                  <c:v>35549</c:v>
                </c:pt>
                <c:pt idx="348">
                  <c:v>35550</c:v>
                </c:pt>
                <c:pt idx="349">
                  <c:v>35551</c:v>
                </c:pt>
                <c:pt idx="350">
                  <c:v>35552</c:v>
                </c:pt>
                <c:pt idx="351">
                  <c:v>35555</c:v>
                </c:pt>
                <c:pt idx="352">
                  <c:v>35556</c:v>
                </c:pt>
                <c:pt idx="353">
                  <c:v>35557</c:v>
                </c:pt>
                <c:pt idx="354">
                  <c:v>35558</c:v>
                </c:pt>
                <c:pt idx="355">
                  <c:v>35559</c:v>
                </c:pt>
                <c:pt idx="356">
                  <c:v>35562</c:v>
                </c:pt>
                <c:pt idx="357">
                  <c:v>35563</c:v>
                </c:pt>
                <c:pt idx="358">
                  <c:v>35564</c:v>
                </c:pt>
                <c:pt idx="359">
                  <c:v>35565</c:v>
                </c:pt>
                <c:pt idx="360">
                  <c:v>35566</c:v>
                </c:pt>
                <c:pt idx="361">
                  <c:v>35569</c:v>
                </c:pt>
                <c:pt idx="362">
                  <c:v>35570</c:v>
                </c:pt>
                <c:pt idx="363">
                  <c:v>35571</c:v>
                </c:pt>
                <c:pt idx="364">
                  <c:v>35572</c:v>
                </c:pt>
                <c:pt idx="365">
                  <c:v>35573</c:v>
                </c:pt>
                <c:pt idx="366">
                  <c:v>35576</c:v>
                </c:pt>
                <c:pt idx="367">
                  <c:v>35577</c:v>
                </c:pt>
                <c:pt idx="368">
                  <c:v>35578</c:v>
                </c:pt>
                <c:pt idx="369">
                  <c:v>35579</c:v>
                </c:pt>
                <c:pt idx="370">
                  <c:v>35580</c:v>
                </c:pt>
                <c:pt idx="371">
                  <c:v>35583</c:v>
                </c:pt>
                <c:pt idx="372">
                  <c:v>35584</c:v>
                </c:pt>
                <c:pt idx="373">
                  <c:v>35585</c:v>
                </c:pt>
                <c:pt idx="374">
                  <c:v>35586</c:v>
                </c:pt>
                <c:pt idx="375">
                  <c:v>35587</c:v>
                </c:pt>
                <c:pt idx="376">
                  <c:v>35590</c:v>
                </c:pt>
                <c:pt idx="377">
                  <c:v>35591</c:v>
                </c:pt>
                <c:pt idx="378">
                  <c:v>35592</c:v>
                </c:pt>
                <c:pt idx="379">
                  <c:v>35593</c:v>
                </c:pt>
                <c:pt idx="380">
                  <c:v>35594</c:v>
                </c:pt>
                <c:pt idx="381">
                  <c:v>35597</c:v>
                </c:pt>
                <c:pt idx="382">
                  <c:v>35598</c:v>
                </c:pt>
                <c:pt idx="383">
                  <c:v>35599</c:v>
                </c:pt>
                <c:pt idx="384">
                  <c:v>35600</c:v>
                </c:pt>
                <c:pt idx="385">
                  <c:v>35601</c:v>
                </c:pt>
                <c:pt idx="386">
                  <c:v>35604</c:v>
                </c:pt>
                <c:pt idx="387">
                  <c:v>35605</c:v>
                </c:pt>
                <c:pt idx="388">
                  <c:v>35606</c:v>
                </c:pt>
                <c:pt idx="389">
                  <c:v>35607</c:v>
                </c:pt>
                <c:pt idx="390">
                  <c:v>35608</c:v>
                </c:pt>
                <c:pt idx="391">
                  <c:v>35611</c:v>
                </c:pt>
                <c:pt idx="392">
                  <c:v>35612</c:v>
                </c:pt>
                <c:pt idx="393">
                  <c:v>35613</c:v>
                </c:pt>
                <c:pt idx="394">
                  <c:v>35614</c:v>
                </c:pt>
                <c:pt idx="395">
                  <c:v>35615</c:v>
                </c:pt>
                <c:pt idx="396">
                  <c:v>35618</c:v>
                </c:pt>
                <c:pt idx="397">
                  <c:v>35619</c:v>
                </c:pt>
                <c:pt idx="398">
                  <c:v>35620</c:v>
                </c:pt>
                <c:pt idx="399">
                  <c:v>35621</c:v>
                </c:pt>
                <c:pt idx="400">
                  <c:v>35622</c:v>
                </c:pt>
                <c:pt idx="401">
                  <c:v>35625</c:v>
                </c:pt>
                <c:pt idx="402">
                  <c:v>35626</c:v>
                </c:pt>
                <c:pt idx="403">
                  <c:v>35627</c:v>
                </c:pt>
                <c:pt idx="404">
                  <c:v>35628</c:v>
                </c:pt>
                <c:pt idx="405">
                  <c:v>35629</c:v>
                </c:pt>
                <c:pt idx="406">
                  <c:v>35632</c:v>
                </c:pt>
                <c:pt idx="407">
                  <c:v>35633</c:v>
                </c:pt>
                <c:pt idx="408">
                  <c:v>35634</c:v>
                </c:pt>
                <c:pt idx="409">
                  <c:v>35635</c:v>
                </c:pt>
                <c:pt idx="410">
                  <c:v>35636</c:v>
                </c:pt>
                <c:pt idx="411">
                  <c:v>35639</c:v>
                </c:pt>
                <c:pt idx="412">
                  <c:v>35640</c:v>
                </c:pt>
                <c:pt idx="413">
                  <c:v>35641</c:v>
                </c:pt>
                <c:pt idx="414">
                  <c:v>35642</c:v>
                </c:pt>
                <c:pt idx="415">
                  <c:v>35643</c:v>
                </c:pt>
                <c:pt idx="416">
                  <c:v>35646</c:v>
                </c:pt>
                <c:pt idx="417">
                  <c:v>35647</c:v>
                </c:pt>
                <c:pt idx="418">
                  <c:v>35648</c:v>
                </c:pt>
                <c:pt idx="419">
                  <c:v>35649</c:v>
                </c:pt>
                <c:pt idx="420">
                  <c:v>35650</c:v>
                </c:pt>
                <c:pt idx="421">
                  <c:v>35653</c:v>
                </c:pt>
                <c:pt idx="422">
                  <c:v>35654</c:v>
                </c:pt>
                <c:pt idx="423">
                  <c:v>35655</c:v>
                </c:pt>
                <c:pt idx="424">
                  <c:v>35656</c:v>
                </c:pt>
                <c:pt idx="425">
                  <c:v>35657</c:v>
                </c:pt>
                <c:pt idx="426">
                  <c:v>35660</c:v>
                </c:pt>
                <c:pt idx="427">
                  <c:v>35661</c:v>
                </c:pt>
                <c:pt idx="428">
                  <c:v>35662</c:v>
                </c:pt>
                <c:pt idx="429">
                  <c:v>35663</c:v>
                </c:pt>
                <c:pt idx="430">
                  <c:v>35664</c:v>
                </c:pt>
                <c:pt idx="431">
                  <c:v>35667</c:v>
                </c:pt>
                <c:pt idx="432">
                  <c:v>35668</c:v>
                </c:pt>
                <c:pt idx="433">
                  <c:v>35669</c:v>
                </c:pt>
                <c:pt idx="434">
                  <c:v>35670</c:v>
                </c:pt>
                <c:pt idx="435">
                  <c:v>35671</c:v>
                </c:pt>
                <c:pt idx="436">
                  <c:v>35674</c:v>
                </c:pt>
                <c:pt idx="437">
                  <c:v>35675</c:v>
                </c:pt>
                <c:pt idx="438">
                  <c:v>35676</c:v>
                </c:pt>
                <c:pt idx="439">
                  <c:v>35677</c:v>
                </c:pt>
                <c:pt idx="440">
                  <c:v>35678</c:v>
                </c:pt>
                <c:pt idx="441">
                  <c:v>35681</c:v>
                </c:pt>
                <c:pt idx="442">
                  <c:v>35682</c:v>
                </c:pt>
                <c:pt idx="443">
                  <c:v>35683</c:v>
                </c:pt>
                <c:pt idx="444">
                  <c:v>35684</c:v>
                </c:pt>
                <c:pt idx="445">
                  <c:v>35685</c:v>
                </c:pt>
                <c:pt idx="446">
                  <c:v>35688</c:v>
                </c:pt>
                <c:pt idx="447">
                  <c:v>35689</c:v>
                </c:pt>
                <c:pt idx="448">
                  <c:v>35690</c:v>
                </c:pt>
                <c:pt idx="449">
                  <c:v>35691</c:v>
                </c:pt>
                <c:pt idx="450">
                  <c:v>35692</c:v>
                </c:pt>
                <c:pt idx="451">
                  <c:v>35695</c:v>
                </c:pt>
                <c:pt idx="452">
                  <c:v>35696</c:v>
                </c:pt>
                <c:pt idx="453">
                  <c:v>35697</c:v>
                </c:pt>
                <c:pt idx="454">
                  <c:v>35698</c:v>
                </c:pt>
                <c:pt idx="455">
                  <c:v>35699</c:v>
                </c:pt>
                <c:pt idx="456">
                  <c:v>35702</c:v>
                </c:pt>
                <c:pt idx="457">
                  <c:v>35703</c:v>
                </c:pt>
                <c:pt idx="458">
                  <c:v>35704</c:v>
                </c:pt>
                <c:pt idx="459">
                  <c:v>35705</c:v>
                </c:pt>
                <c:pt idx="460">
                  <c:v>35706</c:v>
                </c:pt>
                <c:pt idx="461">
                  <c:v>35709</c:v>
                </c:pt>
                <c:pt idx="462">
                  <c:v>35710</c:v>
                </c:pt>
                <c:pt idx="463">
                  <c:v>35711</c:v>
                </c:pt>
                <c:pt idx="464">
                  <c:v>35712</c:v>
                </c:pt>
                <c:pt idx="465">
                  <c:v>35713</c:v>
                </c:pt>
                <c:pt idx="466">
                  <c:v>35716</c:v>
                </c:pt>
                <c:pt idx="467">
                  <c:v>35717</c:v>
                </c:pt>
                <c:pt idx="468">
                  <c:v>35718</c:v>
                </c:pt>
                <c:pt idx="469">
                  <c:v>35719</c:v>
                </c:pt>
                <c:pt idx="470">
                  <c:v>35720</c:v>
                </c:pt>
                <c:pt idx="471">
                  <c:v>35723</c:v>
                </c:pt>
                <c:pt idx="472">
                  <c:v>35724</c:v>
                </c:pt>
                <c:pt idx="473">
                  <c:v>35725</c:v>
                </c:pt>
                <c:pt idx="474">
                  <c:v>35726</c:v>
                </c:pt>
                <c:pt idx="475">
                  <c:v>35727</c:v>
                </c:pt>
                <c:pt idx="476">
                  <c:v>35730</c:v>
                </c:pt>
                <c:pt idx="477">
                  <c:v>35731</c:v>
                </c:pt>
                <c:pt idx="478">
                  <c:v>35732</c:v>
                </c:pt>
                <c:pt idx="479">
                  <c:v>35733</c:v>
                </c:pt>
                <c:pt idx="480">
                  <c:v>35734</c:v>
                </c:pt>
                <c:pt idx="481">
                  <c:v>35737</c:v>
                </c:pt>
                <c:pt idx="482">
                  <c:v>35738</c:v>
                </c:pt>
                <c:pt idx="483">
                  <c:v>35739</c:v>
                </c:pt>
                <c:pt idx="484">
                  <c:v>35740</c:v>
                </c:pt>
                <c:pt idx="485">
                  <c:v>35741</c:v>
                </c:pt>
                <c:pt idx="486">
                  <c:v>35744</c:v>
                </c:pt>
                <c:pt idx="487">
                  <c:v>35745</c:v>
                </c:pt>
                <c:pt idx="488">
                  <c:v>35746</c:v>
                </c:pt>
                <c:pt idx="489">
                  <c:v>35747</c:v>
                </c:pt>
                <c:pt idx="490">
                  <c:v>35748</c:v>
                </c:pt>
                <c:pt idx="491">
                  <c:v>35751</c:v>
                </c:pt>
                <c:pt idx="492">
                  <c:v>35752</c:v>
                </c:pt>
                <c:pt idx="493">
                  <c:v>35753</c:v>
                </c:pt>
                <c:pt idx="494">
                  <c:v>35754</c:v>
                </c:pt>
                <c:pt idx="495">
                  <c:v>35755</c:v>
                </c:pt>
                <c:pt idx="496">
                  <c:v>35758</c:v>
                </c:pt>
                <c:pt idx="497">
                  <c:v>35759</c:v>
                </c:pt>
                <c:pt idx="498">
                  <c:v>35760</c:v>
                </c:pt>
                <c:pt idx="499">
                  <c:v>35761</c:v>
                </c:pt>
                <c:pt idx="500">
                  <c:v>35762</c:v>
                </c:pt>
                <c:pt idx="501">
                  <c:v>35765</c:v>
                </c:pt>
                <c:pt idx="502">
                  <c:v>35766</c:v>
                </c:pt>
                <c:pt idx="503">
                  <c:v>35767</c:v>
                </c:pt>
                <c:pt idx="504">
                  <c:v>35768</c:v>
                </c:pt>
                <c:pt idx="505">
                  <c:v>35769</c:v>
                </c:pt>
                <c:pt idx="506">
                  <c:v>35772</c:v>
                </c:pt>
                <c:pt idx="507">
                  <c:v>35773</c:v>
                </c:pt>
                <c:pt idx="508">
                  <c:v>35774</c:v>
                </c:pt>
                <c:pt idx="509">
                  <c:v>35775</c:v>
                </c:pt>
                <c:pt idx="510">
                  <c:v>35776</c:v>
                </c:pt>
                <c:pt idx="511">
                  <c:v>35779</c:v>
                </c:pt>
                <c:pt idx="512">
                  <c:v>35780</c:v>
                </c:pt>
                <c:pt idx="513">
                  <c:v>35781</c:v>
                </c:pt>
                <c:pt idx="514">
                  <c:v>35782</c:v>
                </c:pt>
                <c:pt idx="515">
                  <c:v>35783</c:v>
                </c:pt>
                <c:pt idx="516">
                  <c:v>35786</c:v>
                </c:pt>
                <c:pt idx="517">
                  <c:v>35787</c:v>
                </c:pt>
                <c:pt idx="518">
                  <c:v>35788</c:v>
                </c:pt>
                <c:pt idx="519">
                  <c:v>35789</c:v>
                </c:pt>
                <c:pt idx="520">
                  <c:v>35790</c:v>
                </c:pt>
                <c:pt idx="521">
                  <c:v>35793</c:v>
                </c:pt>
                <c:pt idx="522">
                  <c:v>35794</c:v>
                </c:pt>
                <c:pt idx="523">
                  <c:v>35795</c:v>
                </c:pt>
                <c:pt idx="524">
                  <c:v>35796</c:v>
                </c:pt>
                <c:pt idx="525">
                  <c:v>35797</c:v>
                </c:pt>
                <c:pt idx="526">
                  <c:v>35800</c:v>
                </c:pt>
                <c:pt idx="527">
                  <c:v>35801</c:v>
                </c:pt>
                <c:pt idx="528">
                  <c:v>35802</c:v>
                </c:pt>
                <c:pt idx="529">
                  <c:v>35803</c:v>
                </c:pt>
                <c:pt idx="530">
                  <c:v>35804</c:v>
                </c:pt>
                <c:pt idx="531">
                  <c:v>35807</c:v>
                </c:pt>
                <c:pt idx="532">
                  <c:v>35808</c:v>
                </c:pt>
                <c:pt idx="533">
                  <c:v>35809</c:v>
                </c:pt>
                <c:pt idx="534">
                  <c:v>35810</c:v>
                </c:pt>
                <c:pt idx="535">
                  <c:v>35811</c:v>
                </c:pt>
                <c:pt idx="536">
                  <c:v>35814</c:v>
                </c:pt>
                <c:pt idx="537">
                  <c:v>35815</c:v>
                </c:pt>
                <c:pt idx="538">
                  <c:v>35816</c:v>
                </c:pt>
                <c:pt idx="539">
                  <c:v>35817</c:v>
                </c:pt>
                <c:pt idx="540">
                  <c:v>35818</c:v>
                </c:pt>
                <c:pt idx="541">
                  <c:v>35821</c:v>
                </c:pt>
                <c:pt idx="542">
                  <c:v>35822</c:v>
                </c:pt>
                <c:pt idx="543">
                  <c:v>35823</c:v>
                </c:pt>
                <c:pt idx="544">
                  <c:v>35824</c:v>
                </c:pt>
                <c:pt idx="545">
                  <c:v>35825</c:v>
                </c:pt>
                <c:pt idx="546">
                  <c:v>35828</c:v>
                </c:pt>
                <c:pt idx="547">
                  <c:v>35829</c:v>
                </c:pt>
                <c:pt idx="548">
                  <c:v>35830</c:v>
                </c:pt>
                <c:pt idx="549">
                  <c:v>35831</c:v>
                </c:pt>
                <c:pt idx="550">
                  <c:v>35832</c:v>
                </c:pt>
                <c:pt idx="551">
                  <c:v>35835</c:v>
                </c:pt>
                <c:pt idx="552">
                  <c:v>35836</c:v>
                </c:pt>
                <c:pt idx="553">
                  <c:v>35837</c:v>
                </c:pt>
                <c:pt idx="554">
                  <c:v>35838</c:v>
                </c:pt>
                <c:pt idx="555">
                  <c:v>35839</c:v>
                </c:pt>
                <c:pt idx="556">
                  <c:v>35842</c:v>
                </c:pt>
                <c:pt idx="557">
                  <c:v>35843</c:v>
                </c:pt>
                <c:pt idx="558">
                  <c:v>35844</c:v>
                </c:pt>
                <c:pt idx="559">
                  <c:v>35845</c:v>
                </c:pt>
                <c:pt idx="560">
                  <c:v>35846</c:v>
                </c:pt>
                <c:pt idx="561">
                  <c:v>35849</c:v>
                </c:pt>
                <c:pt idx="562">
                  <c:v>35850</c:v>
                </c:pt>
                <c:pt idx="563">
                  <c:v>35851</c:v>
                </c:pt>
                <c:pt idx="564">
                  <c:v>35852</c:v>
                </c:pt>
                <c:pt idx="565">
                  <c:v>35853</c:v>
                </c:pt>
                <c:pt idx="566">
                  <c:v>35856</c:v>
                </c:pt>
                <c:pt idx="567">
                  <c:v>35857</c:v>
                </c:pt>
                <c:pt idx="568">
                  <c:v>35858</c:v>
                </c:pt>
                <c:pt idx="569">
                  <c:v>35859</c:v>
                </c:pt>
                <c:pt idx="570">
                  <c:v>35860</c:v>
                </c:pt>
                <c:pt idx="571">
                  <c:v>35863</c:v>
                </c:pt>
                <c:pt idx="572">
                  <c:v>35864</c:v>
                </c:pt>
                <c:pt idx="573">
                  <c:v>35865</c:v>
                </c:pt>
                <c:pt idx="574">
                  <c:v>35866</c:v>
                </c:pt>
                <c:pt idx="575">
                  <c:v>35867</c:v>
                </c:pt>
                <c:pt idx="576">
                  <c:v>35870</c:v>
                </c:pt>
                <c:pt idx="577">
                  <c:v>35871</c:v>
                </c:pt>
                <c:pt idx="578">
                  <c:v>35872</c:v>
                </c:pt>
                <c:pt idx="579">
                  <c:v>35873</c:v>
                </c:pt>
                <c:pt idx="580">
                  <c:v>35874</c:v>
                </c:pt>
                <c:pt idx="581">
                  <c:v>35877</c:v>
                </c:pt>
                <c:pt idx="582">
                  <c:v>35878</c:v>
                </c:pt>
                <c:pt idx="583">
                  <c:v>35879</c:v>
                </c:pt>
                <c:pt idx="584">
                  <c:v>35880</c:v>
                </c:pt>
                <c:pt idx="585">
                  <c:v>35881</c:v>
                </c:pt>
                <c:pt idx="586">
                  <c:v>35884</c:v>
                </c:pt>
                <c:pt idx="587">
                  <c:v>35885</c:v>
                </c:pt>
                <c:pt idx="588">
                  <c:v>35886</c:v>
                </c:pt>
                <c:pt idx="589">
                  <c:v>35887</c:v>
                </c:pt>
                <c:pt idx="590">
                  <c:v>35888</c:v>
                </c:pt>
                <c:pt idx="591">
                  <c:v>35891</c:v>
                </c:pt>
                <c:pt idx="592">
                  <c:v>35892</c:v>
                </c:pt>
                <c:pt idx="593">
                  <c:v>35893</c:v>
                </c:pt>
                <c:pt idx="594">
                  <c:v>35894</c:v>
                </c:pt>
                <c:pt idx="595">
                  <c:v>35895</c:v>
                </c:pt>
                <c:pt idx="596">
                  <c:v>35898</c:v>
                </c:pt>
                <c:pt idx="597">
                  <c:v>35899</c:v>
                </c:pt>
                <c:pt idx="598">
                  <c:v>35900</c:v>
                </c:pt>
                <c:pt idx="599">
                  <c:v>35901</c:v>
                </c:pt>
                <c:pt idx="600">
                  <c:v>35902</c:v>
                </c:pt>
                <c:pt idx="601">
                  <c:v>35905</c:v>
                </c:pt>
                <c:pt idx="602">
                  <c:v>35906</c:v>
                </c:pt>
                <c:pt idx="603">
                  <c:v>35907</c:v>
                </c:pt>
                <c:pt idx="604">
                  <c:v>35908</c:v>
                </c:pt>
                <c:pt idx="605">
                  <c:v>35909</c:v>
                </c:pt>
                <c:pt idx="606">
                  <c:v>35912</c:v>
                </c:pt>
                <c:pt idx="607">
                  <c:v>35913</c:v>
                </c:pt>
                <c:pt idx="608">
                  <c:v>35914</c:v>
                </c:pt>
                <c:pt idx="609">
                  <c:v>35915</c:v>
                </c:pt>
                <c:pt idx="610">
                  <c:v>35916</c:v>
                </c:pt>
                <c:pt idx="611">
                  <c:v>35919</c:v>
                </c:pt>
                <c:pt idx="612">
                  <c:v>35920</c:v>
                </c:pt>
                <c:pt idx="613">
                  <c:v>35921</c:v>
                </c:pt>
                <c:pt idx="614">
                  <c:v>35922</c:v>
                </c:pt>
                <c:pt idx="615">
                  <c:v>35923</c:v>
                </c:pt>
                <c:pt idx="616">
                  <c:v>35926</c:v>
                </c:pt>
                <c:pt idx="617">
                  <c:v>35927</c:v>
                </c:pt>
                <c:pt idx="618">
                  <c:v>35928</c:v>
                </c:pt>
                <c:pt idx="619">
                  <c:v>35929</c:v>
                </c:pt>
                <c:pt idx="620">
                  <c:v>35930</c:v>
                </c:pt>
                <c:pt idx="621">
                  <c:v>35933</c:v>
                </c:pt>
                <c:pt idx="622">
                  <c:v>35934</c:v>
                </c:pt>
                <c:pt idx="623">
                  <c:v>35935</c:v>
                </c:pt>
                <c:pt idx="624">
                  <c:v>35936</c:v>
                </c:pt>
                <c:pt idx="625">
                  <c:v>35937</c:v>
                </c:pt>
                <c:pt idx="626">
                  <c:v>35940</c:v>
                </c:pt>
                <c:pt idx="627">
                  <c:v>35941</c:v>
                </c:pt>
                <c:pt idx="628">
                  <c:v>35942</c:v>
                </c:pt>
                <c:pt idx="629">
                  <c:v>35943</c:v>
                </c:pt>
                <c:pt idx="630">
                  <c:v>35944</c:v>
                </c:pt>
                <c:pt idx="631">
                  <c:v>35947</c:v>
                </c:pt>
                <c:pt idx="632">
                  <c:v>35948</c:v>
                </c:pt>
                <c:pt idx="633">
                  <c:v>35949</c:v>
                </c:pt>
                <c:pt idx="634">
                  <c:v>35950</c:v>
                </c:pt>
                <c:pt idx="635">
                  <c:v>35951</c:v>
                </c:pt>
                <c:pt idx="636">
                  <c:v>35954</c:v>
                </c:pt>
                <c:pt idx="637">
                  <c:v>35955</c:v>
                </c:pt>
                <c:pt idx="638">
                  <c:v>35956</c:v>
                </c:pt>
                <c:pt idx="639">
                  <c:v>35957</c:v>
                </c:pt>
                <c:pt idx="640">
                  <c:v>35958</c:v>
                </c:pt>
                <c:pt idx="641">
                  <c:v>35961</c:v>
                </c:pt>
                <c:pt idx="642">
                  <c:v>35962</c:v>
                </c:pt>
                <c:pt idx="643">
                  <c:v>35963</c:v>
                </c:pt>
                <c:pt idx="644">
                  <c:v>35964</c:v>
                </c:pt>
                <c:pt idx="645">
                  <c:v>35965</c:v>
                </c:pt>
                <c:pt idx="646">
                  <c:v>35968</c:v>
                </c:pt>
                <c:pt idx="647">
                  <c:v>35969</c:v>
                </c:pt>
                <c:pt idx="648">
                  <c:v>35970</c:v>
                </c:pt>
                <c:pt idx="649">
                  <c:v>35971</c:v>
                </c:pt>
                <c:pt idx="650">
                  <c:v>35972</c:v>
                </c:pt>
                <c:pt idx="651">
                  <c:v>35975</c:v>
                </c:pt>
                <c:pt idx="652">
                  <c:v>35976</c:v>
                </c:pt>
                <c:pt idx="653">
                  <c:v>35977</c:v>
                </c:pt>
                <c:pt idx="654">
                  <c:v>35978</c:v>
                </c:pt>
                <c:pt idx="655">
                  <c:v>35979</c:v>
                </c:pt>
                <c:pt idx="656">
                  <c:v>35982</c:v>
                </c:pt>
                <c:pt idx="657">
                  <c:v>35983</c:v>
                </c:pt>
                <c:pt idx="658">
                  <c:v>35984</c:v>
                </c:pt>
                <c:pt idx="659">
                  <c:v>35985</c:v>
                </c:pt>
                <c:pt idx="660">
                  <c:v>35986</c:v>
                </c:pt>
                <c:pt idx="661">
                  <c:v>35989</c:v>
                </c:pt>
                <c:pt idx="662">
                  <c:v>35990</c:v>
                </c:pt>
                <c:pt idx="663">
                  <c:v>35991</c:v>
                </c:pt>
                <c:pt idx="664">
                  <c:v>35992</c:v>
                </c:pt>
                <c:pt idx="665">
                  <c:v>35993</c:v>
                </c:pt>
                <c:pt idx="666">
                  <c:v>35996</c:v>
                </c:pt>
                <c:pt idx="667">
                  <c:v>35997</c:v>
                </c:pt>
                <c:pt idx="668">
                  <c:v>35998</c:v>
                </c:pt>
                <c:pt idx="669">
                  <c:v>35999</c:v>
                </c:pt>
                <c:pt idx="670">
                  <c:v>36000</c:v>
                </c:pt>
                <c:pt idx="671">
                  <c:v>36003</c:v>
                </c:pt>
                <c:pt idx="672">
                  <c:v>36004</c:v>
                </c:pt>
                <c:pt idx="673">
                  <c:v>36005</c:v>
                </c:pt>
                <c:pt idx="674">
                  <c:v>36006</c:v>
                </c:pt>
                <c:pt idx="675">
                  <c:v>36007</c:v>
                </c:pt>
                <c:pt idx="676">
                  <c:v>36010</c:v>
                </c:pt>
                <c:pt idx="677">
                  <c:v>36011</c:v>
                </c:pt>
                <c:pt idx="678">
                  <c:v>36012</c:v>
                </c:pt>
                <c:pt idx="679">
                  <c:v>36013</c:v>
                </c:pt>
                <c:pt idx="680">
                  <c:v>36014</c:v>
                </c:pt>
                <c:pt idx="681">
                  <c:v>36017</c:v>
                </c:pt>
                <c:pt idx="682">
                  <c:v>36018</c:v>
                </c:pt>
                <c:pt idx="683">
                  <c:v>36019</c:v>
                </c:pt>
                <c:pt idx="684">
                  <c:v>36020</c:v>
                </c:pt>
                <c:pt idx="685">
                  <c:v>36021</c:v>
                </c:pt>
                <c:pt idx="686">
                  <c:v>36024</c:v>
                </c:pt>
                <c:pt idx="687">
                  <c:v>36025</c:v>
                </c:pt>
                <c:pt idx="688">
                  <c:v>36026</c:v>
                </c:pt>
                <c:pt idx="689">
                  <c:v>36027</c:v>
                </c:pt>
                <c:pt idx="690">
                  <c:v>36028</c:v>
                </c:pt>
                <c:pt idx="691">
                  <c:v>36031</c:v>
                </c:pt>
                <c:pt idx="692">
                  <c:v>36032</c:v>
                </c:pt>
                <c:pt idx="693">
                  <c:v>36033</c:v>
                </c:pt>
                <c:pt idx="694">
                  <c:v>36034</c:v>
                </c:pt>
                <c:pt idx="695">
                  <c:v>36035</c:v>
                </c:pt>
                <c:pt idx="696">
                  <c:v>36038</c:v>
                </c:pt>
                <c:pt idx="697">
                  <c:v>36039</c:v>
                </c:pt>
                <c:pt idx="698">
                  <c:v>36040</c:v>
                </c:pt>
                <c:pt idx="699">
                  <c:v>36041</c:v>
                </c:pt>
                <c:pt idx="700">
                  <c:v>36042</c:v>
                </c:pt>
                <c:pt idx="701">
                  <c:v>36045</c:v>
                </c:pt>
                <c:pt idx="702">
                  <c:v>36046</c:v>
                </c:pt>
                <c:pt idx="703">
                  <c:v>36047</c:v>
                </c:pt>
                <c:pt idx="704">
                  <c:v>36048</c:v>
                </c:pt>
                <c:pt idx="705">
                  <c:v>36049</c:v>
                </c:pt>
                <c:pt idx="706">
                  <c:v>36052</c:v>
                </c:pt>
                <c:pt idx="707">
                  <c:v>36053</c:v>
                </c:pt>
                <c:pt idx="708">
                  <c:v>36054</c:v>
                </c:pt>
                <c:pt idx="709">
                  <c:v>36055</c:v>
                </c:pt>
                <c:pt idx="710">
                  <c:v>36056</c:v>
                </c:pt>
                <c:pt idx="711">
                  <c:v>36059</c:v>
                </c:pt>
                <c:pt idx="712">
                  <c:v>36060</c:v>
                </c:pt>
                <c:pt idx="713">
                  <c:v>36061</c:v>
                </c:pt>
                <c:pt idx="714">
                  <c:v>36062</c:v>
                </c:pt>
                <c:pt idx="715">
                  <c:v>36063</c:v>
                </c:pt>
                <c:pt idx="716">
                  <c:v>36066</c:v>
                </c:pt>
                <c:pt idx="717">
                  <c:v>36067</c:v>
                </c:pt>
                <c:pt idx="718">
                  <c:v>36068</c:v>
                </c:pt>
                <c:pt idx="719">
                  <c:v>36069</c:v>
                </c:pt>
                <c:pt idx="720">
                  <c:v>36070</c:v>
                </c:pt>
                <c:pt idx="721">
                  <c:v>36073</c:v>
                </c:pt>
                <c:pt idx="722">
                  <c:v>36074</c:v>
                </c:pt>
                <c:pt idx="723">
                  <c:v>36075</c:v>
                </c:pt>
                <c:pt idx="724">
                  <c:v>36076</c:v>
                </c:pt>
                <c:pt idx="725">
                  <c:v>36077</c:v>
                </c:pt>
                <c:pt idx="726">
                  <c:v>36080</c:v>
                </c:pt>
                <c:pt idx="727">
                  <c:v>36081</c:v>
                </c:pt>
                <c:pt idx="728">
                  <c:v>36082</c:v>
                </c:pt>
                <c:pt idx="729">
                  <c:v>36083</c:v>
                </c:pt>
                <c:pt idx="730">
                  <c:v>36084</c:v>
                </c:pt>
                <c:pt idx="731">
                  <c:v>36087</c:v>
                </c:pt>
                <c:pt idx="732">
                  <c:v>36088</c:v>
                </c:pt>
                <c:pt idx="733">
                  <c:v>36089</c:v>
                </c:pt>
                <c:pt idx="734">
                  <c:v>36090</c:v>
                </c:pt>
                <c:pt idx="735">
                  <c:v>36091</c:v>
                </c:pt>
                <c:pt idx="736">
                  <c:v>36094</c:v>
                </c:pt>
                <c:pt idx="737">
                  <c:v>36095</c:v>
                </c:pt>
                <c:pt idx="738">
                  <c:v>36096</c:v>
                </c:pt>
                <c:pt idx="739">
                  <c:v>36097</c:v>
                </c:pt>
                <c:pt idx="740">
                  <c:v>36098</c:v>
                </c:pt>
                <c:pt idx="741">
                  <c:v>36101</c:v>
                </c:pt>
                <c:pt idx="742">
                  <c:v>36102</c:v>
                </c:pt>
                <c:pt idx="743">
                  <c:v>36103</c:v>
                </c:pt>
                <c:pt idx="744">
                  <c:v>36104</c:v>
                </c:pt>
                <c:pt idx="745">
                  <c:v>36105</c:v>
                </c:pt>
                <c:pt idx="746">
                  <c:v>36108</c:v>
                </c:pt>
                <c:pt idx="747">
                  <c:v>36109</c:v>
                </c:pt>
                <c:pt idx="748">
                  <c:v>36110</c:v>
                </c:pt>
                <c:pt idx="749">
                  <c:v>36111</c:v>
                </c:pt>
                <c:pt idx="750">
                  <c:v>36112</c:v>
                </c:pt>
                <c:pt idx="751">
                  <c:v>36115</c:v>
                </c:pt>
                <c:pt idx="752">
                  <c:v>36116</c:v>
                </c:pt>
                <c:pt idx="753">
                  <c:v>36117</c:v>
                </c:pt>
                <c:pt idx="754">
                  <c:v>36118</c:v>
                </c:pt>
                <c:pt idx="755">
                  <c:v>36119</c:v>
                </c:pt>
                <c:pt idx="756">
                  <c:v>36122</c:v>
                </c:pt>
                <c:pt idx="757">
                  <c:v>36123</c:v>
                </c:pt>
                <c:pt idx="758">
                  <c:v>36124</c:v>
                </c:pt>
                <c:pt idx="759">
                  <c:v>36125</c:v>
                </c:pt>
                <c:pt idx="760">
                  <c:v>36126</c:v>
                </c:pt>
                <c:pt idx="761">
                  <c:v>36129</c:v>
                </c:pt>
                <c:pt idx="762">
                  <c:v>36130</c:v>
                </c:pt>
                <c:pt idx="763">
                  <c:v>36131</c:v>
                </c:pt>
                <c:pt idx="764">
                  <c:v>36132</c:v>
                </c:pt>
                <c:pt idx="765">
                  <c:v>36133</c:v>
                </c:pt>
                <c:pt idx="766">
                  <c:v>36136</c:v>
                </c:pt>
                <c:pt idx="767">
                  <c:v>36137</c:v>
                </c:pt>
                <c:pt idx="768">
                  <c:v>36138</c:v>
                </c:pt>
                <c:pt idx="769">
                  <c:v>36139</c:v>
                </c:pt>
                <c:pt idx="770">
                  <c:v>36140</c:v>
                </c:pt>
                <c:pt idx="771">
                  <c:v>36143</c:v>
                </c:pt>
                <c:pt idx="772">
                  <c:v>36144</c:v>
                </c:pt>
                <c:pt idx="773">
                  <c:v>36145</c:v>
                </c:pt>
                <c:pt idx="774">
                  <c:v>36146</c:v>
                </c:pt>
                <c:pt idx="775">
                  <c:v>36147</c:v>
                </c:pt>
                <c:pt idx="776">
                  <c:v>36150</c:v>
                </c:pt>
                <c:pt idx="777">
                  <c:v>36151</c:v>
                </c:pt>
                <c:pt idx="778">
                  <c:v>36152</c:v>
                </c:pt>
                <c:pt idx="779">
                  <c:v>36153</c:v>
                </c:pt>
                <c:pt idx="780">
                  <c:v>36154</c:v>
                </c:pt>
                <c:pt idx="781">
                  <c:v>36157</c:v>
                </c:pt>
                <c:pt idx="782">
                  <c:v>36158</c:v>
                </c:pt>
                <c:pt idx="783">
                  <c:v>36159</c:v>
                </c:pt>
                <c:pt idx="784">
                  <c:v>36160</c:v>
                </c:pt>
                <c:pt idx="785">
                  <c:v>36161</c:v>
                </c:pt>
                <c:pt idx="786">
                  <c:v>36164</c:v>
                </c:pt>
                <c:pt idx="787">
                  <c:v>36165</c:v>
                </c:pt>
                <c:pt idx="788">
                  <c:v>36166</c:v>
                </c:pt>
                <c:pt idx="789">
                  <c:v>36167</c:v>
                </c:pt>
                <c:pt idx="790">
                  <c:v>36168</c:v>
                </c:pt>
                <c:pt idx="791">
                  <c:v>36171</c:v>
                </c:pt>
                <c:pt idx="792">
                  <c:v>36172</c:v>
                </c:pt>
                <c:pt idx="793">
                  <c:v>36173</c:v>
                </c:pt>
                <c:pt idx="794">
                  <c:v>36174</c:v>
                </c:pt>
                <c:pt idx="795">
                  <c:v>36175</c:v>
                </c:pt>
                <c:pt idx="796">
                  <c:v>36178</c:v>
                </c:pt>
                <c:pt idx="797">
                  <c:v>36179</c:v>
                </c:pt>
                <c:pt idx="798">
                  <c:v>36180</c:v>
                </c:pt>
                <c:pt idx="799">
                  <c:v>36181</c:v>
                </c:pt>
                <c:pt idx="800">
                  <c:v>36182</c:v>
                </c:pt>
                <c:pt idx="801">
                  <c:v>36185</c:v>
                </c:pt>
                <c:pt idx="802">
                  <c:v>36186</c:v>
                </c:pt>
                <c:pt idx="803">
                  <c:v>36187</c:v>
                </c:pt>
                <c:pt idx="804">
                  <c:v>36188</c:v>
                </c:pt>
                <c:pt idx="805">
                  <c:v>36189</c:v>
                </c:pt>
                <c:pt idx="806">
                  <c:v>36192</c:v>
                </c:pt>
                <c:pt idx="807">
                  <c:v>36193</c:v>
                </c:pt>
                <c:pt idx="808">
                  <c:v>36194</c:v>
                </c:pt>
                <c:pt idx="809">
                  <c:v>36195</c:v>
                </c:pt>
                <c:pt idx="810">
                  <c:v>36196</c:v>
                </c:pt>
                <c:pt idx="811">
                  <c:v>36199</c:v>
                </c:pt>
                <c:pt idx="812">
                  <c:v>36200</c:v>
                </c:pt>
                <c:pt idx="813">
                  <c:v>36201</c:v>
                </c:pt>
                <c:pt idx="814">
                  <c:v>36202</c:v>
                </c:pt>
                <c:pt idx="815">
                  <c:v>36203</c:v>
                </c:pt>
                <c:pt idx="816">
                  <c:v>36206</c:v>
                </c:pt>
                <c:pt idx="817">
                  <c:v>36207</c:v>
                </c:pt>
                <c:pt idx="818">
                  <c:v>36208</c:v>
                </c:pt>
                <c:pt idx="819">
                  <c:v>36209</c:v>
                </c:pt>
                <c:pt idx="820">
                  <c:v>36210</c:v>
                </c:pt>
                <c:pt idx="821">
                  <c:v>36213</c:v>
                </c:pt>
                <c:pt idx="822">
                  <c:v>36214</c:v>
                </c:pt>
                <c:pt idx="823">
                  <c:v>36215</c:v>
                </c:pt>
                <c:pt idx="824">
                  <c:v>36216</c:v>
                </c:pt>
                <c:pt idx="825">
                  <c:v>36217</c:v>
                </c:pt>
                <c:pt idx="826">
                  <c:v>36220</c:v>
                </c:pt>
                <c:pt idx="827">
                  <c:v>36221</c:v>
                </c:pt>
                <c:pt idx="828">
                  <c:v>36222</c:v>
                </c:pt>
                <c:pt idx="829">
                  <c:v>36223</c:v>
                </c:pt>
                <c:pt idx="830">
                  <c:v>36224</c:v>
                </c:pt>
                <c:pt idx="831">
                  <c:v>36227</c:v>
                </c:pt>
                <c:pt idx="832">
                  <c:v>36228</c:v>
                </c:pt>
                <c:pt idx="833">
                  <c:v>36229</c:v>
                </c:pt>
                <c:pt idx="834">
                  <c:v>36230</c:v>
                </c:pt>
                <c:pt idx="835">
                  <c:v>36231</c:v>
                </c:pt>
                <c:pt idx="836">
                  <c:v>36234</c:v>
                </c:pt>
                <c:pt idx="837">
                  <c:v>36235</c:v>
                </c:pt>
                <c:pt idx="838">
                  <c:v>36236</c:v>
                </c:pt>
                <c:pt idx="839">
                  <c:v>36237</c:v>
                </c:pt>
                <c:pt idx="840">
                  <c:v>36238</c:v>
                </c:pt>
                <c:pt idx="841">
                  <c:v>36241</c:v>
                </c:pt>
                <c:pt idx="842">
                  <c:v>36242</c:v>
                </c:pt>
                <c:pt idx="843">
                  <c:v>36243</c:v>
                </c:pt>
                <c:pt idx="844">
                  <c:v>36244</c:v>
                </c:pt>
                <c:pt idx="845">
                  <c:v>36245</c:v>
                </c:pt>
                <c:pt idx="846">
                  <c:v>36248</c:v>
                </c:pt>
                <c:pt idx="847">
                  <c:v>36249</c:v>
                </c:pt>
                <c:pt idx="848">
                  <c:v>36250</c:v>
                </c:pt>
                <c:pt idx="849">
                  <c:v>36251</c:v>
                </c:pt>
                <c:pt idx="850">
                  <c:v>36252</c:v>
                </c:pt>
                <c:pt idx="851">
                  <c:v>36255</c:v>
                </c:pt>
                <c:pt idx="852">
                  <c:v>36256</c:v>
                </c:pt>
                <c:pt idx="853">
                  <c:v>36257</c:v>
                </c:pt>
                <c:pt idx="854">
                  <c:v>36258</c:v>
                </c:pt>
                <c:pt idx="855">
                  <c:v>36259</c:v>
                </c:pt>
                <c:pt idx="856">
                  <c:v>36262</c:v>
                </c:pt>
                <c:pt idx="857">
                  <c:v>36263</c:v>
                </c:pt>
                <c:pt idx="858">
                  <c:v>36264</c:v>
                </c:pt>
                <c:pt idx="859">
                  <c:v>36265</c:v>
                </c:pt>
                <c:pt idx="860">
                  <c:v>36266</c:v>
                </c:pt>
                <c:pt idx="861">
                  <c:v>36269</c:v>
                </c:pt>
                <c:pt idx="862">
                  <c:v>36270</c:v>
                </c:pt>
                <c:pt idx="863">
                  <c:v>36271</c:v>
                </c:pt>
                <c:pt idx="864">
                  <c:v>36272</c:v>
                </c:pt>
                <c:pt idx="865">
                  <c:v>36273</c:v>
                </c:pt>
                <c:pt idx="866">
                  <c:v>36276</c:v>
                </c:pt>
                <c:pt idx="867">
                  <c:v>36277</c:v>
                </c:pt>
                <c:pt idx="868">
                  <c:v>36278</c:v>
                </c:pt>
                <c:pt idx="869">
                  <c:v>36279</c:v>
                </c:pt>
                <c:pt idx="870">
                  <c:v>36280</c:v>
                </c:pt>
                <c:pt idx="871">
                  <c:v>36283</c:v>
                </c:pt>
                <c:pt idx="872">
                  <c:v>36284</c:v>
                </c:pt>
                <c:pt idx="873">
                  <c:v>36285</c:v>
                </c:pt>
                <c:pt idx="874">
                  <c:v>36286</c:v>
                </c:pt>
                <c:pt idx="875">
                  <c:v>36287</c:v>
                </c:pt>
                <c:pt idx="876">
                  <c:v>36290</c:v>
                </c:pt>
                <c:pt idx="877">
                  <c:v>36291</c:v>
                </c:pt>
                <c:pt idx="878">
                  <c:v>36292</c:v>
                </c:pt>
                <c:pt idx="879">
                  <c:v>36293</c:v>
                </c:pt>
                <c:pt idx="880">
                  <c:v>36294</c:v>
                </c:pt>
                <c:pt idx="881">
                  <c:v>36297</c:v>
                </c:pt>
                <c:pt idx="882">
                  <c:v>36298</c:v>
                </c:pt>
                <c:pt idx="883">
                  <c:v>36299</c:v>
                </c:pt>
                <c:pt idx="884">
                  <c:v>36300</c:v>
                </c:pt>
                <c:pt idx="885">
                  <c:v>36301</c:v>
                </c:pt>
                <c:pt idx="886">
                  <c:v>36304</c:v>
                </c:pt>
                <c:pt idx="887">
                  <c:v>36305</c:v>
                </c:pt>
                <c:pt idx="888">
                  <c:v>36306</c:v>
                </c:pt>
                <c:pt idx="889">
                  <c:v>36307</c:v>
                </c:pt>
                <c:pt idx="890">
                  <c:v>36308</c:v>
                </c:pt>
                <c:pt idx="891">
                  <c:v>36311</c:v>
                </c:pt>
                <c:pt idx="892">
                  <c:v>36312</c:v>
                </c:pt>
                <c:pt idx="893">
                  <c:v>36313</c:v>
                </c:pt>
                <c:pt idx="894">
                  <c:v>36314</c:v>
                </c:pt>
                <c:pt idx="895">
                  <c:v>36315</c:v>
                </c:pt>
                <c:pt idx="896">
                  <c:v>36318</c:v>
                </c:pt>
                <c:pt idx="897">
                  <c:v>36319</c:v>
                </c:pt>
                <c:pt idx="898">
                  <c:v>36320</c:v>
                </c:pt>
                <c:pt idx="899">
                  <c:v>36321</c:v>
                </c:pt>
                <c:pt idx="900">
                  <c:v>36322</c:v>
                </c:pt>
                <c:pt idx="901">
                  <c:v>36325</c:v>
                </c:pt>
                <c:pt idx="902">
                  <c:v>36326</c:v>
                </c:pt>
                <c:pt idx="903">
                  <c:v>36327</c:v>
                </c:pt>
                <c:pt idx="904">
                  <c:v>36328</c:v>
                </c:pt>
                <c:pt idx="905">
                  <c:v>36329</c:v>
                </c:pt>
                <c:pt idx="906">
                  <c:v>36332</c:v>
                </c:pt>
                <c:pt idx="907">
                  <c:v>36333</c:v>
                </c:pt>
                <c:pt idx="908">
                  <c:v>36334</c:v>
                </c:pt>
                <c:pt idx="909">
                  <c:v>36335</c:v>
                </c:pt>
                <c:pt idx="910">
                  <c:v>36336</c:v>
                </c:pt>
                <c:pt idx="911">
                  <c:v>36339</c:v>
                </c:pt>
                <c:pt idx="912">
                  <c:v>36340</c:v>
                </c:pt>
                <c:pt idx="913">
                  <c:v>36341</c:v>
                </c:pt>
                <c:pt idx="914">
                  <c:v>36342</c:v>
                </c:pt>
                <c:pt idx="915">
                  <c:v>36343</c:v>
                </c:pt>
                <c:pt idx="916">
                  <c:v>36346</c:v>
                </c:pt>
                <c:pt idx="917">
                  <c:v>36347</c:v>
                </c:pt>
                <c:pt idx="918">
                  <c:v>36348</c:v>
                </c:pt>
                <c:pt idx="919">
                  <c:v>36349</c:v>
                </c:pt>
                <c:pt idx="920">
                  <c:v>36350</c:v>
                </c:pt>
                <c:pt idx="921">
                  <c:v>36353</c:v>
                </c:pt>
                <c:pt idx="922">
                  <c:v>36354</c:v>
                </c:pt>
                <c:pt idx="923">
                  <c:v>36355</c:v>
                </c:pt>
                <c:pt idx="924">
                  <c:v>36356</c:v>
                </c:pt>
                <c:pt idx="925">
                  <c:v>36357</c:v>
                </c:pt>
                <c:pt idx="926">
                  <c:v>36360</c:v>
                </c:pt>
                <c:pt idx="927">
                  <c:v>36361</c:v>
                </c:pt>
                <c:pt idx="928">
                  <c:v>36362</c:v>
                </c:pt>
                <c:pt idx="929">
                  <c:v>36363</c:v>
                </c:pt>
                <c:pt idx="930">
                  <c:v>36364</c:v>
                </c:pt>
                <c:pt idx="931">
                  <c:v>36367</c:v>
                </c:pt>
                <c:pt idx="932">
                  <c:v>36368</c:v>
                </c:pt>
                <c:pt idx="933">
                  <c:v>36369</c:v>
                </c:pt>
                <c:pt idx="934">
                  <c:v>36370</c:v>
                </c:pt>
                <c:pt idx="935">
                  <c:v>36371</c:v>
                </c:pt>
                <c:pt idx="936">
                  <c:v>36374</c:v>
                </c:pt>
                <c:pt idx="937">
                  <c:v>36375</c:v>
                </c:pt>
                <c:pt idx="938">
                  <c:v>36376</c:v>
                </c:pt>
                <c:pt idx="939">
                  <c:v>36377</c:v>
                </c:pt>
                <c:pt idx="940">
                  <c:v>36378</c:v>
                </c:pt>
                <c:pt idx="941">
                  <c:v>36381</c:v>
                </c:pt>
                <c:pt idx="942">
                  <c:v>36382</c:v>
                </c:pt>
                <c:pt idx="943">
                  <c:v>36383</c:v>
                </c:pt>
                <c:pt idx="944">
                  <c:v>36384</c:v>
                </c:pt>
                <c:pt idx="945">
                  <c:v>36385</c:v>
                </c:pt>
                <c:pt idx="946">
                  <c:v>36388</c:v>
                </c:pt>
                <c:pt idx="947">
                  <c:v>36389</c:v>
                </c:pt>
                <c:pt idx="948">
                  <c:v>36390</c:v>
                </c:pt>
                <c:pt idx="949">
                  <c:v>36391</c:v>
                </c:pt>
                <c:pt idx="950">
                  <c:v>36392</c:v>
                </c:pt>
                <c:pt idx="951">
                  <c:v>36395</c:v>
                </c:pt>
                <c:pt idx="952">
                  <c:v>36396</c:v>
                </c:pt>
                <c:pt idx="953">
                  <c:v>36397</c:v>
                </c:pt>
                <c:pt idx="954">
                  <c:v>36398</c:v>
                </c:pt>
                <c:pt idx="955">
                  <c:v>36399</c:v>
                </c:pt>
                <c:pt idx="956">
                  <c:v>36402</c:v>
                </c:pt>
                <c:pt idx="957">
                  <c:v>36403</c:v>
                </c:pt>
                <c:pt idx="958">
                  <c:v>36404</c:v>
                </c:pt>
                <c:pt idx="959">
                  <c:v>36405</c:v>
                </c:pt>
                <c:pt idx="960">
                  <c:v>36406</c:v>
                </c:pt>
                <c:pt idx="961">
                  <c:v>36409</c:v>
                </c:pt>
                <c:pt idx="962">
                  <c:v>36410</c:v>
                </c:pt>
                <c:pt idx="963">
                  <c:v>36411</c:v>
                </c:pt>
                <c:pt idx="964">
                  <c:v>36412</c:v>
                </c:pt>
                <c:pt idx="965">
                  <c:v>36413</c:v>
                </c:pt>
                <c:pt idx="966">
                  <c:v>36416</c:v>
                </c:pt>
                <c:pt idx="967">
                  <c:v>36417</c:v>
                </c:pt>
                <c:pt idx="968">
                  <c:v>36418</c:v>
                </c:pt>
                <c:pt idx="969">
                  <c:v>36419</c:v>
                </c:pt>
                <c:pt idx="970">
                  <c:v>36420</c:v>
                </c:pt>
                <c:pt idx="971">
                  <c:v>36423</c:v>
                </c:pt>
                <c:pt idx="972">
                  <c:v>36424</c:v>
                </c:pt>
                <c:pt idx="973">
                  <c:v>36425</c:v>
                </c:pt>
                <c:pt idx="974">
                  <c:v>36426</c:v>
                </c:pt>
                <c:pt idx="975">
                  <c:v>36427</c:v>
                </c:pt>
                <c:pt idx="976">
                  <c:v>36430</c:v>
                </c:pt>
                <c:pt idx="977">
                  <c:v>36431</c:v>
                </c:pt>
                <c:pt idx="978">
                  <c:v>36432</c:v>
                </c:pt>
                <c:pt idx="979">
                  <c:v>36433</c:v>
                </c:pt>
                <c:pt idx="980">
                  <c:v>36434</c:v>
                </c:pt>
                <c:pt idx="981">
                  <c:v>36437</c:v>
                </c:pt>
                <c:pt idx="982">
                  <c:v>36438</c:v>
                </c:pt>
                <c:pt idx="983">
                  <c:v>36439</c:v>
                </c:pt>
                <c:pt idx="984">
                  <c:v>36440</c:v>
                </c:pt>
                <c:pt idx="985">
                  <c:v>36441</c:v>
                </c:pt>
                <c:pt idx="986">
                  <c:v>36444</c:v>
                </c:pt>
                <c:pt idx="987">
                  <c:v>36445</c:v>
                </c:pt>
                <c:pt idx="988">
                  <c:v>36446</c:v>
                </c:pt>
                <c:pt idx="989">
                  <c:v>36447</c:v>
                </c:pt>
                <c:pt idx="990">
                  <c:v>36448</c:v>
                </c:pt>
                <c:pt idx="991">
                  <c:v>36451</c:v>
                </c:pt>
                <c:pt idx="992">
                  <c:v>36452</c:v>
                </c:pt>
                <c:pt idx="993">
                  <c:v>36453</c:v>
                </c:pt>
                <c:pt idx="994">
                  <c:v>36454</c:v>
                </c:pt>
                <c:pt idx="995">
                  <c:v>36455</c:v>
                </c:pt>
                <c:pt idx="996">
                  <c:v>36458</c:v>
                </c:pt>
                <c:pt idx="997">
                  <c:v>36459</c:v>
                </c:pt>
                <c:pt idx="998">
                  <c:v>36460</c:v>
                </c:pt>
                <c:pt idx="999">
                  <c:v>36461</c:v>
                </c:pt>
                <c:pt idx="1000">
                  <c:v>36462</c:v>
                </c:pt>
                <c:pt idx="1001">
                  <c:v>36465</c:v>
                </c:pt>
                <c:pt idx="1002">
                  <c:v>36466</c:v>
                </c:pt>
                <c:pt idx="1003">
                  <c:v>36467</c:v>
                </c:pt>
                <c:pt idx="1004">
                  <c:v>36468</c:v>
                </c:pt>
                <c:pt idx="1005">
                  <c:v>36469</c:v>
                </c:pt>
                <c:pt idx="1006">
                  <c:v>36472</c:v>
                </c:pt>
                <c:pt idx="1007">
                  <c:v>36473</c:v>
                </c:pt>
                <c:pt idx="1008">
                  <c:v>36474</c:v>
                </c:pt>
                <c:pt idx="1009">
                  <c:v>36475</c:v>
                </c:pt>
                <c:pt idx="1010">
                  <c:v>36476</c:v>
                </c:pt>
                <c:pt idx="1011">
                  <c:v>36479</c:v>
                </c:pt>
                <c:pt idx="1012">
                  <c:v>36480</c:v>
                </c:pt>
                <c:pt idx="1013">
                  <c:v>36481</c:v>
                </c:pt>
                <c:pt idx="1014">
                  <c:v>36482</c:v>
                </c:pt>
                <c:pt idx="1015">
                  <c:v>36483</c:v>
                </c:pt>
                <c:pt idx="1016">
                  <c:v>36486</c:v>
                </c:pt>
                <c:pt idx="1017">
                  <c:v>36487</c:v>
                </c:pt>
                <c:pt idx="1018">
                  <c:v>36488</c:v>
                </c:pt>
                <c:pt idx="1019">
                  <c:v>36489</c:v>
                </c:pt>
                <c:pt idx="1020">
                  <c:v>36490</c:v>
                </c:pt>
                <c:pt idx="1021">
                  <c:v>36493</c:v>
                </c:pt>
                <c:pt idx="1022">
                  <c:v>36494</c:v>
                </c:pt>
                <c:pt idx="1023">
                  <c:v>36495</c:v>
                </c:pt>
                <c:pt idx="1024">
                  <c:v>36496</c:v>
                </c:pt>
                <c:pt idx="1025">
                  <c:v>36497</c:v>
                </c:pt>
                <c:pt idx="1026">
                  <c:v>36500</c:v>
                </c:pt>
                <c:pt idx="1027">
                  <c:v>36501</c:v>
                </c:pt>
                <c:pt idx="1028">
                  <c:v>36502</c:v>
                </c:pt>
                <c:pt idx="1029">
                  <c:v>36503</c:v>
                </c:pt>
                <c:pt idx="1030">
                  <c:v>36504</c:v>
                </c:pt>
                <c:pt idx="1031">
                  <c:v>36507</c:v>
                </c:pt>
                <c:pt idx="1032">
                  <c:v>36508</c:v>
                </c:pt>
                <c:pt idx="1033">
                  <c:v>36509</c:v>
                </c:pt>
                <c:pt idx="1034">
                  <c:v>36510</c:v>
                </c:pt>
                <c:pt idx="1035">
                  <c:v>36511</c:v>
                </c:pt>
                <c:pt idx="1036">
                  <c:v>36514</c:v>
                </c:pt>
                <c:pt idx="1037">
                  <c:v>36515</c:v>
                </c:pt>
                <c:pt idx="1038">
                  <c:v>36516</c:v>
                </c:pt>
                <c:pt idx="1039">
                  <c:v>36517</c:v>
                </c:pt>
                <c:pt idx="1040">
                  <c:v>36518</c:v>
                </c:pt>
                <c:pt idx="1041">
                  <c:v>36521</c:v>
                </c:pt>
                <c:pt idx="1042">
                  <c:v>36522</c:v>
                </c:pt>
                <c:pt idx="1043">
                  <c:v>36523</c:v>
                </c:pt>
                <c:pt idx="1044">
                  <c:v>36524</c:v>
                </c:pt>
                <c:pt idx="1045">
                  <c:v>36525</c:v>
                </c:pt>
                <c:pt idx="1046">
                  <c:v>36528</c:v>
                </c:pt>
                <c:pt idx="1047">
                  <c:v>36529</c:v>
                </c:pt>
                <c:pt idx="1048">
                  <c:v>36530</c:v>
                </c:pt>
                <c:pt idx="1049">
                  <c:v>36531</c:v>
                </c:pt>
                <c:pt idx="1050">
                  <c:v>36532</c:v>
                </c:pt>
                <c:pt idx="1051">
                  <c:v>36535</c:v>
                </c:pt>
                <c:pt idx="1052">
                  <c:v>36536</c:v>
                </c:pt>
                <c:pt idx="1053">
                  <c:v>36537</c:v>
                </c:pt>
                <c:pt idx="1054">
                  <c:v>36538</c:v>
                </c:pt>
                <c:pt idx="1055">
                  <c:v>36539</c:v>
                </c:pt>
                <c:pt idx="1056">
                  <c:v>36542</c:v>
                </c:pt>
                <c:pt idx="1057">
                  <c:v>36543</c:v>
                </c:pt>
                <c:pt idx="1058">
                  <c:v>36544</c:v>
                </c:pt>
                <c:pt idx="1059">
                  <c:v>36545</c:v>
                </c:pt>
                <c:pt idx="1060">
                  <c:v>36546</c:v>
                </c:pt>
                <c:pt idx="1061">
                  <c:v>36549</c:v>
                </c:pt>
                <c:pt idx="1062">
                  <c:v>36550</c:v>
                </c:pt>
                <c:pt idx="1063">
                  <c:v>36551</c:v>
                </c:pt>
                <c:pt idx="1064">
                  <c:v>36552</c:v>
                </c:pt>
                <c:pt idx="1065">
                  <c:v>36553</c:v>
                </c:pt>
                <c:pt idx="1066">
                  <c:v>36556</c:v>
                </c:pt>
                <c:pt idx="1067">
                  <c:v>36557</c:v>
                </c:pt>
                <c:pt idx="1068">
                  <c:v>36558</c:v>
                </c:pt>
                <c:pt idx="1069">
                  <c:v>36559</c:v>
                </c:pt>
                <c:pt idx="1070">
                  <c:v>36560</c:v>
                </c:pt>
                <c:pt idx="1071">
                  <c:v>36563</c:v>
                </c:pt>
                <c:pt idx="1072">
                  <c:v>36564</c:v>
                </c:pt>
                <c:pt idx="1073">
                  <c:v>36565</c:v>
                </c:pt>
                <c:pt idx="1074">
                  <c:v>36566</c:v>
                </c:pt>
                <c:pt idx="1075">
                  <c:v>36567</c:v>
                </c:pt>
                <c:pt idx="1076">
                  <c:v>36570</c:v>
                </c:pt>
                <c:pt idx="1077">
                  <c:v>36571</c:v>
                </c:pt>
                <c:pt idx="1078">
                  <c:v>36572</c:v>
                </c:pt>
                <c:pt idx="1079">
                  <c:v>36573</c:v>
                </c:pt>
                <c:pt idx="1080">
                  <c:v>36574</c:v>
                </c:pt>
                <c:pt idx="1081">
                  <c:v>36577</c:v>
                </c:pt>
                <c:pt idx="1082">
                  <c:v>36578</c:v>
                </c:pt>
                <c:pt idx="1083">
                  <c:v>36579</c:v>
                </c:pt>
                <c:pt idx="1084">
                  <c:v>36580</c:v>
                </c:pt>
                <c:pt idx="1085">
                  <c:v>36581</c:v>
                </c:pt>
                <c:pt idx="1086">
                  <c:v>36584</c:v>
                </c:pt>
                <c:pt idx="1087">
                  <c:v>36585</c:v>
                </c:pt>
                <c:pt idx="1088">
                  <c:v>36586</c:v>
                </c:pt>
                <c:pt idx="1089">
                  <c:v>36587</c:v>
                </c:pt>
                <c:pt idx="1090">
                  <c:v>36588</c:v>
                </c:pt>
                <c:pt idx="1091">
                  <c:v>36591</c:v>
                </c:pt>
                <c:pt idx="1092">
                  <c:v>36592</c:v>
                </c:pt>
                <c:pt idx="1093">
                  <c:v>36593</c:v>
                </c:pt>
                <c:pt idx="1094">
                  <c:v>36594</c:v>
                </c:pt>
                <c:pt idx="1095">
                  <c:v>36595</c:v>
                </c:pt>
                <c:pt idx="1096">
                  <c:v>36598</c:v>
                </c:pt>
                <c:pt idx="1097">
                  <c:v>36599</c:v>
                </c:pt>
                <c:pt idx="1098">
                  <c:v>36600</c:v>
                </c:pt>
                <c:pt idx="1099">
                  <c:v>36601</c:v>
                </c:pt>
                <c:pt idx="1100">
                  <c:v>36602</c:v>
                </c:pt>
                <c:pt idx="1101">
                  <c:v>36605</c:v>
                </c:pt>
                <c:pt idx="1102">
                  <c:v>36606</c:v>
                </c:pt>
                <c:pt idx="1103">
                  <c:v>36607</c:v>
                </c:pt>
                <c:pt idx="1104">
                  <c:v>36608</c:v>
                </c:pt>
                <c:pt idx="1105">
                  <c:v>36609</c:v>
                </c:pt>
                <c:pt idx="1106">
                  <c:v>36612</c:v>
                </c:pt>
                <c:pt idx="1107">
                  <c:v>36613</c:v>
                </c:pt>
                <c:pt idx="1108">
                  <c:v>36614</c:v>
                </c:pt>
                <c:pt idx="1109">
                  <c:v>36615</c:v>
                </c:pt>
                <c:pt idx="1110">
                  <c:v>36616</c:v>
                </c:pt>
                <c:pt idx="1111">
                  <c:v>36619</c:v>
                </c:pt>
                <c:pt idx="1112">
                  <c:v>36620</c:v>
                </c:pt>
                <c:pt idx="1113">
                  <c:v>36621</c:v>
                </c:pt>
                <c:pt idx="1114">
                  <c:v>36622</c:v>
                </c:pt>
                <c:pt idx="1115">
                  <c:v>36623</c:v>
                </c:pt>
                <c:pt idx="1116">
                  <c:v>36626</c:v>
                </c:pt>
                <c:pt idx="1117">
                  <c:v>36627</c:v>
                </c:pt>
                <c:pt idx="1118">
                  <c:v>36628</c:v>
                </c:pt>
                <c:pt idx="1119">
                  <c:v>36629</c:v>
                </c:pt>
                <c:pt idx="1120">
                  <c:v>36630</c:v>
                </c:pt>
                <c:pt idx="1121">
                  <c:v>36633</c:v>
                </c:pt>
                <c:pt idx="1122">
                  <c:v>36634</c:v>
                </c:pt>
                <c:pt idx="1123">
                  <c:v>36635</c:v>
                </c:pt>
                <c:pt idx="1124">
                  <c:v>36636</c:v>
                </c:pt>
                <c:pt idx="1125">
                  <c:v>36637</c:v>
                </c:pt>
                <c:pt idx="1126">
                  <c:v>36640</c:v>
                </c:pt>
                <c:pt idx="1127">
                  <c:v>36641</c:v>
                </c:pt>
                <c:pt idx="1128">
                  <c:v>36642</c:v>
                </c:pt>
                <c:pt idx="1129">
                  <c:v>36643</c:v>
                </c:pt>
                <c:pt idx="1130">
                  <c:v>36644</c:v>
                </c:pt>
                <c:pt idx="1131">
                  <c:v>36647</c:v>
                </c:pt>
                <c:pt idx="1132">
                  <c:v>36648</c:v>
                </c:pt>
                <c:pt idx="1133">
                  <c:v>36649</c:v>
                </c:pt>
                <c:pt idx="1134">
                  <c:v>36650</c:v>
                </c:pt>
                <c:pt idx="1135">
                  <c:v>36651</c:v>
                </c:pt>
                <c:pt idx="1136">
                  <c:v>36654</c:v>
                </c:pt>
                <c:pt idx="1137">
                  <c:v>36655</c:v>
                </c:pt>
                <c:pt idx="1138">
                  <c:v>36656</c:v>
                </c:pt>
                <c:pt idx="1139">
                  <c:v>36657</c:v>
                </c:pt>
                <c:pt idx="1140">
                  <c:v>36658</c:v>
                </c:pt>
                <c:pt idx="1141">
                  <c:v>36661</c:v>
                </c:pt>
                <c:pt idx="1142">
                  <c:v>36662</c:v>
                </c:pt>
                <c:pt idx="1143">
                  <c:v>36663</c:v>
                </c:pt>
                <c:pt idx="1144">
                  <c:v>36664</c:v>
                </c:pt>
                <c:pt idx="1145">
                  <c:v>36665</c:v>
                </c:pt>
                <c:pt idx="1146">
                  <c:v>36668</c:v>
                </c:pt>
                <c:pt idx="1147">
                  <c:v>36669</c:v>
                </c:pt>
                <c:pt idx="1148">
                  <c:v>36670</c:v>
                </c:pt>
                <c:pt idx="1149">
                  <c:v>36671</c:v>
                </c:pt>
                <c:pt idx="1150">
                  <c:v>36672</c:v>
                </c:pt>
                <c:pt idx="1151">
                  <c:v>36675</c:v>
                </c:pt>
                <c:pt idx="1152">
                  <c:v>36676</c:v>
                </c:pt>
                <c:pt idx="1153">
                  <c:v>36677</c:v>
                </c:pt>
                <c:pt idx="1154">
                  <c:v>36678</c:v>
                </c:pt>
                <c:pt idx="1155">
                  <c:v>36679</c:v>
                </c:pt>
                <c:pt idx="1156">
                  <c:v>36682</c:v>
                </c:pt>
                <c:pt idx="1157">
                  <c:v>36683</c:v>
                </c:pt>
                <c:pt idx="1158">
                  <c:v>36684</c:v>
                </c:pt>
                <c:pt idx="1159">
                  <c:v>36685</c:v>
                </c:pt>
                <c:pt idx="1160">
                  <c:v>36686</c:v>
                </c:pt>
                <c:pt idx="1161">
                  <c:v>36689</c:v>
                </c:pt>
                <c:pt idx="1162">
                  <c:v>36690</c:v>
                </c:pt>
                <c:pt idx="1163">
                  <c:v>36691</c:v>
                </c:pt>
                <c:pt idx="1164">
                  <c:v>36692</c:v>
                </c:pt>
                <c:pt idx="1165">
                  <c:v>36693</c:v>
                </c:pt>
                <c:pt idx="1166">
                  <c:v>36696</c:v>
                </c:pt>
                <c:pt idx="1167">
                  <c:v>36697</c:v>
                </c:pt>
                <c:pt idx="1168">
                  <c:v>36698</c:v>
                </c:pt>
                <c:pt idx="1169">
                  <c:v>36699</c:v>
                </c:pt>
                <c:pt idx="1170">
                  <c:v>36700</c:v>
                </c:pt>
                <c:pt idx="1171">
                  <c:v>36703</c:v>
                </c:pt>
                <c:pt idx="1172">
                  <c:v>36704</c:v>
                </c:pt>
                <c:pt idx="1173">
                  <c:v>36705</c:v>
                </c:pt>
                <c:pt idx="1174">
                  <c:v>36706</c:v>
                </c:pt>
                <c:pt idx="1175">
                  <c:v>36707</c:v>
                </c:pt>
                <c:pt idx="1176">
                  <c:v>36710</c:v>
                </c:pt>
                <c:pt idx="1177">
                  <c:v>36711</c:v>
                </c:pt>
                <c:pt idx="1178">
                  <c:v>36712</c:v>
                </c:pt>
                <c:pt idx="1179">
                  <c:v>36713</c:v>
                </c:pt>
                <c:pt idx="1180">
                  <c:v>36714</c:v>
                </c:pt>
                <c:pt idx="1181">
                  <c:v>36717</c:v>
                </c:pt>
                <c:pt idx="1182">
                  <c:v>36718</c:v>
                </c:pt>
                <c:pt idx="1183">
                  <c:v>36719</c:v>
                </c:pt>
                <c:pt idx="1184">
                  <c:v>36720</c:v>
                </c:pt>
                <c:pt idx="1185">
                  <c:v>36721</c:v>
                </c:pt>
                <c:pt idx="1186">
                  <c:v>36724</c:v>
                </c:pt>
                <c:pt idx="1187">
                  <c:v>36725</c:v>
                </c:pt>
                <c:pt idx="1188">
                  <c:v>36726</c:v>
                </c:pt>
                <c:pt idx="1189">
                  <c:v>36727</c:v>
                </c:pt>
                <c:pt idx="1190">
                  <c:v>36728</c:v>
                </c:pt>
                <c:pt idx="1191">
                  <c:v>36731</c:v>
                </c:pt>
                <c:pt idx="1192">
                  <c:v>36732</c:v>
                </c:pt>
                <c:pt idx="1193">
                  <c:v>36733</c:v>
                </c:pt>
                <c:pt idx="1194">
                  <c:v>36734</c:v>
                </c:pt>
                <c:pt idx="1195">
                  <c:v>36735</c:v>
                </c:pt>
                <c:pt idx="1196">
                  <c:v>36738</c:v>
                </c:pt>
                <c:pt idx="1197">
                  <c:v>36739</c:v>
                </c:pt>
                <c:pt idx="1198">
                  <c:v>36740</c:v>
                </c:pt>
                <c:pt idx="1199">
                  <c:v>36741</c:v>
                </c:pt>
                <c:pt idx="1200">
                  <c:v>36742</c:v>
                </c:pt>
                <c:pt idx="1201">
                  <c:v>36745</c:v>
                </c:pt>
                <c:pt idx="1202">
                  <c:v>36746</c:v>
                </c:pt>
                <c:pt idx="1203">
                  <c:v>36747</c:v>
                </c:pt>
                <c:pt idx="1204">
                  <c:v>36748</c:v>
                </c:pt>
                <c:pt idx="1205">
                  <c:v>36749</c:v>
                </c:pt>
                <c:pt idx="1206">
                  <c:v>36752</c:v>
                </c:pt>
                <c:pt idx="1207">
                  <c:v>36753</c:v>
                </c:pt>
                <c:pt idx="1208">
                  <c:v>36754</c:v>
                </c:pt>
                <c:pt idx="1209">
                  <c:v>36755</c:v>
                </c:pt>
                <c:pt idx="1210">
                  <c:v>36756</c:v>
                </c:pt>
                <c:pt idx="1211">
                  <c:v>36759</c:v>
                </c:pt>
                <c:pt idx="1212">
                  <c:v>36760</c:v>
                </c:pt>
                <c:pt idx="1213">
                  <c:v>36761</c:v>
                </c:pt>
                <c:pt idx="1214">
                  <c:v>36762</c:v>
                </c:pt>
                <c:pt idx="1215">
                  <c:v>36763</c:v>
                </c:pt>
                <c:pt idx="1216">
                  <c:v>36766</c:v>
                </c:pt>
                <c:pt idx="1217">
                  <c:v>36767</c:v>
                </c:pt>
                <c:pt idx="1218">
                  <c:v>36768</c:v>
                </c:pt>
                <c:pt idx="1219">
                  <c:v>36769</c:v>
                </c:pt>
                <c:pt idx="1220">
                  <c:v>36770</c:v>
                </c:pt>
                <c:pt idx="1221">
                  <c:v>36773</c:v>
                </c:pt>
                <c:pt idx="1222">
                  <c:v>36774</c:v>
                </c:pt>
                <c:pt idx="1223">
                  <c:v>36775</c:v>
                </c:pt>
                <c:pt idx="1224">
                  <c:v>36776</c:v>
                </c:pt>
                <c:pt idx="1225">
                  <c:v>36777</c:v>
                </c:pt>
                <c:pt idx="1226">
                  <c:v>36780</c:v>
                </c:pt>
                <c:pt idx="1227">
                  <c:v>36781</c:v>
                </c:pt>
                <c:pt idx="1228">
                  <c:v>36782</c:v>
                </c:pt>
                <c:pt idx="1229">
                  <c:v>36783</c:v>
                </c:pt>
                <c:pt idx="1230">
                  <c:v>36784</c:v>
                </c:pt>
                <c:pt idx="1231">
                  <c:v>36787</c:v>
                </c:pt>
                <c:pt idx="1232">
                  <c:v>36788</c:v>
                </c:pt>
                <c:pt idx="1233">
                  <c:v>36789</c:v>
                </c:pt>
                <c:pt idx="1234">
                  <c:v>36790</c:v>
                </c:pt>
                <c:pt idx="1235">
                  <c:v>36791</c:v>
                </c:pt>
                <c:pt idx="1236">
                  <c:v>36794</c:v>
                </c:pt>
                <c:pt idx="1237">
                  <c:v>36795</c:v>
                </c:pt>
                <c:pt idx="1238">
                  <c:v>36796</c:v>
                </c:pt>
                <c:pt idx="1239">
                  <c:v>36797</c:v>
                </c:pt>
                <c:pt idx="1240">
                  <c:v>36798</c:v>
                </c:pt>
                <c:pt idx="1241">
                  <c:v>36801</c:v>
                </c:pt>
                <c:pt idx="1242">
                  <c:v>36802</c:v>
                </c:pt>
                <c:pt idx="1243">
                  <c:v>36803</c:v>
                </c:pt>
                <c:pt idx="1244">
                  <c:v>36804</c:v>
                </c:pt>
                <c:pt idx="1245">
                  <c:v>36805</c:v>
                </c:pt>
                <c:pt idx="1246">
                  <c:v>36808</c:v>
                </c:pt>
                <c:pt idx="1247">
                  <c:v>36809</c:v>
                </c:pt>
                <c:pt idx="1248">
                  <c:v>36810</c:v>
                </c:pt>
                <c:pt idx="1249">
                  <c:v>36811</c:v>
                </c:pt>
                <c:pt idx="1250">
                  <c:v>36812</c:v>
                </c:pt>
                <c:pt idx="1251">
                  <c:v>36815</c:v>
                </c:pt>
                <c:pt idx="1252">
                  <c:v>36816</c:v>
                </c:pt>
                <c:pt idx="1253">
                  <c:v>36817</c:v>
                </c:pt>
                <c:pt idx="1254">
                  <c:v>36818</c:v>
                </c:pt>
                <c:pt idx="1255">
                  <c:v>36819</c:v>
                </c:pt>
                <c:pt idx="1256">
                  <c:v>36822</c:v>
                </c:pt>
                <c:pt idx="1257">
                  <c:v>36823</c:v>
                </c:pt>
                <c:pt idx="1258">
                  <c:v>36824</c:v>
                </c:pt>
                <c:pt idx="1259">
                  <c:v>36825</c:v>
                </c:pt>
                <c:pt idx="1260">
                  <c:v>36826</c:v>
                </c:pt>
                <c:pt idx="1261">
                  <c:v>36829</c:v>
                </c:pt>
                <c:pt idx="1262">
                  <c:v>36830</c:v>
                </c:pt>
                <c:pt idx="1263">
                  <c:v>36831</c:v>
                </c:pt>
                <c:pt idx="1264">
                  <c:v>36832</c:v>
                </c:pt>
                <c:pt idx="1265">
                  <c:v>36833</c:v>
                </c:pt>
                <c:pt idx="1266">
                  <c:v>36836</c:v>
                </c:pt>
                <c:pt idx="1267">
                  <c:v>36837</c:v>
                </c:pt>
                <c:pt idx="1268">
                  <c:v>36838</c:v>
                </c:pt>
                <c:pt idx="1269">
                  <c:v>36839</c:v>
                </c:pt>
                <c:pt idx="1270">
                  <c:v>36840</c:v>
                </c:pt>
                <c:pt idx="1271">
                  <c:v>36843</c:v>
                </c:pt>
                <c:pt idx="1272">
                  <c:v>36844</c:v>
                </c:pt>
                <c:pt idx="1273">
                  <c:v>36845</c:v>
                </c:pt>
                <c:pt idx="1274">
                  <c:v>36846</c:v>
                </c:pt>
                <c:pt idx="1275">
                  <c:v>36847</c:v>
                </c:pt>
                <c:pt idx="1276">
                  <c:v>36850</c:v>
                </c:pt>
                <c:pt idx="1277">
                  <c:v>36851</c:v>
                </c:pt>
                <c:pt idx="1278">
                  <c:v>36852</c:v>
                </c:pt>
                <c:pt idx="1279">
                  <c:v>36853</c:v>
                </c:pt>
                <c:pt idx="1280">
                  <c:v>36854</c:v>
                </c:pt>
                <c:pt idx="1281">
                  <c:v>36857</c:v>
                </c:pt>
                <c:pt idx="1282">
                  <c:v>36858</c:v>
                </c:pt>
                <c:pt idx="1283">
                  <c:v>36859</c:v>
                </c:pt>
                <c:pt idx="1284">
                  <c:v>36860</c:v>
                </c:pt>
                <c:pt idx="1285">
                  <c:v>36861</c:v>
                </c:pt>
                <c:pt idx="1286">
                  <c:v>36864</c:v>
                </c:pt>
                <c:pt idx="1287">
                  <c:v>36865</c:v>
                </c:pt>
                <c:pt idx="1288">
                  <c:v>36866</c:v>
                </c:pt>
                <c:pt idx="1289">
                  <c:v>36867</c:v>
                </c:pt>
                <c:pt idx="1290">
                  <c:v>36868</c:v>
                </c:pt>
                <c:pt idx="1291">
                  <c:v>36871</c:v>
                </c:pt>
                <c:pt idx="1292">
                  <c:v>36872</c:v>
                </c:pt>
                <c:pt idx="1293">
                  <c:v>36873</c:v>
                </c:pt>
                <c:pt idx="1294">
                  <c:v>36874</c:v>
                </c:pt>
                <c:pt idx="1295">
                  <c:v>36875</c:v>
                </c:pt>
                <c:pt idx="1296">
                  <c:v>36878</c:v>
                </c:pt>
                <c:pt idx="1297">
                  <c:v>36879</c:v>
                </c:pt>
                <c:pt idx="1298">
                  <c:v>36880</c:v>
                </c:pt>
                <c:pt idx="1299">
                  <c:v>36881</c:v>
                </c:pt>
                <c:pt idx="1300">
                  <c:v>36882</c:v>
                </c:pt>
                <c:pt idx="1301">
                  <c:v>36885</c:v>
                </c:pt>
                <c:pt idx="1302">
                  <c:v>36886</c:v>
                </c:pt>
                <c:pt idx="1303">
                  <c:v>36887</c:v>
                </c:pt>
                <c:pt idx="1304">
                  <c:v>36888</c:v>
                </c:pt>
                <c:pt idx="1305">
                  <c:v>36889</c:v>
                </c:pt>
                <c:pt idx="1306">
                  <c:v>36892</c:v>
                </c:pt>
                <c:pt idx="1307">
                  <c:v>36893</c:v>
                </c:pt>
                <c:pt idx="1308">
                  <c:v>36894</c:v>
                </c:pt>
                <c:pt idx="1309">
                  <c:v>36895</c:v>
                </c:pt>
                <c:pt idx="1310">
                  <c:v>36896</c:v>
                </c:pt>
                <c:pt idx="1311">
                  <c:v>36899</c:v>
                </c:pt>
                <c:pt idx="1312">
                  <c:v>36900</c:v>
                </c:pt>
                <c:pt idx="1313">
                  <c:v>36901</c:v>
                </c:pt>
                <c:pt idx="1314">
                  <c:v>36902</c:v>
                </c:pt>
                <c:pt idx="1315">
                  <c:v>36903</c:v>
                </c:pt>
                <c:pt idx="1316">
                  <c:v>36906</c:v>
                </c:pt>
                <c:pt idx="1317">
                  <c:v>36907</c:v>
                </c:pt>
                <c:pt idx="1318">
                  <c:v>36908</c:v>
                </c:pt>
                <c:pt idx="1319">
                  <c:v>36909</c:v>
                </c:pt>
                <c:pt idx="1320">
                  <c:v>36910</c:v>
                </c:pt>
                <c:pt idx="1321">
                  <c:v>36913</c:v>
                </c:pt>
                <c:pt idx="1322">
                  <c:v>36914</c:v>
                </c:pt>
                <c:pt idx="1323">
                  <c:v>36915</c:v>
                </c:pt>
                <c:pt idx="1324">
                  <c:v>36916</c:v>
                </c:pt>
                <c:pt idx="1325">
                  <c:v>36917</c:v>
                </c:pt>
                <c:pt idx="1326">
                  <c:v>36920</c:v>
                </c:pt>
                <c:pt idx="1327">
                  <c:v>36921</c:v>
                </c:pt>
                <c:pt idx="1328">
                  <c:v>36922</c:v>
                </c:pt>
                <c:pt idx="1329">
                  <c:v>36923</c:v>
                </c:pt>
                <c:pt idx="1330">
                  <c:v>36924</c:v>
                </c:pt>
                <c:pt idx="1331">
                  <c:v>36927</c:v>
                </c:pt>
                <c:pt idx="1332">
                  <c:v>36928</c:v>
                </c:pt>
                <c:pt idx="1333">
                  <c:v>36929</c:v>
                </c:pt>
                <c:pt idx="1334">
                  <c:v>36930</c:v>
                </c:pt>
                <c:pt idx="1335">
                  <c:v>36931</c:v>
                </c:pt>
                <c:pt idx="1336">
                  <c:v>36934</c:v>
                </c:pt>
                <c:pt idx="1337">
                  <c:v>36935</c:v>
                </c:pt>
                <c:pt idx="1338">
                  <c:v>36936</c:v>
                </c:pt>
                <c:pt idx="1339">
                  <c:v>36937</c:v>
                </c:pt>
                <c:pt idx="1340">
                  <c:v>36938</c:v>
                </c:pt>
                <c:pt idx="1341">
                  <c:v>36941</c:v>
                </c:pt>
                <c:pt idx="1342">
                  <c:v>36942</c:v>
                </c:pt>
                <c:pt idx="1343">
                  <c:v>36943</c:v>
                </c:pt>
                <c:pt idx="1344">
                  <c:v>36944</c:v>
                </c:pt>
                <c:pt idx="1345">
                  <c:v>36945</c:v>
                </c:pt>
                <c:pt idx="1346">
                  <c:v>36948</c:v>
                </c:pt>
                <c:pt idx="1347">
                  <c:v>36949</c:v>
                </c:pt>
                <c:pt idx="1348">
                  <c:v>36950</c:v>
                </c:pt>
                <c:pt idx="1349">
                  <c:v>36951</c:v>
                </c:pt>
                <c:pt idx="1350">
                  <c:v>36952</c:v>
                </c:pt>
                <c:pt idx="1351">
                  <c:v>36955</c:v>
                </c:pt>
                <c:pt idx="1352">
                  <c:v>36956</c:v>
                </c:pt>
                <c:pt idx="1353">
                  <c:v>36957</c:v>
                </c:pt>
                <c:pt idx="1354">
                  <c:v>36958</c:v>
                </c:pt>
                <c:pt idx="1355">
                  <c:v>36959</c:v>
                </c:pt>
                <c:pt idx="1356">
                  <c:v>36962</c:v>
                </c:pt>
                <c:pt idx="1357">
                  <c:v>36963</c:v>
                </c:pt>
                <c:pt idx="1358">
                  <c:v>36964</c:v>
                </c:pt>
                <c:pt idx="1359">
                  <c:v>36965</c:v>
                </c:pt>
                <c:pt idx="1360">
                  <c:v>36966</c:v>
                </c:pt>
                <c:pt idx="1361">
                  <c:v>36969</c:v>
                </c:pt>
                <c:pt idx="1362">
                  <c:v>36970</c:v>
                </c:pt>
                <c:pt idx="1363">
                  <c:v>36971</c:v>
                </c:pt>
                <c:pt idx="1364">
                  <c:v>36972</c:v>
                </c:pt>
                <c:pt idx="1365">
                  <c:v>36973</c:v>
                </c:pt>
                <c:pt idx="1366">
                  <c:v>36976</c:v>
                </c:pt>
                <c:pt idx="1367">
                  <c:v>36977</c:v>
                </c:pt>
                <c:pt idx="1368">
                  <c:v>36978</c:v>
                </c:pt>
                <c:pt idx="1369">
                  <c:v>36979</c:v>
                </c:pt>
                <c:pt idx="1370">
                  <c:v>36980</c:v>
                </c:pt>
                <c:pt idx="1371">
                  <c:v>36983</c:v>
                </c:pt>
                <c:pt idx="1372">
                  <c:v>36984</c:v>
                </c:pt>
                <c:pt idx="1373">
                  <c:v>36985</c:v>
                </c:pt>
                <c:pt idx="1374">
                  <c:v>36986</c:v>
                </c:pt>
                <c:pt idx="1375">
                  <c:v>36987</c:v>
                </c:pt>
                <c:pt idx="1376">
                  <c:v>36990</c:v>
                </c:pt>
                <c:pt idx="1377">
                  <c:v>36991</c:v>
                </c:pt>
                <c:pt idx="1378">
                  <c:v>36992</c:v>
                </c:pt>
                <c:pt idx="1379">
                  <c:v>36993</c:v>
                </c:pt>
                <c:pt idx="1380">
                  <c:v>36994</c:v>
                </c:pt>
                <c:pt idx="1381">
                  <c:v>36997</c:v>
                </c:pt>
                <c:pt idx="1382">
                  <c:v>36998</c:v>
                </c:pt>
                <c:pt idx="1383">
                  <c:v>36999</c:v>
                </c:pt>
                <c:pt idx="1384">
                  <c:v>37000</c:v>
                </c:pt>
                <c:pt idx="1385">
                  <c:v>37001</c:v>
                </c:pt>
                <c:pt idx="1386">
                  <c:v>37004</c:v>
                </c:pt>
                <c:pt idx="1387">
                  <c:v>37005</c:v>
                </c:pt>
                <c:pt idx="1388">
                  <c:v>37006</c:v>
                </c:pt>
                <c:pt idx="1389">
                  <c:v>37007</c:v>
                </c:pt>
                <c:pt idx="1390">
                  <c:v>37008</c:v>
                </c:pt>
                <c:pt idx="1391">
                  <c:v>37011</c:v>
                </c:pt>
                <c:pt idx="1392">
                  <c:v>37012</c:v>
                </c:pt>
                <c:pt idx="1393">
                  <c:v>37013</c:v>
                </c:pt>
                <c:pt idx="1394">
                  <c:v>37014</c:v>
                </c:pt>
                <c:pt idx="1395">
                  <c:v>37015</c:v>
                </c:pt>
                <c:pt idx="1396">
                  <c:v>37018</c:v>
                </c:pt>
                <c:pt idx="1397">
                  <c:v>37019</c:v>
                </c:pt>
                <c:pt idx="1398">
                  <c:v>37020</c:v>
                </c:pt>
                <c:pt idx="1399">
                  <c:v>37021</c:v>
                </c:pt>
                <c:pt idx="1400">
                  <c:v>37022</c:v>
                </c:pt>
                <c:pt idx="1401">
                  <c:v>37025</c:v>
                </c:pt>
                <c:pt idx="1402">
                  <c:v>37026</c:v>
                </c:pt>
                <c:pt idx="1403">
                  <c:v>37027</c:v>
                </c:pt>
                <c:pt idx="1404">
                  <c:v>37028</c:v>
                </c:pt>
                <c:pt idx="1405">
                  <c:v>37029</c:v>
                </c:pt>
                <c:pt idx="1406">
                  <c:v>37032</c:v>
                </c:pt>
                <c:pt idx="1407">
                  <c:v>37033</c:v>
                </c:pt>
                <c:pt idx="1408">
                  <c:v>37034</c:v>
                </c:pt>
                <c:pt idx="1409">
                  <c:v>37035</c:v>
                </c:pt>
                <c:pt idx="1410">
                  <c:v>37036</c:v>
                </c:pt>
                <c:pt idx="1411">
                  <c:v>37039</c:v>
                </c:pt>
                <c:pt idx="1412">
                  <c:v>37040</c:v>
                </c:pt>
                <c:pt idx="1413">
                  <c:v>37041</c:v>
                </c:pt>
                <c:pt idx="1414">
                  <c:v>37042</c:v>
                </c:pt>
                <c:pt idx="1415">
                  <c:v>37043</c:v>
                </c:pt>
                <c:pt idx="1416">
                  <c:v>37046</c:v>
                </c:pt>
                <c:pt idx="1417">
                  <c:v>37047</c:v>
                </c:pt>
                <c:pt idx="1418">
                  <c:v>37048</c:v>
                </c:pt>
                <c:pt idx="1419">
                  <c:v>37049</c:v>
                </c:pt>
                <c:pt idx="1420">
                  <c:v>37050</c:v>
                </c:pt>
                <c:pt idx="1421">
                  <c:v>37053</c:v>
                </c:pt>
                <c:pt idx="1422">
                  <c:v>37054</c:v>
                </c:pt>
                <c:pt idx="1423">
                  <c:v>37055</c:v>
                </c:pt>
                <c:pt idx="1424">
                  <c:v>37056</c:v>
                </c:pt>
                <c:pt idx="1425">
                  <c:v>37057</c:v>
                </c:pt>
                <c:pt idx="1426">
                  <c:v>37060</c:v>
                </c:pt>
                <c:pt idx="1427">
                  <c:v>37061</c:v>
                </c:pt>
                <c:pt idx="1428">
                  <c:v>37062</c:v>
                </c:pt>
                <c:pt idx="1429">
                  <c:v>37063</c:v>
                </c:pt>
                <c:pt idx="1430">
                  <c:v>37064</c:v>
                </c:pt>
                <c:pt idx="1431">
                  <c:v>37067</c:v>
                </c:pt>
                <c:pt idx="1432">
                  <c:v>37068</c:v>
                </c:pt>
                <c:pt idx="1433">
                  <c:v>37069</c:v>
                </c:pt>
                <c:pt idx="1434">
                  <c:v>37070</c:v>
                </c:pt>
                <c:pt idx="1435">
                  <c:v>37071</c:v>
                </c:pt>
                <c:pt idx="1436">
                  <c:v>37074</c:v>
                </c:pt>
                <c:pt idx="1437">
                  <c:v>37075</c:v>
                </c:pt>
                <c:pt idx="1438">
                  <c:v>37076</c:v>
                </c:pt>
                <c:pt idx="1439">
                  <c:v>37077</c:v>
                </c:pt>
                <c:pt idx="1440">
                  <c:v>37078</c:v>
                </c:pt>
                <c:pt idx="1441">
                  <c:v>37081</c:v>
                </c:pt>
                <c:pt idx="1442">
                  <c:v>37082</c:v>
                </c:pt>
                <c:pt idx="1443">
                  <c:v>37083</c:v>
                </c:pt>
                <c:pt idx="1444">
                  <c:v>37084</c:v>
                </c:pt>
                <c:pt idx="1445">
                  <c:v>37085</c:v>
                </c:pt>
                <c:pt idx="1446">
                  <c:v>37088</c:v>
                </c:pt>
                <c:pt idx="1447">
                  <c:v>37089</c:v>
                </c:pt>
                <c:pt idx="1448">
                  <c:v>37090</c:v>
                </c:pt>
                <c:pt idx="1449">
                  <c:v>37091</c:v>
                </c:pt>
                <c:pt idx="1450">
                  <c:v>37092</c:v>
                </c:pt>
                <c:pt idx="1451">
                  <c:v>37095</c:v>
                </c:pt>
                <c:pt idx="1452">
                  <c:v>37096</c:v>
                </c:pt>
                <c:pt idx="1453">
                  <c:v>37097</c:v>
                </c:pt>
                <c:pt idx="1454">
                  <c:v>37098</c:v>
                </c:pt>
                <c:pt idx="1455">
                  <c:v>37099</c:v>
                </c:pt>
                <c:pt idx="1456">
                  <c:v>37102</c:v>
                </c:pt>
                <c:pt idx="1457">
                  <c:v>37103</c:v>
                </c:pt>
                <c:pt idx="1458">
                  <c:v>37104</c:v>
                </c:pt>
                <c:pt idx="1459">
                  <c:v>37105</c:v>
                </c:pt>
                <c:pt idx="1460">
                  <c:v>37106</c:v>
                </c:pt>
                <c:pt idx="1461">
                  <c:v>37109</c:v>
                </c:pt>
                <c:pt idx="1462">
                  <c:v>37110</c:v>
                </c:pt>
                <c:pt idx="1463">
                  <c:v>37111</c:v>
                </c:pt>
                <c:pt idx="1464">
                  <c:v>37112</c:v>
                </c:pt>
                <c:pt idx="1465">
                  <c:v>37113</c:v>
                </c:pt>
                <c:pt idx="1466">
                  <c:v>37116</c:v>
                </c:pt>
                <c:pt idx="1467">
                  <c:v>37117</c:v>
                </c:pt>
                <c:pt idx="1468">
                  <c:v>37118</c:v>
                </c:pt>
                <c:pt idx="1469">
                  <c:v>37119</c:v>
                </c:pt>
                <c:pt idx="1470">
                  <c:v>37120</c:v>
                </c:pt>
                <c:pt idx="1471">
                  <c:v>37123</c:v>
                </c:pt>
                <c:pt idx="1472">
                  <c:v>37124</c:v>
                </c:pt>
                <c:pt idx="1473">
                  <c:v>37125</c:v>
                </c:pt>
                <c:pt idx="1474">
                  <c:v>37126</c:v>
                </c:pt>
                <c:pt idx="1475">
                  <c:v>37127</c:v>
                </c:pt>
                <c:pt idx="1476">
                  <c:v>37130</c:v>
                </c:pt>
                <c:pt idx="1477">
                  <c:v>37131</c:v>
                </c:pt>
                <c:pt idx="1478">
                  <c:v>37132</c:v>
                </c:pt>
                <c:pt idx="1479">
                  <c:v>37133</c:v>
                </c:pt>
                <c:pt idx="1480">
                  <c:v>37134</c:v>
                </c:pt>
                <c:pt idx="1481">
                  <c:v>37137</c:v>
                </c:pt>
                <c:pt idx="1482">
                  <c:v>37138</c:v>
                </c:pt>
                <c:pt idx="1483">
                  <c:v>37139</c:v>
                </c:pt>
                <c:pt idx="1484">
                  <c:v>37140</c:v>
                </c:pt>
                <c:pt idx="1485">
                  <c:v>37141</c:v>
                </c:pt>
                <c:pt idx="1486">
                  <c:v>37144</c:v>
                </c:pt>
                <c:pt idx="1487">
                  <c:v>37145</c:v>
                </c:pt>
                <c:pt idx="1488">
                  <c:v>37146</c:v>
                </c:pt>
                <c:pt idx="1489">
                  <c:v>37147</c:v>
                </c:pt>
                <c:pt idx="1490">
                  <c:v>37148</c:v>
                </c:pt>
                <c:pt idx="1491">
                  <c:v>37151</c:v>
                </c:pt>
                <c:pt idx="1492">
                  <c:v>37152</c:v>
                </c:pt>
                <c:pt idx="1493">
                  <c:v>37153</c:v>
                </c:pt>
                <c:pt idx="1494">
                  <c:v>37154</c:v>
                </c:pt>
                <c:pt idx="1495">
                  <c:v>37155</c:v>
                </c:pt>
                <c:pt idx="1496">
                  <c:v>37158</c:v>
                </c:pt>
                <c:pt idx="1497">
                  <c:v>37159</c:v>
                </c:pt>
                <c:pt idx="1498">
                  <c:v>37160</c:v>
                </c:pt>
                <c:pt idx="1499">
                  <c:v>37161</c:v>
                </c:pt>
                <c:pt idx="1500">
                  <c:v>37162</c:v>
                </c:pt>
                <c:pt idx="1501">
                  <c:v>37165</c:v>
                </c:pt>
                <c:pt idx="1502">
                  <c:v>37166</c:v>
                </c:pt>
                <c:pt idx="1503">
                  <c:v>37167</c:v>
                </c:pt>
                <c:pt idx="1504">
                  <c:v>37168</c:v>
                </c:pt>
                <c:pt idx="1505">
                  <c:v>37169</c:v>
                </c:pt>
                <c:pt idx="1506">
                  <c:v>37172</c:v>
                </c:pt>
                <c:pt idx="1507">
                  <c:v>37173</c:v>
                </c:pt>
                <c:pt idx="1508">
                  <c:v>37174</c:v>
                </c:pt>
                <c:pt idx="1509">
                  <c:v>37175</c:v>
                </c:pt>
                <c:pt idx="1510">
                  <c:v>37176</c:v>
                </c:pt>
                <c:pt idx="1511">
                  <c:v>37179</c:v>
                </c:pt>
                <c:pt idx="1512">
                  <c:v>37180</c:v>
                </c:pt>
                <c:pt idx="1513">
                  <c:v>37181</c:v>
                </c:pt>
                <c:pt idx="1514">
                  <c:v>37182</c:v>
                </c:pt>
                <c:pt idx="1515">
                  <c:v>37183</c:v>
                </c:pt>
                <c:pt idx="1516">
                  <c:v>37186</c:v>
                </c:pt>
                <c:pt idx="1517">
                  <c:v>37187</c:v>
                </c:pt>
                <c:pt idx="1518">
                  <c:v>37188</c:v>
                </c:pt>
                <c:pt idx="1519">
                  <c:v>37189</c:v>
                </c:pt>
                <c:pt idx="1520">
                  <c:v>37190</c:v>
                </c:pt>
                <c:pt idx="1521">
                  <c:v>37193</c:v>
                </c:pt>
                <c:pt idx="1522">
                  <c:v>37194</c:v>
                </c:pt>
                <c:pt idx="1523">
                  <c:v>37195</c:v>
                </c:pt>
                <c:pt idx="1524">
                  <c:v>37196</c:v>
                </c:pt>
                <c:pt idx="1525">
                  <c:v>37197</c:v>
                </c:pt>
                <c:pt idx="1526">
                  <c:v>37200</c:v>
                </c:pt>
                <c:pt idx="1527">
                  <c:v>37201</c:v>
                </c:pt>
                <c:pt idx="1528">
                  <c:v>37202</c:v>
                </c:pt>
                <c:pt idx="1529">
                  <c:v>37203</c:v>
                </c:pt>
                <c:pt idx="1530">
                  <c:v>37204</c:v>
                </c:pt>
                <c:pt idx="1531">
                  <c:v>37207</c:v>
                </c:pt>
                <c:pt idx="1532">
                  <c:v>37208</c:v>
                </c:pt>
                <c:pt idx="1533">
                  <c:v>37209</c:v>
                </c:pt>
                <c:pt idx="1534">
                  <c:v>37210</c:v>
                </c:pt>
                <c:pt idx="1535">
                  <c:v>37211</c:v>
                </c:pt>
                <c:pt idx="1536">
                  <c:v>37214</c:v>
                </c:pt>
                <c:pt idx="1537">
                  <c:v>37215</c:v>
                </c:pt>
                <c:pt idx="1538">
                  <c:v>37216</c:v>
                </c:pt>
                <c:pt idx="1539">
                  <c:v>37217</c:v>
                </c:pt>
                <c:pt idx="1540">
                  <c:v>37218</c:v>
                </c:pt>
                <c:pt idx="1541">
                  <c:v>37221</c:v>
                </c:pt>
                <c:pt idx="1542">
                  <c:v>37222</c:v>
                </c:pt>
                <c:pt idx="1543">
                  <c:v>37223</c:v>
                </c:pt>
                <c:pt idx="1544">
                  <c:v>37224</c:v>
                </c:pt>
                <c:pt idx="1545">
                  <c:v>37225</c:v>
                </c:pt>
                <c:pt idx="1546">
                  <c:v>37228</c:v>
                </c:pt>
                <c:pt idx="1547">
                  <c:v>37229</c:v>
                </c:pt>
                <c:pt idx="1548">
                  <c:v>37230</c:v>
                </c:pt>
                <c:pt idx="1549">
                  <c:v>37231</c:v>
                </c:pt>
                <c:pt idx="1550">
                  <c:v>37232</c:v>
                </c:pt>
                <c:pt idx="1551">
                  <c:v>37235</c:v>
                </c:pt>
                <c:pt idx="1552">
                  <c:v>37236</c:v>
                </c:pt>
                <c:pt idx="1553">
                  <c:v>37237</c:v>
                </c:pt>
                <c:pt idx="1554">
                  <c:v>37238</c:v>
                </c:pt>
                <c:pt idx="1555">
                  <c:v>37239</c:v>
                </c:pt>
                <c:pt idx="1556">
                  <c:v>37242</c:v>
                </c:pt>
                <c:pt idx="1557">
                  <c:v>37243</c:v>
                </c:pt>
                <c:pt idx="1558">
                  <c:v>37244</c:v>
                </c:pt>
                <c:pt idx="1559">
                  <c:v>37245</c:v>
                </c:pt>
                <c:pt idx="1560">
                  <c:v>37246</c:v>
                </c:pt>
                <c:pt idx="1561">
                  <c:v>37249</c:v>
                </c:pt>
                <c:pt idx="1562">
                  <c:v>37250</c:v>
                </c:pt>
                <c:pt idx="1563">
                  <c:v>37251</c:v>
                </c:pt>
                <c:pt idx="1564">
                  <c:v>37252</c:v>
                </c:pt>
                <c:pt idx="1565">
                  <c:v>37253</c:v>
                </c:pt>
                <c:pt idx="1566">
                  <c:v>37256</c:v>
                </c:pt>
                <c:pt idx="1567">
                  <c:v>37257</c:v>
                </c:pt>
                <c:pt idx="1568">
                  <c:v>37258</c:v>
                </c:pt>
                <c:pt idx="1569">
                  <c:v>37259</c:v>
                </c:pt>
                <c:pt idx="1570">
                  <c:v>37260</c:v>
                </c:pt>
                <c:pt idx="1571">
                  <c:v>37263</c:v>
                </c:pt>
                <c:pt idx="1572">
                  <c:v>37264</c:v>
                </c:pt>
                <c:pt idx="1573">
                  <c:v>37265</c:v>
                </c:pt>
                <c:pt idx="1574">
                  <c:v>37266</c:v>
                </c:pt>
                <c:pt idx="1575">
                  <c:v>37267</c:v>
                </c:pt>
                <c:pt idx="1576">
                  <c:v>37270</c:v>
                </c:pt>
                <c:pt idx="1577">
                  <c:v>37271</c:v>
                </c:pt>
                <c:pt idx="1578">
                  <c:v>37272</c:v>
                </c:pt>
                <c:pt idx="1579">
                  <c:v>37273</c:v>
                </c:pt>
                <c:pt idx="1580">
                  <c:v>37274</c:v>
                </c:pt>
                <c:pt idx="1581">
                  <c:v>37277</c:v>
                </c:pt>
                <c:pt idx="1582">
                  <c:v>37278</c:v>
                </c:pt>
                <c:pt idx="1583">
                  <c:v>37279</c:v>
                </c:pt>
                <c:pt idx="1584">
                  <c:v>37280</c:v>
                </c:pt>
                <c:pt idx="1585">
                  <c:v>37281</c:v>
                </c:pt>
                <c:pt idx="1586">
                  <c:v>37284</c:v>
                </c:pt>
                <c:pt idx="1587">
                  <c:v>37285</c:v>
                </c:pt>
                <c:pt idx="1588">
                  <c:v>37286</c:v>
                </c:pt>
                <c:pt idx="1589">
                  <c:v>37287</c:v>
                </c:pt>
                <c:pt idx="1590">
                  <c:v>37288</c:v>
                </c:pt>
                <c:pt idx="1591">
                  <c:v>37291</c:v>
                </c:pt>
                <c:pt idx="1592">
                  <c:v>37292</c:v>
                </c:pt>
                <c:pt idx="1593">
                  <c:v>37293</c:v>
                </c:pt>
                <c:pt idx="1594">
                  <c:v>37294</c:v>
                </c:pt>
                <c:pt idx="1595">
                  <c:v>37295</c:v>
                </c:pt>
                <c:pt idx="1596">
                  <c:v>37298</c:v>
                </c:pt>
                <c:pt idx="1597">
                  <c:v>37299</c:v>
                </c:pt>
                <c:pt idx="1598">
                  <c:v>37300</c:v>
                </c:pt>
                <c:pt idx="1599">
                  <c:v>37301</c:v>
                </c:pt>
                <c:pt idx="1600">
                  <c:v>37302</c:v>
                </c:pt>
                <c:pt idx="1601">
                  <c:v>37305</c:v>
                </c:pt>
                <c:pt idx="1602">
                  <c:v>37306</c:v>
                </c:pt>
                <c:pt idx="1603">
                  <c:v>37307</c:v>
                </c:pt>
                <c:pt idx="1604">
                  <c:v>37308</c:v>
                </c:pt>
                <c:pt idx="1605">
                  <c:v>37309</c:v>
                </c:pt>
                <c:pt idx="1606">
                  <c:v>37312</c:v>
                </c:pt>
                <c:pt idx="1607">
                  <c:v>37313</c:v>
                </c:pt>
                <c:pt idx="1608">
                  <c:v>37314</c:v>
                </c:pt>
                <c:pt idx="1609">
                  <c:v>37315</c:v>
                </c:pt>
                <c:pt idx="1610">
                  <c:v>37316</c:v>
                </c:pt>
                <c:pt idx="1611">
                  <c:v>37319</c:v>
                </c:pt>
                <c:pt idx="1612">
                  <c:v>37320</c:v>
                </c:pt>
                <c:pt idx="1613">
                  <c:v>37321</c:v>
                </c:pt>
                <c:pt idx="1614">
                  <c:v>37322</c:v>
                </c:pt>
                <c:pt idx="1615">
                  <c:v>37323</c:v>
                </c:pt>
                <c:pt idx="1616">
                  <c:v>37326</c:v>
                </c:pt>
                <c:pt idx="1617">
                  <c:v>37327</c:v>
                </c:pt>
                <c:pt idx="1618">
                  <c:v>37328</c:v>
                </c:pt>
                <c:pt idx="1619">
                  <c:v>37329</c:v>
                </c:pt>
                <c:pt idx="1620">
                  <c:v>37330</c:v>
                </c:pt>
                <c:pt idx="1621">
                  <c:v>37333</c:v>
                </c:pt>
                <c:pt idx="1622">
                  <c:v>37334</c:v>
                </c:pt>
                <c:pt idx="1623">
                  <c:v>37335</c:v>
                </c:pt>
                <c:pt idx="1624">
                  <c:v>37336</c:v>
                </c:pt>
                <c:pt idx="1625">
                  <c:v>37337</c:v>
                </c:pt>
                <c:pt idx="1626">
                  <c:v>37340</c:v>
                </c:pt>
                <c:pt idx="1627">
                  <c:v>37341</c:v>
                </c:pt>
                <c:pt idx="1628">
                  <c:v>37342</c:v>
                </c:pt>
                <c:pt idx="1629">
                  <c:v>37343</c:v>
                </c:pt>
                <c:pt idx="1630">
                  <c:v>37344</c:v>
                </c:pt>
                <c:pt idx="1631">
                  <c:v>37347</c:v>
                </c:pt>
                <c:pt idx="1632">
                  <c:v>37348</c:v>
                </c:pt>
                <c:pt idx="1633">
                  <c:v>37349</c:v>
                </c:pt>
                <c:pt idx="1634">
                  <c:v>37350</c:v>
                </c:pt>
                <c:pt idx="1635">
                  <c:v>37351</c:v>
                </c:pt>
                <c:pt idx="1636">
                  <c:v>37354</c:v>
                </c:pt>
                <c:pt idx="1637">
                  <c:v>37355</c:v>
                </c:pt>
                <c:pt idx="1638">
                  <c:v>37356</c:v>
                </c:pt>
                <c:pt idx="1639">
                  <c:v>37357</c:v>
                </c:pt>
                <c:pt idx="1640">
                  <c:v>37358</c:v>
                </c:pt>
                <c:pt idx="1641">
                  <c:v>37361</c:v>
                </c:pt>
                <c:pt idx="1642">
                  <c:v>37362</c:v>
                </c:pt>
                <c:pt idx="1643">
                  <c:v>37363</c:v>
                </c:pt>
                <c:pt idx="1644">
                  <c:v>37364</c:v>
                </c:pt>
                <c:pt idx="1645">
                  <c:v>37365</c:v>
                </c:pt>
                <c:pt idx="1646">
                  <c:v>37368</c:v>
                </c:pt>
                <c:pt idx="1647">
                  <c:v>37369</c:v>
                </c:pt>
                <c:pt idx="1648">
                  <c:v>37370</c:v>
                </c:pt>
                <c:pt idx="1649">
                  <c:v>37371</c:v>
                </c:pt>
                <c:pt idx="1650">
                  <c:v>37372</c:v>
                </c:pt>
                <c:pt idx="1651">
                  <c:v>37375</c:v>
                </c:pt>
                <c:pt idx="1652">
                  <c:v>37376</c:v>
                </c:pt>
                <c:pt idx="1653">
                  <c:v>37377</c:v>
                </c:pt>
                <c:pt idx="1654">
                  <c:v>37378</c:v>
                </c:pt>
                <c:pt idx="1655">
                  <c:v>37379</c:v>
                </c:pt>
                <c:pt idx="1656">
                  <c:v>37382</c:v>
                </c:pt>
                <c:pt idx="1657">
                  <c:v>37383</c:v>
                </c:pt>
                <c:pt idx="1658">
                  <c:v>37384</c:v>
                </c:pt>
                <c:pt idx="1659">
                  <c:v>37385</c:v>
                </c:pt>
                <c:pt idx="1660">
                  <c:v>37386</c:v>
                </c:pt>
                <c:pt idx="1661">
                  <c:v>37389</c:v>
                </c:pt>
                <c:pt idx="1662">
                  <c:v>37390</c:v>
                </c:pt>
                <c:pt idx="1663">
                  <c:v>37391</c:v>
                </c:pt>
                <c:pt idx="1664">
                  <c:v>37392</c:v>
                </c:pt>
                <c:pt idx="1665">
                  <c:v>37393</c:v>
                </c:pt>
                <c:pt idx="1666">
                  <c:v>37396</c:v>
                </c:pt>
                <c:pt idx="1667">
                  <c:v>37397</c:v>
                </c:pt>
                <c:pt idx="1668">
                  <c:v>37398</c:v>
                </c:pt>
                <c:pt idx="1669">
                  <c:v>37399</c:v>
                </c:pt>
                <c:pt idx="1670">
                  <c:v>37400</c:v>
                </c:pt>
                <c:pt idx="1671">
                  <c:v>37403</c:v>
                </c:pt>
                <c:pt idx="1672">
                  <c:v>37404</c:v>
                </c:pt>
                <c:pt idx="1673">
                  <c:v>37405</c:v>
                </c:pt>
                <c:pt idx="1674">
                  <c:v>37406</c:v>
                </c:pt>
                <c:pt idx="1675">
                  <c:v>37407</c:v>
                </c:pt>
                <c:pt idx="1676">
                  <c:v>37410</c:v>
                </c:pt>
                <c:pt idx="1677">
                  <c:v>37411</c:v>
                </c:pt>
                <c:pt idx="1678">
                  <c:v>37412</c:v>
                </c:pt>
                <c:pt idx="1679">
                  <c:v>37413</c:v>
                </c:pt>
                <c:pt idx="1680">
                  <c:v>37414</c:v>
                </c:pt>
                <c:pt idx="1681">
                  <c:v>37417</c:v>
                </c:pt>
                <c:pt idx="1682">
                  <c:v>37418</c:v>
                </c:pt>
                <c:pt idx="1683">
                  <c:v>37419</c:v>
                </c:pt>
                <c:pt idx="1684">
                  <c:v>37420</c:v>
                </c:pt>
                <c:pt idx="1685">
                  <c:v>37421</c:v>
                </c:pt>
                <c:pt idx="1686">
                  <c:v>37424</c:v>
                </c:pt>
                <c:pt idx="1687">
                  <c:v>37425</c:v>
                </c:pt>
                <c:pt idx="1688">
                  <c:v>37426</c:v>
                </c:pt>
                <c:pt idx="1689">
                  <c:v>37427</c:v>
                </c:pt>
                <c:pt idx="1690">
                  <c:v>37428</c:v>
                </c:pt>
                <c:pt idx="1691">
                  <c:v>37431</c:v>
                </c:pt>
                <c:pt idx="1692">
                  <c:v>37432</c:v>
                </c:pt>
                <c:pt idx="1693">
                  <c:v>37433</c:v>
                </c:pt>
                <c:pt idx="1694">
                  <c:v>37434</c:v>
                </c:pt>
                <c:pt idx="1695">
                  <c:v>37435</c:v>
                </c:pt>
                <c:pt idx="1696">
                  <c:v>37438</c:v>
                </c:pt>
                <c:pt idx="1697">
                  <c:v>37439</c:v>
                </c:pt>
                <c:pt idx="1698">
                  <c:v>37440</c:v>
                </c:pt>
                <c:pt idx="1699">
                  <c:v>37441</c:v>
                </c:pt>
                <c:pt idx="1700">
                  <c:v>37442</c:v>
                </c:pt>
                <c:pt idx="1701">
                  <c:v>37445</c:v>
                </c:pt>
                <c:pt idx="1702">
                  <c:v>37446</c:v>
                </c:pt>
                <c:pt idx="1703">
                  <c:v>37447</c:v>
                </c:pt>
                <c:pt idx="1704">
                  <c:v>37448</c:v>
                </c:pt>
                <c:pt idx="1705">
                  <c:v>37449</c:v>
                </c:pt>
                <c:pt idx="1706">
                  <c:v>37452</c:v>
                </c:pt>
                <c:pt idx="1707">
                  <c:v>37453</c:v>
                </c:pt>
                <c:pt idx="1708">
                  <c:v>37454</c:v>
                </c:pt>
                <c:pt idx="1709">
                  <c:v>37455</c:v>
                </c:pt>
                <c:pt idx="1710">
                  <c:v>37456</c:v>
                </c:pt>
                <c:pt idx="1711">
                  <c:v>37459</c:v>
                </c:pt>
                <c:pt idx="1712">
                  <c:v>37460</c:v>
                </c:pt>
                <c:pt idx="1713">
                  <c:v>37461</c:v>
                </c:pt>
                <c:pt idx="1714">
                  <c:v>37462</c:v>
                </c:pt>
                <c:pt idx="1715">
                  <c:v>37463</c:v>
                </c:pt>
                <c:pt idx="1716">
                  <c:v>37466</c:v>
                </c:pt>
                <c:pt idx="1717">
                  <c:v>37467</c:v>
                </c:pt>
                <c:pt idx="1718">
                  <c:v>37468</c:v>
                </c:pt>
                <c:pt idx="1719">
                  <c:v>37469</c:v>
                </c:pt>
                <c:pt idx="1720">
                  <c:v>37470</c:v>
                </c:pt>
                <c:pt idx="1721">
                  <c:v>37473</c:v>
                </c:pt>
                <c:pt idx="1722">
                  <c:v>37474</c:v>
                </c:pt>
                <c:pt idx="1723">
                  <c:v>37475</c:v>
                </c:pt>
                <c:pt idx="1724">
                  <c:v>37476</c:v>
                </c:pt>
                <c:pt idx="1725">
                  <c:v>37477</c:v>
                </c:pt>
                <c:pt idx="1726">
                  <c:v>37480</c:v>
                </c:pt>
                <c:pt idx="1727">
                  <c:v>37481</c:v>
                </c:pt>
                <c:pt idx="1728">
                  <c:v>37482</c:v>
                </c:pt>
                <c:pt idx="1729">
                  <c:v>37483</c:v>
                </c:pt>
                <c:pt idx="1730">
                  <c:v>37484</c:v>
                </c:pt>
                <c:pt idx="1731">
                  <c:v>37487</c:v>
                </c:pt>
                <c:pt idx="1732">
                  <c:v>37488</c:v>
                </c:pt>
                <c:pt idx="1733">
                  <c:v>37489</c:v>
                </c:pt>
                <c:pt idx="1734">
                  <c:v>37490</c:v>
                </c:pt>
                <c:pt idx="1735">
                  <c:v>37491</c:v>
                </c:pt>
                <c:pt idx="1736">
                  <c:v>37494</c:v>
                </c:pt>
                <c:pt idx="1737">
                  <c:v>37495</c:v>
                </c:pt>
                <c:pt idx="1738">
                  <c:v>37496</c:v>
                </c:pt>
                <c:pt idx="1739">
                  <c:v>37497</c:v>
                </c:pt>
                <c:pt idx="1740">
                  <c:v>37498</c:v>
                </c:pt>
                <c:pt idx="1741">
                  <c:v>37501</c:v>
                </c:pt>
                <c:pt idx="1742">
                  <c:v>37502</c:v>
                </c:pt>
                <c:pt idx="1743">
                  <c:v>37503</c:v>
                </c:pt>
                <c:pt idx="1744">
                  <c:v>37504</c:v>
                </c:pt>
                <c:pt idx="1745">
                  <c:v>37505</c:v>
                </c:pt>
                <c:pt idx="1746">
                  <c:v>37508</c:v>
                </c:pt>
                <c:pt idx="1747">
                  <c:v>37509</c:v>
                </c:pt>
                <c:pt idx="1748">
                  <c:v>37510</c:v>
                </c:pt>
                <c:pt idx="1749">
                  <c:v>37511</c:v>
                </c:pt>
                <c:pt idx="1750">
                  <c:v>37512</c:v>
                </c:pt>
                <c:pt idx="1751">
                  <c:v>37515</c:v>
                </c:pt>
                <c:pt idx="1752">
                  <c:v>37516</c:v>
                </c:pt>
                <c:pt idx="1753">
                  <c:v>37517</c:v>
                </c:pt>
                <c:pt idx="1754">
                  <c:v>37518</c:v>
                </c:pt>
                <c:pt idx="1755">
                  <c:v>37519</c:v>
                </c:pt>
                <c:pt idx="1756">
                  <c:v>37522</c:v>
                </c:pt>
                <c:pt idx="1757">
                  <c:v>37523</c:v>
                </c:pt>
                <c:pt idx="1758">
                  <c:v>37524</c:v>
                </c:pt>
                <c:pt idx="1759">
                  <c:v>37525</c:v>
                </c:pt>
                <c:pt idx="1760">
                  <c:v>37526</c:v>
                </c:pt>
                <c:pt idx="1761">
                  <c:v>37529</c:v>
                </c:pt>
                <c:pt idx="1762">
                  <c:v>37530</c:v>
                </c:pt>
                <c:pt idx="1763">
                  <c:v>37531</c:v>
                </c:pt>
                <c:pt idx="1764">
                  <c:v>37532</c:v>
                </c:pt>
                <c:pt idx="1765">
                  <c:v>37533</c:v>
                </c:pt>
                <c:pt idx="1766">
                  <c:v>37536</c:v>
                </c:pt>
                <c:pt idx="1767">
                  <c:v>37537</c:v>
                </c:pt>
                <c:pt idx="1768">
                  <c:v>37538</c:v>
                </c:pt>
                <c:pt idx="1769">
                  <c:v>37539</c:v>
                </c:pt>
                <c:pt idx="1770">
                  <c:v>37540</c:v>
                </c:pt>
                <c:pt idx="1771">
                  <c:v>37543</c:v>
                </c:pt>
                <c:pt idx="1772">
                  <c:v>37544</c:v>
                </c:pt>
                <c:pt idx="1773">
                  <c:v>37545</c:v>
                </c:pt>
                <c:pt idx="1774">
                  <c:v>37546</c:v>
                </c:pt>
                <c:pt idx="1775">
                  <c:v>37547</c:v>
                </c:pt>
                <c:pt idx="1776">
                  <c:v>37550</c:v>
                </c:pt>
                <c:pt idx="1777">
                  <c:v>37551</c:v>
                </c:pt>
                <c:pt idx="1778">
                  <c:v>37552</c:v>
                </c:pt>
                <c:pt idx="1779">
                  <c:v>37553</c:v>
                </c:pt>
                <c:pt idx="1780">
                  <c:v>37554</c:v>
                </c:pt>
                <c:pt idx="1781">
                  <c:v>37557</c:v>
                </c:pt>
                <c:pt idx="1782">
                  <c:v>37558</c:v>
                </c:pt>
                <c:pt idx="1783">
                  <c:v>37559</c:v>
                </c:pt>
                <c:pt idx="1784">
                  <c:v>37560</c:v>
                </c:pt>
                <c:pt idx="1785">
                  <c:v>37561</c:v>
                </c:pt>
                <c:pt idx="1786">
                  <c:v>37564</c:v>
                </c:pt>
                <c:pt idx="1787">
                  <c:v>37565</c:v>
                </c:pt>
                <c:pt idx="1788">
                  <c:v>37566</c:v>
                </c:pt>
                <c:pt idx="1789">
                  <c:v>37567</c:v>
                </c:pt>
                <c:pt idx="1790">
                  <c:v>37568</c:v>
                </c:pt>
                <c:pt idx="1791">
                  <c:v>37571</c:v>
                </c:pt>
                <c:pt idx="1792">
                  <c:v>37572</c:v>
                </c:pt>
                <c:pt idx="1793">
                  <c:v>37573</c:v>
                </c:pt>
                <c:pt idx="1794">
                  <c:v>37574</c:v>
                </c:pt>
                <c:pt idx="1795">
                  <c:v>37575</c:v>
                </c:pt>
                <c:pt idx="1796">
                  <c:v>37578</c:v>
                </c:pt>
                <c:pt idx="1797">
                  <c:v>37579</c:v>
                </c:pt>
                <c:pt idx="1798">
                  <c:v>37580</c:v>
                </c:pt>
                <c:pt idx="1799">
                  <c:v>37581</c:v>
                </c:pt>
                <c:pt idx="1800">
                  <c:v>37582</c:v>
                </c:pt>
                <c:pt idx="1801">
                  <c:v>37585</c:v>
                </c:pt>
                <c:pt idx="1802">
                  <c:v>37586</c:v>
                </c:pt>
                <c:pt idx="1803">
                  <c:v>37587</c:v>
                </c:pt>
                <c:pt idx="1804">
                  <c:v>37588</c:v>
                </c:pt>
                <c:pt idx="1805">
                  <c:v>37589</c:v>
                </c:pt>
                <c:pt idx="1806">
                  <c:v>37592</c:v>
                </c:pt>
                <c:pt idx="1807">
                  <c:v>37593</c:v>
                </c:pt>
                <c:pt idx="1808">
                  <c:v>37594</c:v>
                </c:pt>
                <c:pt idx="1809">
                  <c:v>37595</c:v>
                </c:pt>
                <c:pt idx="1810">
                  <c:v>37596</c:v>
                </c:pt>
                <c:pt idx="1811">
                  <c:v>37599</c:v>
                </c:pt>
                <c:pt idx="1812">
                  <c:v>37600</c:v>
                </c:pt>
                <c:pt idx="1813">
                  <c:v>37601</c:v>
                </c:pt>
                <c:pt idx="1814">
                  <c:v>37602</c:v>
                </c:pt>
                <c:pt idx="1815">
                  <c:v>37603</c:v>
                </c:pt>
                <c:pt idx="1816">
                  <c:v>37606</c:v>
                </c:pt>
                <c:pt idx="1817">
                  <c:v>37607</c:v>
                </c:pt>
                <c:pt idx="1818">
                  <c:v>37608</c:v>
                </c:pt>
                <c:pt idx="1819">
                  <c:v>37609</c:v>
                </c:pt>
                <c:pt idx="1820">
                  <c:v>37610</c:v>
                </c:pt>
                <c:pt idx="1821">
                  <c:v>37613</c:v>
                </c:pt>
                <c:pt idx="1822">
                  <c:v>37614</c:v>
                </c:pt>
                <c:pt idx="1823">
                  <c:v>37615</c:v>
                </c:pt>
                <c:pt idx="1824">
                  <c:v>37616</c:v>
                </c:pt>
                <c:pt idx="1825">
                  <c:v>37617</c:v>
                </c:pt>
                <c:pt idx="1826">
                  <c:v>37620</c:v>
                </c:pt>
                <c:pt idx="1827">
                  <c:v>37621</c:v>
                </c:pt>
                <c:pt idx="1828">
                  <c:v>37622</c:v>
                </c:pt>
                <c:pt idx="1829">
                  <c:v>37623</c:v>
                </c:pt>
                <c:pt idx="1830">
                  <c:v>37624</c:v>
                </c:pt>
                <c:pt idx="1831">
                  <c:v>37627</c:v>
                </c:pt>
                <c:pt idx="1832">
                  <c:v>37628</c:v>
                </c:pt>
                <c:pt idx="1833">
                  <c:v>37629</c:v>
                </c:pt>
                <c:pt idx="1834">
                  <c:v>37630</c:v>
                </c:pt>
                <c:pt idx="1835">
                  <c:v>37631</c:v>
                </c:pt>
                <c:pt idx="1836">
                  <c:v>37634</c:v>
                </c:pt>
                <c:pt idx="1837">
                  <c:v>37635</c:v>
                </c:pt>
                <c:pt idx="1838">
                  <c:v>37636</c:v>
                </c:pt>
                <c:pt idx="1839">
                  <c:v>37637</c:v>
                </c:pt>
                <c:pt idx="1840">
                  <c:v>37638</c:v>
                </c:pt>
                <c:pt idx="1841">
                  <c:v>37641</c:v>
                </c:pt>
                <c:pt idx="1842">
                  <c:v>37642</c:v>
                </c:pt>
                <c:pt idx="1843">
                  <c:v>37643</c:v>
                </c:pt>
                <c:pt idx="1844">
                  <c:v>37644</c:v>
                </c:pt>
                <c:pt idx="1845">
                  <c:v>37645</c:v>
                </c:pt>
                <c:pt idx="1846">
                  <c:v>37648</c:v>
                </c:pt>
                <c:pt idx="1847">
                  <c:v>37649</c:v>
                </c:pt>
                <c:pt idx="1848">
                  <c:v>37650</c:v>
                </c:pt>
                <c:pt idx="1849">
                  <c:v>37651</c:v>
                </c:pt>
                <c:pt idx="1850">
                  <c:v>37652</c:v>
                </c:pt>
                <c:pt idx="1851">
                  <c:v>37655</c:v>
                </c:pt>
                <c:pt idx="1852">
                  <c:v>37656</c:v>
                </c:pt>
                <c:pt idx="1853">
                  <c:v>37657</c:v>
                </c:pt>
                <c:pt idx="1854">
                  <c:v>37658</c:v>
                </c:pt>
                <c:pt idx="1855">
                  <c:v>37659</c:v>
                </c:pt>
                <c:pt idx="1856">
                  <c:v>37662</c:v>
                </c:pt>
                <c:pt idx="1857">
                  <c:v>37663</c:v>
                </c:pt>
                <c:pt idx="1858">
                  <c:v>37664</c:v>
                </c:pt>
                <c:pt idx="1859">
                  <c:v>37665</c:v>
                </c:pt>
                <c:pt idx="1860">
                  <c:v>37666</c:v>
                </c:pt>
                <c:pt idx="1861">
                  <c:v>37669</c:v>
                </c:pt>
                <c:pt idx="1862">
                  <c:v>37670</c:v>
                </c:pt>
                <c:pt idx="1863">
                  <c:v>37671</c:v>
                </c:pt>
                <c:pt idx="1864">
                  <c:v>37672</c:v>
                </c:pt>
                <c:pt idx="1865">
                  <c:v>37673</c:v>
                </c:pt>
                <c:pt idx="1866">
                  <c:v>37676</c:v>
                </c:pt>
                <c:pt idx="1867">
                  <c:v>37677</c:v>
                </c:pt>
                <c:pt idx="1868">
                  <c:v>37678</c:v>
                </c:pt>
                <c:pt idx="1869">
                  <c:v>37679</c:v>
                </c:pt>
                <c:pt idx="1870">
                  <c:v>37680</c:v>
                </c:pt>
                <c:pt idx="1871">
                  <c:v>37683</c:v>
                </c:pt>
                <c:pt idx="1872">
                  <c:v>37684</c:v>
                </c:pt>
                <c:pt idx="1873">
                  <c:v>37685</c:v>
                </c:pt>
                <c:pt idx="1874">
                  <c:v>37686</c:v>
                </c:pt>
                <c:pt idx="1875">
                  <c:v>37687</c:v>
                </c:pt>
                <c:pt idx="1876">
                  <c:v>37690</c:v>
                </c:pt>
                <c:pt idx="1877">
                  <c:v>37691</c:v>
                </c:pt>
                <c:pt idx="1878">
                  <c:v>37692</c:v>
                </c:pt>
                <c:pt idx="1879">
                  <c:v>37693</c:v>
                </c:pt>
                <c:pt idx="1880">
                  <c:v>37694</c:v>
                </c:pt>
                <c:pt idx="1881">
                  <c:v>37697</c:v>
                </c:pt>
                <c:pt idx="1882">
                  <c:v>37698</c:v>
                </c:pt>
                <c:pt idx="1883">
                  <c:v>37699</c:v>
                </c:pt>
                <c:pt idx="1884">
                  <c:v>37700</c:v>
                </c:pt>
                <c:pt idx="1885">
                  <c:v>37701</c:v>
                </c:pt>
                <c:pt idx="1886">
                  <c:v>37704</c:v>
                </c:pt>
                <c:pt idx="1887">
                  <c:v>37705</c:v>
                </c:pt>
                <c:pt idx="1888">
                  <c:v>37706</c:v>
                </c:pt>
                <c:pt idx="1889">
                  <c:v>37707</c:v>
                </c:pt>
                <c:pt idx="1890">
                  <c:v>37708</c:v>
                </c:pt>
                <c:pt idx="1891">
                  <c:v>37711</c:v>
                </c:pt>
                <c:pt idx="1892">
                  <c:v>37712</c:v>
                </c:pt>
                <c:pt idx="1893">
                  <c:v>37713</c:v>
                </c:pt>
                <c:pt idx="1894">
                  <c:v>37714</c:v>
                </c:pt>
                <c:pt idx="1895">
                  <c:v>37715</c:v>
                </c:pt>
                <c:pt idx="1896">
                  <c:v>37718</c:v>
                </c:pt>
                <c:pt idx="1897">
                  <c:v>37719</c:v>
                </c:pt>
                <c:pt idx="1898">
                  <c:v>37720</c:v>
                </c:pt>
                <c:pt idx="1899">
                  <c:v>37721</c:v>
                </c:pt>
                <c:pt idx="1900">
                  <c:v>37722</c:v>
                </c:pt>
                <c:pt idx="1901">
                  <c:v>37725</c:v>
                </c:pt>
                <c:pt idx="1902">
                  <c:v>37726</c:v>
                </c:pt>
                <c:pt idx="1903">
                  <c:v>37727</c:v>
                </c:pt>
                <c:pt idx="1904">
                  <c:v>37728</c:v>
                </c:pt>
                <c:pt idx="1905">
                  <c:v>37729</c:v>
                </c:pt>
                <c:pt idx="1906">
                  <c:v>37732</c:v>
                </c:pt>
                <c:pt idx="1907">
                  <c:v>37733</c:v>
                </c:pt>
                <c:pt idx="1908">
                  <c:v>37734</c:v>
                </c:pt>
                <c:pt idx="1909">
                  <c:v>37735</c:v>
                </c:pt>
                <c:pt idx="1910">
                  <c:v>37736</c:v>
                </c:pt>
                <c:pt idx="1911">
                  <c:v>37739</c:v>
                </c:pt>
                <c:pt idx="1912">
                  <c:v>37740</c:v>
                </c:pt>
                <c:pt idx="1913">
                  <c:v>37741</c:v>
                </c:pt>
                <c:pt idx="1914">
                  <c:v>37742</c:v>
                </c:pt>
                <c:pt idx="1915">
                  <c:v>37743</c:v>
                </c:pt>
                <c:pt idx="1916">
                  <c:v>37746</c:v>
                </c:pt>
                <c:pt idx="1917">
                  <c:v>37747</c:v>
                </c:pt>
                <c:pt idx="1918">
                  <c:v>37748</c:v>
                </c:pt>
                <c:pt idx="1919">
                  <c:v>37749</c:v>
                </c:pt>
                <c:pt idx="1920">
                  <c:v>37750</c:v>
                </c:pt>
                <c:pt idx="1921">
                  <c:v>37753</c:v>
                </c:pt>
                <c:pt idx="1922">
                  <c:v>37754</c:v>
                </c:pt>
                <c:pt idx="1923">
                  <c:v>37755</c:v>
                </c:pt>
                <c:pt idx="1924">
                  <c:v>37756</c:v>
                </c:pt>
                <c:pt idx="1925">
                  <c:v>37757</c:v>
                </c:pt>
                <c:pt idx="1926">
                  <c:v>37760</c:v>
                </c:pt>
                <c:pt idx="1927">
                  <c:v>37761</c:v>
                </c:pt>
                <c:pt idx="1928">
                  <c:v>37762</c:v>
                </c:pt>
                <c:pt idx="1929">
                  <c:v>37763</c:v>
                </c:pt>
                <c:pt idx="1930">
                  <c:v>37764</c:v>
                </c:pt>
                <c:pt idx="1931">
                  <c:v>37767</c:v>
                </c:pt>
                <c:pt idx="1932">
                  <c:v>37768</c:v>
                </c:pt>
                <c:pt idx="1933">
                  <c:v>37769</c:v>
                </c:pt>
                <c:pt idx="1934">
                  <c:v>37770</c:v>
                </c:pt>
                <c:pt idx="1935">
                  <c:v>37771</c:v>
                </c:pt>
                <c:pt idx="1936">
                  <c:v>37774</c:v>
                </c:pt>
                <c:pt idx="1937">
                  <c:v>37775</c:v>
                </c:pt>
                <c:pt idx="1938">
                  <c:v>37776</c:v>
                </c:pt>
                <c:pt idx="1939">
                  <c:v>37777</c:v>
                </c:pt>
                <c:pt idx="1940">
                  <c:v>37778</c:v>
                </c:pt>
                <c:pt idx="1941">
                  <c:v>37781</c:v>
                </c:pt>
                <c:pt idx="1942">
                  <c:v>37782</c:v>
                </c:pt>
                <c:pt idx="1943">
                  <c:v>37783</c:v>
                </c:pt>
                <c:pt idx="1944">
                  <c:v>37784</c:v>
                </c:pt>
                <c:pt idx="1945">
                  <c:v>37785</c:v>
                </c:pt>
                <c:pt idx="1946">
                  <c:v>37788</c:v>
                </c:pt>
                <c:pt idx="1947">
                  <c:v>37789</c:v>
                </c:pt>
                <c:pt idx="1948">
                  <c:v>37790</c:v>
                </c:pt>
                <c:pt idx="1949">
                  <c:v>37791</c:v>
                </c:pt>
                <c:pt idx="1950">
                  <c:v>37792</c:v>
                </c:pt>
                <c:pt idx="1951">
                  <c:v>37795</c:v>
                </c:pt>
                <c:pt idx="1952">
                  <c:v>37796</c:v>
                </c:pt>
                <c:pt idx="1953">
                  <c:v>37797</c:v>
                </c:pt>
                <c:pt idx="1954">
                  <c:v>37798</c:v>
                </c:pt>
                <c:pt idx="1955">
                  <c:v>37799</c:v>
                </c:pt>
                <c:pt idx="1956">
                  <c:v>37802</c:v>
                </c:pt>
                <c:pt idx="1957">
                  <c:v>37803</c:v>
                </c:pt>
                <c:pt idx="1958">
                  <c:v>37804</c:v>
                </c:pt>
                <c:pt idx="1959">
                  <c:v>37805</c:v>
                </c:pt>
                <c:pt idx="1960">
                  <c:v>37806</c:v>
                </c:pt>
                <c:pt idx="1961">
                  <c:v>37809</c:v>
                </c:pt>
                <c:pt idx="1962">
                  <c:v>37810</c:v>
                </c:pt>
                <c:pt idx="1963">
                  <c:v>37811</c:v>
                </c:pt>
                <c:pt idx="1964">
                  <c:v>37812</c:v>
                </c:pt>
                <c:pt idx="1965">
                  <c:v>37813</c:v>
                </c:pt>
                <c:pt idx="1966">
                  <c:v>37816</c:v>
                </c:pt>
                <c:pt idx="1967">
                  <c:v>37817</c:v>
                </c:pt>
                <c:pt idx="1968">
                  <c:v>37818</c:v>
                </c:pt>
                <c:pt idx="1969">
                  <c:v>37819</c:v>
                </c:pt>
                <c:pt idx="1970">
                  <c:v>37820</c:v>
                </c:pt>
                <c:pt idx="1971">
                  <c:v>37823</c:v>
                </c:pt>
                <c:pt idx="1972">
                  <c:v>37824</c:v>
                </c:pt>
                <c:pt idx="1973">
                  <c:v>37825</c:v>
                </c:pt>
                <c:pt idx="1974">
                  <c:v>37826</c:v>
                </c:pt>
                <c:pt idx="1975">
                  <c:v>37827</c:v>
                </c:pt>
                <c:pt idx="1976">
                  <c:v>37830</c:v>
                </c:pt>
                <c:pt idx="1977">
                  <c:v>37831</c:v>
                </c:pt>
                <c:pt idx="1978">
                  <c:v>37832</c:v>
                </c:pt>
                <c:pt idx="1979">
                  <c:v>37833</c:v>
                </c:pt>
                <c:pt idx="1980">
                  <c:v>37834</c:v>
                </c:pt>
                <c:pt idx="1981">
                  <c:v>37837</c:v>
                </c:pt>
                <c:pt idx="1982">
                  <c:v>37838</c:v>
                </c:pt>
                <c:pt idx="1983">
                  <c:v>37839</c:v>
                </c:pt>
                <c:pt idx="1984">
                  <c:v>37840</c:v>
                </c:pt>
                <c:pt idx="1985">
                  <c:v>37841</c:v>
                </c:pt>
                <c:pt idx="1986">
                  <c:v>37844</c:v>
                </c:pt>
                <c:pt idx="1987">
                  <c:v>37845</c:v>
                </c:pt>
                <c:pt idx="1988">
                  <c:v>37846</c:v>
                </c:pt>
                <c:pt idx="1989">
                  <c:v>37847</c:v>
                </c:pt>
                <c:pt idx="1990">
                  <c:v>37848</c:v>
                </c:pt>
                <c:pt idx="1991">
                  <c:v>37851</c:v>
                </c:pt>
                <c:pt idx="1992">
                  <c:v>37852</c:v>
                </c:pt>
                <c:pt idx="1993">
                  <c:v>37853</c:v>
                </c:pt>
                <c:pt idx="1994">
                  <c:v>37854</c:v>
                </c:pt>
                <c:pt idx="1995">
                  <c:v>37855</c:v>
                </c:pt>
                <c:pt idx="1996">
                  <c:v>37858</c:v>
                </c:pt>
                <c:pt idx="1997">
                  <c:v>37859</c:v>
                </c:pt>
                <c:pt idx="1998">
                  <c:v>37860</c:v>
                </c:pt>
                <c:pt idx="1999">
                  <c:v>37861</c:v>
                </c:pt>
                <c:pt idx="2000">
                  <c:v>37862</c:v>
                </c:pt>
                <c:pt idx="2001">
                  <c:v>37865</c:v>
                </c:pt>
                <c:pt idx="2002">
                  <c:v>37866</c:v>
                </c:pt>
                <c:pt idx="2003">
                  <c:v>37867</c:v>
                </c:pt>
                <c:pt idx="2004">
                  <c:v>37868</c:v>
                </c:pt>
                <c:pt idx="2005">
                  <c:v>37869</c:v>
                </c:pt>
                <c:pt idx="2006">
                  <c:v>37872</c:v>
                </c:pt>
                <c:pt idx="2007">
                  <c:v>37873</c:v>
                </c:pt>
                <c:pt idx="2008">
                  <c:v>37874</c:v>
                </c:pt>
                <c:pt idx="2009">
                  <c:v>37875</c:v>
                </c:pt>
                <c:pt idx="2010">
                  <c:v>37876</c:v>
                </c:pt>
                <c:pt idx="2011">
                  <c:v>37879</c:v>
                </c:pt>
                <c:pt idx="2012">
                  <c:v>37880</c:v>
                </c:pt>
                <c:pt idx="2013">
                  <c:v>37881</c:v>
                </c:pt>
                <c:pt idx="2014">
                  <c:v>37882</c:v>
                </c:pt>
                <c:pt idx="2015">
                  <c:v>37883</c:v>
                </c:pt>
                <c:pt idx="2016">
                  <c:v>37886</c:v>
                </c:pt>
                <c:pt idx="2017">
                  <c:v>37887</c:v>
                </c:pt>
                <c:pt idx="2018">
                  <c:v>37888</c:v>
                </c:pt>
                <c:pt idx="2019">
                  <c:v>37889</c:v>
                </c:pt>
                <c:pt idx="2020">
                  <c:v>37890</c:v>
                </c:pt>
                <c:pt idx="2021">
                  <c:v>37893</c:v>
                </c:pt>
                <c:pt idx="2022">
                  <c:v>37894</c:v>
                </c:pt>
                <c:pt idx="2023">
                  <c:v>37895</c:v>
                </c:pt>
                <c:pt idx="2024">
                  <c:v>37896</c:v>
                </c:pt>
                <c:pt idx="2025">
                  <c:v>37897</c:v>
                </c:pt>
                <c:pt idx="2026">
                  <c:v>37900</c:v>
                </c:pt>
                <c:pt idx="2027">
                  <c:v>37901</c:v>
                </c:pt>
                <c:pt idx="2028">
                  <c:v>37902</c:v>
                </c:pt>
                <c:pt idx="2029">
                  <c:v>37903</c:v>
                </c:pt>
                <c:pt idx="2030">
                  <c:v>37904</c:v>
                </c:pt>
                <c:pt idx="2031">
                  <c:v>37907</c:v>
                </c:pt>
                <c:pt idx="2032">
                  <c:v>37908</c:v>
                </c:pt>
                <c:pt idx="2033">
                  <c:v>37909</c:v>
                </c:pt>
                <c:pt idx="2034">
                  <c:v>37910</c:v>
                </c:pt>
                <c:pt idx="2035">
                  <c:v>37911</c:v>
                </c:pt>
                <c:pt idx="2036">
                  <c:v>37914</c:v>
                </c:pt>
                <c:pt idx="2037">
                  <c:v>37915</c:v>
                </c:pt>
                <c:pt idx="2038">
                  <c:v>37916</c:v>
                </c:pt>
                <c:pt idx="2039">
                  <c:v>37917</c:v>
                </c:pt>
                <c:pt idx="2040">
                  <c:v>37918</c:v>
                </c:pt>
                <c:pt idx="2041">
                  <c:v>37921</c:v>
                </c:pt>
                <c:pt idx="2042">
                  <c:v>37922</c:v>
                </c:pt>
                <c:pt idx="2043">
                  <c:v>37923</c:v>
                </c:pt>
                <c:pt idx="2044">
                  <c:v>37924</c:v>
                </c:pt>
                <c:pt idx="2045">
                  <c:v>37925</c:v>
                </c:pt>
                <c:pt idx="2046">
                  <c:v>37928</c:v>
                </c:pt>
                <c:pt idx="2047">
                  <c:v>37929</c:v>
                </c:pt>
                <c:pt idx="2048">
                  <c:v>37930</c:v>
                </c:pt>
                <c:pt idx="2049">
                  <c:v>37931</c:v>
                </c:pt>
                <c:pt idx="2050">
                  <c:v>37932</c:v>
                </c:pt>
                <c:pt idx="2051">
                  <c:v>37935</c:v>
                </c:pt>
                <c:pt idx="2052">
                  <c:v>37936</c:v>
                </c:pt>
                <c:pt idx="2053">
                  <c:v>37937</c:v>
                </c:pt>
                <c:pt idx="2054">
                  <c:v>37938</c:v>
                </c:pt>
                <c:pt idx="2055">
                  <c:v>37939</c:v>
                </c:pt>
                <c:pt idx="2056">
                  <c:v>37942</c:v>
                </c:pt>
                <c:pt idx="2057">
                  <c:v>37943</c:v>
                </c:pt>
                <c:pt idx="2058">
                  <c:v>37944</c:v>
                </c:pt>
                <c:pt idx="2059">
                  <c:v>37945</c:v>
                </c:pt>
                <c:pt idx="2060">
                  <c:v>37946</c:v>
                </c:pt>
                <c:pt idx="2061">
                  <c:v>37949</c:v>
                </c:pt>
                <c:pt idx="2062">
                  <c:v>37950</c:v>
                </c:pt>
                <c:pt idx="2063">
                  <c:v>37951</c:v>
                </c:pt>
                <c:pt idx="2064">
                  <c:v>37952</c:v>
                </c:pt>
                <c:pt idx="2065">
                  <c:v>37953</c:v>
                </c:pt>
                <c:pt idx="2066">
                  <c:v>37956</c:v>
                </c:pt>
                <c:pt idx="2067">
                  <c:v>37957</c:v>
                </c:pt>
                <c:pt idx="2068">
                  <c:v>37958</c:v>
                </c:pt>
                <c:pt idx="2069">
                  <c:v>37959</c:v>
                </c:pt>
                <c:pt idx="2070">
                  <c:v>37960</c:v>
                </c:pt>
                <c:pt idx="2071">
                  <c:v>37963</c:v>
                </c:pt>
                <c:pt idx="2072">
                  <c:v>37964</c:v>
                </c:pt>
                <c:pt idx="2073">
                  <c:v>37965</c:v>
                </c:pt>
                <c:pt idx="2074">
                  <c:v>37966</c:v>
                </c:pt>
                <c:pt idx="2075">
                  <c:v>37967</c:v>
                </c:pt>
                <c:pt idx="2076">
                  <c:v>37970</c:v>
                </c:pt>
                <c:pt idx="2077">
                  <c:v>37971</c:v>
                </c:pt>
                <c:pt idx="2078">
                  <c:v>37972</c:v>
                </c:pt>
                <c:pt idx="2079">
                  <c:v>37973</c:v>
                </c:pt>
                <c:pt idx="2080">
                  <c:v>37974</c:v>
                </c:pt>
                <c:pt idx="2081">
                  <c:v>37977</c:v>
                </c:pt>
                <c:pt idx="2082">
                  <c:v>37978</c:v>
                </c:pt>
                <c:pt idx="2083">
                  <c:v>37979</c:v>
                </c:pt>
                <c:pt idx="2084">
                  <c:v>37980</c:v>
                </c:pt>
                <c:pt idx="2085">
                  <c:v>37981</c:v>
                </c:pt>
                <c:pt idx="2086">
                  <c:v>37984</c:v>
                </c:pt>
                <c:pt idx="2087">
                  <c:v>37985</c:v>
                </c:pt>
                <c:pt idx="2088">
                  <c:v>37986</c:v>
                </c:pt>
                <c:pt idx="2089">
                  <c:v>37987</c:v>
                </c:pt>
                <c:pt idx="2090">
                  <c:v>37988</c:v>
                </c:pt>
                <c:pt idx="2091">
                  <c:v>37991</c:v>
                </c:pt>
                <c:pt idx="2092">
                  <c:v>37992</c:v>
                </c:pt>
                <c:pt idx="2093">
                  <c:v>37993</c:v>
                </c:pt>
                <c:pt idx="2094">
                  <c:v>37994</c:v>
                </c:pt>
                <c:pt idx="2095">
                  <c:v>37995</c:v>
                </c:pt>
                <c:pt idx="2096">
                  <c:v>37998</c:v>
                </c:pt>
                <c:pt idx="2097">
                  <c:v>37999</c:v>
                </c:pt>
                <c:pt idx="2098">
                  <c:v>38000</c:v>
                </c:pt>
                <c:pt idx="2099">
                  <c:v>38001</c:v>
                </c:pt>
                <c:pt idx="2100">
                  <c:v>38002</c:v>
                </c:pt>
                <c:pt idx="2101">
                  <c:v>38005</c:v>
                </c:pt>
                <c:pt idx="2102">
                  <c:v>38006</c:v>
                </c:pt>
                <c:pt idx="2103">
                  <c:v>38007</c:v>
                </c:pt>
                <c:pt idx="2104">
                  <c:v>38008</c:v>
                </c:pt>
                <c:pt idx="2105">
                  <c:v>38009</c:v>
                </c:pt>
                <c:pt idx="2106">
                  <c:v>38012</c:v>
                </c:pt>
                <c:pt idx="2107">
                  <c:v>38013</c:v>
                </c:pt>
                <c:pt idx="2108">
                  <c:v>38014</c:v>
                </c:pt>
                <c:pt idx="2109">
                  <c:v>38015</c:v>
                </c:pt>
                <c:pt idx="2110">
                  <c:v>38016</c:v>
                </c:pt>
                <c:pt idx="2111">
                  <c:v>38019</c:v>
                </c:pt>
                <c:pt idx="2112">
                  <c:v>38020</c:v>
                </c:pt>
                <c:pt idx="2113">
                  <c:v>38021</c:v>
                </c:pt>
                <c:pt idx="2114">
                  <c:v>38022</c:v>
                </c:pt>
                <c:pt idx="2115">
                  <c:v>38023</c:v>
                </c:pt>
                <c:pt idx="2116">
                  <c:v>38026</c:v>
                </c:pt>
                <c:pt idx="2117">
                  <c:v>38027</c:v>
                </c:pt>
                <c:pt idx="2118">
                  <c:v>38028</c:v>
                </c:pt>
                <c:pt idx="2119">
                  <c:v>38029</c:v>
                </c:pt>
                <c:pt idx="2120">
                  <c:v>38030</c:v>
                </c:pt>
                <c:pt idx="2121">
                  <c:v>38033</c:v>
                </c:pt>
                <c:pt idx="2122">
                  <c:v>38034</c:v>
                </c:pt>
                <c:pt idx="2123">
                  <c:v>38035</c:v>
                </c:pt>
                <c:pt idx="2124">
                  <c:v>38036</c:v>
                </c:pt>
                <c:pt idx="2125">
                  <c:v>38037</c:v>
                </c:pt>
                <c:pt idx="2126">
                  <c:v>38040</c:v>
                </c:pt>
                <c:pt idx="2127">
                  <c:v>38041</c:v>
                </c:pt>
                <c:pt idx="2128">
                  <c:v>38042</c:v>
                </c:pt>
                <c:pt idx="2129">
                  <c:v>38043</c:v>
                </c:pt>
                <c:pt idx="2130">
                  <c:v>38044</c:v>
                </c:pt>
                <c:pt idx="2131">
                  <c:v>38047</c:v>
                </c:pt>
                <c:pt idx="2132">
                  <c:v>38048</c:v>
                </c:pt>
                <c:pt idx="2133">
                  <c:v>38049</c:v>
                </c:pt>
                <c:pt idx="2134">
                  <c:v>38050</c:v>
                </c:pt>
                <c:pt idx="2135">
                  <c:v>38051</c:v>
                </c:pt>
                <c:pt idx="2136">
                  <c:v>38054</c:v>
                </c:pt>
                <c:pt idx="2137">
                  <c:v>38055</c:v>
                </c:pt>
                <c:pt idx="2138">
                  <c:v>38056</c:v>
                </c:pt>
                <c:pt idx="2139">
                  <c:v>38057</c:v>
                </c:pt>
                <c:pt idx="2140">
                  <c:v>38058</c:v>
                </c:pt>
                <c:pt idx="2141">
                  <c:v>38061</c:v>
                </c:pt>
                <c:pt idx="2142">
                  <c:v>38062</c:v>
                </c:pt>
                <c:pt idx="2143">
                  <c:v>38063</c:v>
                </c:pt>
                <c:pt idx="2144">
                  <c:v>38064</c:v>
                </c:pt>
                <c:pt idx="2145">
                  <c:v>38065</c:v>
                </c:pt>
                <c:pt idx="2146">
                  <c:v>38068</c:v>
                </c:pt>
                <c:pt idx="2147">
                  <c:v>38069</c:v>
                </c:pt>
                <c:pt idx="2148">
                  <c:v>38070</c:v>
                </c:pt>
                <c:pt idx="2149">
                  <c:v>38071</c:v>
                </c:pt>
                <c:pt idx="2150">
                  <c:v>38072</c:v>
                </c:pt>
                <c:pt idx="2151">
                  <c:v>38075</c:v>
                </c:pt>
                <c:pt idx="2152">
                  <c:v>38076</c:v>
                </c:pt>
                <c:pt idx="2153">
                  <c:v>38077</c:v>
                </c:pt>
                <c:pt idx="2154">
                  <c:v>38078</c:v>
                </c:pt>
                <c:pt idx="2155">
                  <c:v>38079</c:v>
                </c:pt>
                <c:pt idx="2156">
                  <c:v>38082</c:v>
                </c:pt>
                <c:pt idx="2157">
                  <c:v>38083</c:v>
                </c:pt>
                <c:pt idx="2158">
                  <c:v>38084</c:v>
                </c:pt>
                <c:pt idx="2159">
                  <c:v>38085</c:v>
                </c:pt>
                <c:pt idx="2160">
                  <c:v>38086</c:v>
                </c:pt>
                <c:pt idx="2161">
                  <c:v>38089</c:v>
                </c:pt>
                <c:pt idx="2162">
                  <c:v>38090</c:v>
                </c:pt>
                <c:pt idx="2163">
                  <c:v>38091</c:v>
                </c:pt>
                <c:pt idx="2164">
                  <c:v>38092</c:v>
                </c:pt>
                <c:pt idx="2165">
                  <c:v>38093</c:v>
                </c:pt>
                <c:pt idx="2166">
                  <c:v>38096</c:v>
                </c:pt>
                <c:pt idx="2167">
                  <c:v>38097</c:v>
                </c:pt>
                <c:pt idx="2168">
                  <c:v>38098</c:v>
                </c:pt>
                <c:pt idx="2169">
                  <c:v>38099</c:v>
                </c:pt>
                <c:pt idx="2170">
                  <c:v>38100</c:v>
                </c:pt>
                <c:pt idx="2171">
                  <c:v>38103</c:v>
                </c:pt>
                <c:pt idx="2172">
                  <c:v>38104</c:v>
                </c:pt>
                <c:pt idx="2173">
                  <c:v>38105</c:v>
                </c:pt>
                <c:pt idx="2174">
                  <c:v>38106</c:v>
                </c:pt>
                <c:pt idx="2175">
                  <c:v>38107</c:v>
                </c:pt>
                <c:pt idx="2176">
                  <c:v>38110</c:v>
                </c:pt>
                <c:pt idx="2177">
                  <c:v>38111</c:v>
                </c:pt>
                <c:pt idx="2178">
                  <c:v>38112</c:v>
                </c:pt>
                <c:pt idx="2179">
                  <c:v>38113</c:v>
                </c:pt>
                <c:pt idx="2180">
                  <c:v>38114</c:v>
                </c:pt>
                <c:pt idx="2181">
                  <c:v>38117</c:v>
                </c:pt>
                <c:pt idx="2182">
                  <c:v>38118</c:v>
                </c:pt>
                <c:pt idx="2183">
                  <c:v>38119</c:v>
                </c:pt>
                <c:pt idx="2184">
                  <c:v>38120</c:v>
                </c:pt>
                <c:pt idx="2185">
                  <c:v>38121</c:v>
                </c:pt>
                <c:pt idx="2186">
                  <c:v>38124</c:v>
                </c:pt>
                <c:pt idx="2187">
                  <c:v>38125</c:v>
                </c:pt>
                <c:pt idx="2188">
                  <c:v>38126</c:v>
                </c:pt>
                <c:pt idx="2189">
                  <c:v>38127</c:v>
                </c:pt>
                <c:pt idx="2190">
                  <c:v>38128</c:v>
                </c:pt>
                <c:pt idx="2191">
                  <c:v>38131</c:v>
                </c:pt>
                <c:pt idx="2192">
                  <c:v>38132</c:v>
                </c:pt>
                <c:pt idx="2193">
                  <c:v>38133</c:v>
                </c:pt>
                <c:pt idx="2194">
                  <c:v>38134</c:v>
                </c:pt>
                <c:pt idx="2195">
                  <c:v>38135</c:v>
                </c:pt>
                <c:pt idx="2196">
                  <c:v>38138</c:v>
                </c:pt>
                <c:pt idx="2197">
                  <c:v>38139</c:v>
                </c:pt>
                <c:pt idx="2198">
                  <c:v>38140</c:v>
                </c:pt>
                <c:pt idx="2199">
                  <c:v>38141</c:v>
                </c:pt>
                <c:pt idx="2200">
                  <c:v>38142</c:v>
                </c:pt>
                <c:pt idx="2201">
                  <c:v>38145</c:v>
                </c:pt>
                <c:pt idx="2202">
                  <c:v>38146</c:v>
                </c:pt>
                <c:pt idx="2203">
                  <c:v>38147</c:v>
                </c:pt>
                <c:pt idx="2204">
                  <c:v>38148</c:v>
                </c:pt>
                <c:pt idx="2205">
                  <c:v>38149</c:v>
                </c:pt>
                <c:pt idx="2206">
                  <c:v>38152</c:v>
                </c:pt>
                <c:pt idx="2207">
                  <c:v>38153</c:v>
                </c:pt>
                <c:pt idx="2208">
                  <c:v>38154</c:v>
                </c:pt>
                <c:pt idx="2209">
                  <c:v>38155</c:v>
                </c:pt>
                <c:pt idx="2210">
                  <c:v>38156</c:v>
                </c:pt>
                <c:pt idx="2211">
                  <c:v>38159</c:v>
                </c:pt>
                <c:pt idx="2212">
                  <c:v>38160</c:v>
                </c:pt>
                <c:pt idx="2213">
                  <c:v>38161</c:v>
                </c:pt>
                <c:pt idx="2214">
                  <c:v>38162</c:v>
                </c:pt>
                <c:pt idx="2215">
                  <c:v>38163</c:v>
                </c:pt>
                <c:pt idx="2216">
                  <c:v>38166</c:v>
                </c:pt>
                <c:pt idx="2217">
                  <c:v>38167</c:v>
                </c:pt>
                <c:pt idx="2218">
                  <c:v>38168</c:v>
                </c:pt>
                <c:pt idx="2219">
                  <c:v>38169</c:v>
                </c:pt>
                <c:pt idx="2220">
                  <c:v>38170</c:v>
                </c:pt>
                <c:pt idx="2221">
                  <c:v>38173</c:v>
                </c:pt>
                <c:pt idx="2222">
                  <c:v>38174</c:v>
                </c:pt>
                <c:pt idx="2223">
                  <c:v>38175</c:v>
                </c:pt>
                <c:pt idx="2224">
                  <c:v>38176</c:v>
                </c:pt>
                <c:pt idx="2225">
                  <c:v>38177</c:v>
                </c:pt>
                <c:pt idx="2226">
                  <c:v>38180</c:v>
                </c:pt>
                <c:pt idx="2227">
                  <c:v>38181</c:v>
                </c:pt>
                <c:pt idx="2228">
                  <c:v>38182</c:v>
                </c:pt>
                <c:pt idx="2229">
                  <c:v>38183</c:v>
                </c:pt>
                <c:pt idx="2230">
                  <c:v>38184</c:v>
                </c:pt>
                <c:pt idx="2231">
                  <c:v>38187</c:v>
                </c:pt>
                <c:pt idx="2232">
                  <c:v>38188</c:v>
                </c:pt>
                <c:pt idx="2233">
                  <c:v>38189</c:v>
                </c:pt>
                <c:pt idx="2234">
                  <c:v>38190</c:v>
                </c:pt>
                <c:pt idx="2235">
                  <c:v>38191</c:v>
                </c:pt>
                <c:pt idx="2236">
                  <c:v>38194</c:v>
                </c:pt>
                <c:pt idx="2237">
                  <c:v>38195</c:v>
                </c:pt>
                <c:pt idx="2238">
                  <c:v>38196</c:v>
                </c:pt>
                <c:pt idx="2239">
                  <c:v>38197</c:v>
                </c:pt>
                <c:pt idx="2240">
                  <c:v>38198</c:v>
                </c:pt>
                <c:pt idx="2241">
                  <c:v>38201</c:v>
                </c:pt>
                <c:pt idx="2242">
                  <c:v>38202</c:v>
                </c:pt>
                <c:pt idx="2243">
                  <c:v>38203</c:v>
                </c:pt>
                <c:pt idx="2244">
                  <c:v>38204</c:v>
                </c:pt>
                <c:pt idx="2245">
                  <c:v>38205</c:v>
                </c:pt>
                <c:pt idx="2246">
                  <c:v>38208</c:v>
                </c:pt>
                <c:pt idx="2247">
                  <c:v>38209</c:v>
                </c:pt>
                <c:pt idx="2248">
                  <c:v>38210</c:v>
                </c:pt>
                <c:pt idx="2249">
                  <c:v>38211</c:v>
                </c:pt>
                <c:pt idx="2250">
                  <c:v>38212</c:v>
                </c:pt>
                <c:pt idx="2251">
                  <c:v>38215</c:v>
                </c:pt>
                <c:pt idx="2252">
                  <c:v>38216</c:v>
                </c:pt>
                <c:pt idx="2253">
                  <c:v>38217</c:v>
                </c:pt>
                <c:pt idx="2254">
                  <c:v>38218</c:v>
                </c:pt>
                <c:pt idx="2255">
                  <c:v>38219</c:v>
                </c:pt>
                <c:pt idx="2256">
                  <c:v>38222</c:v>
                </c:pt>
                <c:pt idx="2257">
                  <c:v>38223</c:v>
                </c:pt>
                <c:pt idx="2258">
                  <c:v>38224</c:v>
                </c:pt>
                <c:pt idx="2259">
                  <c:v>38225</c:v>
                </c:pt>
                <c:pt idx="2260">
                  <c:v>38226</c:v>
                </c:pt>
                <c:pt idx="2261">
                  <c:v>38229</c:v>
                </c:pt>
                <c:pt idx="2262">
                  <c:v>38230</c:v>
                </c:pt>
                <c:pt idx="2263">
                  <c:v>38231</c:v>
                </c:pt>
                <c:pt idx="2264">
                  <c:v>38232</c:v>
                </c:pt>
                <c:pt idx="2265">
                  <c:v>38233</c:v>
                </c:pt>
                <c:pt idx="2266">
                  <c:v>38236</c:v>
                </c:pt>
                <c:pt idx="2267">
                  <c:v>38237</c:v>
                </c:pt>
                <c:pt idx="2268">
                  <c:v>38238</c:v>
                </c:pt>
                <c:pt idx="2269">
                  <c:v>38239</c:v>
                </c:pt>
                <c:pt idx="2270">
                  <c:v>38240</c:v>
                </c:pt>
                <c:pt idx="2271">
                  <c:v>38243</c:v>
                </c:pt>
                <c:pt idx="2272">
                  <c:v>38244</c:v>
                </c:pt>
                <c:pt idx="2273">
                  <c:v>38245</c:v>
                </c:pt>
                <c:pt idx="2274">
                  <c:v>38246</c:v>
                </c:pt>
                <c:pt idx="2275">
                  <c:v>38247</c:v>
                </c:pt>
                <c:pt idx="2276">
                  <c:v>38250</c:v>
                </c:pt>
                <c:pt idx="2277">
                  <c:v>38251</c:v>
                </c:pt>
                <c:pt idx="2278">
                  <c:v>38252</c:v>
                </c:pt>
                <c:pt idx="2279">
                  <c:v>38253</c:v>
                </c:pt>
                <c:pt idx="2280">
                  <c:v>38254</c:v>
                </c:pt>
                <c:pt idx="2281">
                  <c:v>38257</c:v>
                </c:pt>
                <c:pt idx="2282">
                  <c:v>38258</c:v>
                </c:pt>
                <c:pt idx="2283">
                  <c:v>38259</c:v>
                </c:pt>
                <c:pt idx="2284">
                  <c:v>38260</c:v>
                </c:pt>
                <c:pt idx="2285">
                  <c:v>38261</c:v>
                </c:pt>
                <c:pt idx="2286">
                  <c:v>38264</c:v>
                </c:pt>
                <c:pt idx="2287">
                  <c:v>38265</c:v>
                </c:pt>
                <c:pt idx="2288">
                  <c:v>38266</c:v>
                </c:pt>
                <c:pt idx="2289">
                  <c:v>38267</c:v>
                </c:pt>
                <c:pt idx="2290">
                  <c:v>38268</c:v>
                </c:pt>
                <c:pt idx="2291">
                  <c:v>38271</c:v>
                </c:pt>
                <c:pt idx="2292">
                  <c:v>38272</c:v>
                </c:pt>
                <c:pt idx="2293">
                  <c:v>38273</c:v>
                </c:pt>
                <c:pt idx="2294">
                  <c:v>38274</c:v>
                </c:pt>
                <c:pt idx="2295">
                  <c:v>38275</c:v>
                </c:pt>
                <c:pt idx="2296">
                  <c:v>38278</c:v>
                </c:pt>
                <c:pt idx="2297">
                  <c:v>38279</c:v>
                </c:pt>
                <c:pt idx="2298">
                  <c:v>38280</c:v>
                </c:pt>
                <c:pt idx="2299">
                  <c:v>38281</c:v>
                </c:pt>
                <c:pt idx="2300">
                  <c:v>38282</c:v>
                </c:pt>
                <c:pt idx="2301">
                  <c:v>38285</c:v>
                </c:pt>
                <c:pt idx="2302">
                  <c:v>38286</c:v>
                </c:pt>
                <c:pt idx="2303">
                  <c:v>38287</c:v>
                </c:pt>
                <c:pt idx="2304">
                  <c:v>38288</c:v>
                </c:pt>
                <c:pt idx="2305">
                  <c:v>38289</c:v>
                </c:pt>
                <c:pt idx="2306">
                  <c:v>38292</c:v>
                </c:pt>
                <c:pt idx="2307">
                  <c:v>38293</c:v>
                </c:pt>
                <c:pt idx="2308">
                  <c:v>38294</c:v>
                </c:pt>
                <c:pt idx="2309">
                  <c:v>38295</c:v>
                </c:pt>
                <c:pt idx="2310">
                  <c:v>38296</c:v>
                </c:pt>
                <c:pt idx="2311">
                  <c:v>38299</c:v>
                </c:pt>
                <c:pt idx="2312">
                  <c:v>38300</c:v>
                </c:pt>
                <c:pt idx="2313">
                  <c:v>38301</c:v>
                </c:pt>
                <c:pt idx="2314">
                  <c:v>38302</c:v>
                </c:pt>
                <c:pt idx="2315">
                  <c:v>38303</c:v>
                </c:pt>
                <c:pt idx="2316">
                  <c:v>38306</c:v>
                </c:pt>
                <c:pt idx="2317">
                  <c:v>38307</c:v>
                </c:pt>
                <c:pt idx="2318">
                  <c:v>38308</c:v>
                </c:pt>
                <c:pt idx="2319">
                  <c:v>38309</c:v>
                </c:pt>
                <c:pt idx="2320">
                  <c:v>38310</c:v>
                </c:pt>
                <c:pt idx="2321">
                  <c:v>38313</c:v>
                </c:pt>
                <c:pt idx="2322">
                  <c:v>38314</c:v>
                </c:pt>
                <c:pt idx="2323">
                  <c:v>38315</c:v>
                </c:pt>
                <c:pt idx="2324">
                  <c:v>38316</c:v>
                </c:pt>
                <c:pt idx="2325">
                  <c:v>38317</c:v>
                </c:pt>
                <c:pt idx="2326">
                  <c:v>38320</c:v>
                </c:pt>
                <c:pt idx="2327">
                  <c:v>38321</c:v>
                </c:pt>
                <c:pt idx="2328">
                  <c:v>38322</c:v>
                </c:pt>
                <c:pt idx="2329">
                  <c:v>38323</c:v>
                </c:pt>
                <c:pt idx="2330">
                  <c:v>38324</c:v>
                </c:pt>
                <c:pt idx="2331">
                  <c:v>38327</c:v>
                </c:pt>
                <c:pt idx="2332">
                  <c:v>38328</c:v>
                </c:pt>
                <c:pt idx="2333">
                  <c:v>38329</c:v>
                </c:pt>
                <c:pt idx="2334">
                  <c:v>38330</c:v>
                </c:pt>
                <c:pt idx="2335">
                  <c:v>38331</c:v>
                </c:pt>
                <c:pt idx="2336">
                  <c:v>38334</c:v>
                </c:pt>
                <c:pt idx="2337">
                  <c:v>38335</c:v>
                </c:pt>
                <c:pt idx="2338">
                  <c:v>38336</c:v>
                </c:pt>
                <c:pt idx="2339">
                  <c:v>38337</c:v>
                </c:pt>
                <c:pt idx="2340">
                  <c:v>38338</c:v>
                </c:pt>
                <c:pt idx="2341">
                  <c:v>38341</c:v>
                </c:pt>
                <c:pt idx="2342">
                  <c:v>38342</c:v>
                </c:pt>
                <c:pt idx="2343">
                  <c:v>38343</c:v>
                </c:pt>
                <c:pt idx="2344">
                  <c:v>38344</c:v>
                </c:pt>
                <c:pt idx="2345">
                  <c:v>38345</c:v>
                </c:pt>
                <c:pt idx="2346">
                  <c:v>38348</c:v>
                </c:pt>
                <c:pt idx="2347">
                  <c:v>38349</c:v>
                </c:pt>
                <c:pt idx="2348">
                  <c:v>38350</c:v>
                </c:pt>
                <c:pt idx="2349">
                  <c:v>38351</c:v>
                </c:pt>
                <c:pt idx="2350">
                  <c:v>38352</c:v>
                </c:pt>
                <c:pt idx="2351">
                  <c:v>38355</c:v>
                </c:pt>
                <c:pt idx="2352">
                  <c:v>38356</c:v>
                </c:pt>
                <c:pt idx="2353">
                  <c:v>38357</c:v>
                </c:pt>
                <c:pt idx="2354">
                  <c:v>38358</c:v>
                </c:pt>
                <c:pt idx="2355">
                  <c:v>38359</c:v>
                </c:pt>
                <c:pt idx="2356">
                  <c:v>38362</c:v>
                </c:pt>
                <c:pt idx="2357">
                  <c:v>38363</c:v>
                </c:pt>
                <c:pt idx="2358">
                  <c:v>38364</c:v>
                </c:pt>
                <c:pt idx="2359">
                  <c:v>38365</c:v>
                </c:pt>
                <c:pt idx="2360">
                  <c:v>38366</c:v>
                </c:pt>
                <c:pt idx="2361">
                  <c:v>38369</c:v>
                </c:pt>
                <c:pt idx="2362">
                  <c:v>38370</c:v>
                </c:pt>
                <c:pt idx="2363">
                  <c:v>38371</c:v>
                </c:pt>
                <c:pt idx="2364">
                  <c:v>38372</c:v>
                </c:pt>
                <c:pt idx="2365">
                  <c:v>38373</c:v>
                </c:pt>
                <c:pt idx="2366">
                  <c:v>38376</c:v>
                </c:pt>
                <c:pt idx="2367">
                  <c:v>38377</c:v>
                </c:pt>
                <c:pt idx="2368">
                  <c:v>38378</c:v>
                </c:pt>
                <c:pt idx="2369">
                  <c:v>38379</c:v>
                </c:pt>
                <c:pt idx="2370">
                  <c:v>38380</c:v>
                </c:pt>
                <c:pt idx="2371">
                  <c:v>38383</c:v>
                </c:pt>
                <c:pt idx="2372">
                  <c:v>38384</c:v>
                </c:pt>
                <c:pt idx="2373">
                  <c:v>38385</c:v>
                </c:pt>
                <c:pt idx="2374">
                  <c:v>38386</c:v>
                </c:pt>
                <c:pt idx="2375">
                  <c:v>38387</c:v>
                </c:pt>
                <c:pt idx="2376">
                  <c:v>38390</c:v>
                </c:pt>
                <c:pt idx="2377">
                  <c:v>38391</c:v>
                </c:pt>
                <c:pt idx="2378">
                  <c:v>38392</c:v>
                </c:pt>
                <c:pt idx="2379">
                  <c:v>38393</c:v>
                </c:pt>
                <c:pt idx="2380">
                  <c:v>38394</c:v>
                </c:pt>
                <c:pt idx="2381">
                  <c:v>38397</c:v>
                </c:pt>
                <c:pt idx="2382">
                  <c:v>38398</c:v>
                </c:pt>
                <c:pt idx="2383">
                  <c:v>38399</c:v>
                </c:pt>
                <c:pt idx="2384">
                  <c:v>38400</c:v>
                </c:pt>
                <c:pt idx="2385">
                  <c:v>38401</c:v>
                </c:pt>
                <c:pt idx="2386">
                  <c:v>38404</c:v>
                </c:pt>
                <c:pt idx="2387">
                  <c:v>38405</c:v>
                </c:pt>
                <c:pt idx="2388">
                  <c:v>38406</c:v>
                </c:pt>
                <c:pt idx="2389">
                  <c:v>38407</c:v>
                </c:pt>
                <c:pt idx="2390">
                  <c:v>38408</c:v>
                </c:pt>
                <c:pt idx="2391">
                  <c:v>38411</c:v>
                </c:pt>
                <c:pt idx="2392">
                  <c:v>38412</c:v>
                </c:pt>
                <c:pt idx="2393">
                  <c:v>38413</c:v>
                </c:pt>
                <c:pt idx="2394">
                  <c:v>38414</c:v>
                </c:pt>
                <c:pt idx="2395">
                  <c:v>38415</c:v>
                </c:pt>
                <c:pt idx="2396">
                  <c:v>38418</c:v>
                </c:pt>
                <c:pt idx="2397">
                  <c:v>38419</c:v>
                </c:pt>
                <c:pt idx="2398">
                  <c:v>38420</c:v>
                </c:pt>
                <c:pt idx="2399">
                  <c:v>38421</c:v>
                </c:pt>
                <c:pt idx="2400">
                  <c:v>38422</c:v>
                </c:pt>
                <c:pt idx="2401">
                  <c:v>38425</c:v>
                </c:pt>
                <c:pt idx="2402">
                  <c:v>38426</c:v>
                </c:pt>
                <c:pt idx="2403">
                  <c:v>38427</c:v>
                </c:pt>
                <c:pt idx="2404">
                  <c:v>38428</c:v>
                </c:pt>
                <c:pt idx="2405">
                  <c:v>38429</c:v>
                </c:pt>
                <c:pt idx="2406">
                  <c:v>38432</c:v>
                </c:pt>
                <c:pt idx="2407">
                  <c:v>38433</c:v>
                </c:pt>
                <c:pt idx="2408">
                  <c:v>38434</c:v>
                </c:pt>
                <c:pt idx="2409">
                  <c:v>38435</c:v>
                </c:pt>
                <c:pt idx="2410">
                  <c:v>38436</c:v>
                </c:pt>
                <c:pt idx="2411">
                  <c:v>38439</c:v>
                </c:pt>
                <c:pt idx="2412">
                  <c:v>38440</c:v>
                </c:pt>
                <c:pt idx="2413">
                  <c:v>38441</c:v>
                </c:pt>
                <c:pt idx="2414">
                  <c:v>38442</c:v>
                </c:pt>
                <c:pt idx="2415">
                  <c:v>38443</c:v>
                </c:pt>
                <c:pt idx="2416">
                  <c:v>38446</c:v>
                </c:pt>
                <c:pt idx="2417">
                  <c:v>38447</c:v>
                </c:pt>
                <c:pt idx="2418">
                  <c:v>38448</c:v>
                </c:pt>
                <c:pt idx="2419">
                  <c:v>38449</c:v>
                </c:pt>
                <c:pt idx="2420">
                  <c:v>38450</c:v>
                </c:pt>
                <c:pt idx="2421">
                  <c:v>38453</c:v>
                </c:pt>
                <c:pt idx="2422">
                  <c:v>38454</c:v>
                </c:pt>
                <c:pt idx="2423">
                  <c:v>38455</c:v>
                </c:pt>
                <c:pt idx="2424">
                  <c:v>38456</c:v>
                </c:pt>
                <c:pt idx="2425">
                  <c:v>38457</c:v>
                </c:pt>
                <c:pt idx="2426">
                  <c:v>38460</c:v>
                </c:pt>
                <c:pt idx="2427">
                  <c:v>38461</c:v>
                </c:pt>
                <c:pt idx="2428">
                  <c:v>38462</c:v>
                </c:pt>
                <c:pt idx="2429">
                  <c:v>38463</c:v>
                </c:pt>
                <c:pt idx="2430">
                  <c:v>38464</c:v>
                </c:pt>
                <c:pt idx="2431">
                  <c:v>38467</c:v>
                </c:pt>
                <c:pt idx="2432">
                  <c:v>38468</c:v>
                </c:pt>
                <c:pt idx="2433">
                  <c:v>38469</c:v>
                </c:pt>
                <c:pt idx="2434">
                  <c:v>38470</c:v>
                </c:pt>
                <c:pt idx="2435">
                  <c:v>38471</c:v>
                </c:pt>
                <c:pt idx="2436">
                  <c:v>38474</c:v>
                </c:pt>
                <c:pt idx="2437">
                  <c:v>38475</c:v>
                </c:pt>
                <c:pt idx="2438">
                  <c:v>38476</c:v>
                </c:pt>
                <c:pt idx="2439">
                  <c:v>38477</c:v>
                </c:pt>
                <c:pt idx="2440">
                  <c:v>38478</c:v>
                </c:pt>
                <c:pt idx="2441">
                  <c:v>38481</c:v>
                </c:pt>
                <c:pt idx="2442">
                  <c:v>38482</c:v>
                </c:pt>
                <c:pt idx="2443">
                  <c:v>38483</c:v>
                </c:pt>
                <c:pt idx="2444">
                  <c:v>38484</c:v>
                </c:pt>
                <c:pt idx="2445">
                  <c:v>38485</c:v>
                </c:pt>
                <c:pt idx="2446">
                  <c:v>38488</c:v>
                </c:pt>
                <c:pt idx="2447">
                  <c:v>38489</c:v>
                </c:pt>
                <c:pt idx="2448">
                  <c:v>38490</c:v>
                </c:pt>
                <c:pt idx="2449">
                  <c:v>38491</c:v>
                </c:pt>
                <c:pt idx="2450">
                  <c:v>38492</c:v>
                </c:pt>
                <c:pt idx="2451">
                  <c:v>38495</c:v>
                </c:pt>
                <c:pt idx="2452">
                  <c:v>38496</c:v>
                </c:pt>
                <c:pt idx="2453">
                  <c:v>38497</c:v>
                </c:pt>
                <c:pt idx="2454">
                  <c:v>38498</c:v>
                </c:pt>
                <c:pt idx="2455">
                  <c:v>38499</c:v>
                </c:pt>
                <c:pt idx="2456">
                  <c:v>38502</c:v>
                </c:pt>
                <c:pt idx="2457">
                  <c:v>38503</c:v>
                </c:pt>
                <c:pt idx="2458">
                  <c:v>38504</c:v>
                </c:pt>
                <c:pt idx="2459">
                  <c:v>38505</c:v>
                </c:pt>
                <c:pt idx="2460">
                  <c:v>38506</c:v>
                </c:pt>
                <c:pt idx="2461">
                  <c:v>38509</c:v>
                </c:pt>
                <c:pt idx="2462">
                  <c:v>38510</c:v>
                </c:pt>
                <c:pt idx="2463">
                  <c:v>38511</c:v>
                </c:pt>
                <c:pt idx="2464">
                  <c:v>38512</c:v>
                </c:pt>
                <c:pt idx="2465">
                  <c:v>38513</c:v>
                </c:pt>
                <c:pt idx="2466">
                  <c:v>38516</c:v>
                </c:pt>
                <c:pt idx="2467">
                  <c:v>38517</c:v>
                </c:pt>
                <c:pt idx="2468">
                  <c:v>38518</c:v>
                </c:pt>
                <c:pt idx="2469">
                  <c:v>38519</c:v>
                </c:pt>
                <c:pt idx="2470">
                  <c:v>38520</c:v>
                </c:pt>
                <c:pt idx="2471">
                  <c:v>38523</c:v>
                </c:pt>
                <c:pt idx="2472">
                  <c:v>38524</c:v>
                </c:pt>
                <c:pt idx="2473">
                  <c:v>38525</c:v>
                </c:pt>
                <c:pt idx="2474">
                  <c:v>38526</c:v>
                </c:pt>
                <c:pt idx="2475">
                  <c:v>38527</c:v>
                </c:pt>
                <c:pt idx="2476">
                  <c:v>38530</c:v>
                </c:pt>
                <c:pt idx="2477">
                  <c:v>38531</c:v>
                </c:pt>
                <c:pt idx="2478">
                  <c:v>38532</c:v>
                </c:pt>
                <c:pt idx="2479">
                  <c:v>38533</c:v>
                </c:pt>
                <c:pt idx="2480">
                  <c:v>38534</c:v>
                </c:pt>
                <c:pt idx="2481">
                  <c:v>38537</c:v>
                </c:pt>
                <c:pt idx="2482">
                  <c:v>38538</c:v>
                </c:pt>
                <c:pt idx="2483">
                  <c:v>38539</c:v>
                </c:pt>
                <c:pt idx="2484">
                  <c:v>38540</c:v>
                </c:pt>
                <c:pt idx="2485">
                  <c:v>38541</c:v>
                </c:pt>
                <c:pt idx="2486">
                  <c:v>38544</c:v>
                </c:pt>
                <c:pt idx="2487">
                  <c:v>38545</c:v>
                </c:pt>
                <c:pt idx="2488">
                  <c:v>38546</c:v>
                </c:pt>
                <c:pt idx="2489">
                  <c:v>38547</c:v>
                </c:pt>
                <c:pt idx="2490">
                  <c:v>38548</c:v>
                </c:pt>
                <c:pt idx="2491">
                  <c:v>38551</c:v>
                </c:pt>
                <c:pt idx="2492">
                  <c:v>38552</c:v>
                </c:pt>
                <c:pt idx="2493">
                  <c:v>38553</c:v>
                </c:pt>
                <c:pt idx="2494">
                  <c:v>38554</c:v>
                </c:pt>
                <c:pt idx="2495">
                  <c:v>38555</c:v>
                </c:pt>
                <c:pt idx="2496">
                  <c:v>38558</c:v>
                </c:pt>
                <c:pt idx="2497">
                  <c:v>38559</c:v>
                </c:pt>
                <c:pt idx="2498">
                  <c:v>38560</c:v>
                </c:pt>
                <c:pt idx="2499">
                  <c:v>38561</c:v>
                </c:pt>
                <c:pt idx="2500">
                  <c:v>38562</c:v>
                </c:pt>
                <c:pt idx="2501">
                  <c:v>38565</c:v>
                </c:pt>
                <c:pt idx="2502">
                  <c:v>38566</c:v>
                </c:pt>
                <c:pt idx="2503">
                  <c:v>38567</c:v>
                </c:pt>
                <c:pt idx="2504">
                  <c:v>38568</c:v>
                </c:pt>
                <c:pt idx="2505">
                  <c:v>38569</c:v>
                </c:pt>
                <c:pt idx="2506">
                  <c:v>38572</c:v>
                </c:pt>
                <c:pt idx="2507">
                  <c:v>38573</c:v>
                </c:pt>
                <c:pt idx="2508">
                  <c:v>38574</c:v>
                </c:pt>
                <c:pt idx="2509">
                  <c:v>38575</c:v>
                </c:pt>
                <c:pt idx="2510">
                  <c:v>38576</c:v>
                </c:pt>
                <c:pt idx="2511">
                  <c:v>38579</c:v>
                </c:pt>
                <c:pt idx="2512">
                  <c:v>38580</c:v>
                </c:pt>
                <c:pt idx="2513">
                  <c:v>38581</c:v>
                </c:pt>
                <c:pt idx="2514">
                  <c:v>38582</c:v>
                </c:pt>
                <c:pt idx="2515">
                  <c:v>38583</c:v>
                </c:pt>
                <c:pt idx="2516">
                  <c:v>38586</c:v>
                </c:pt>
                <c:pt idx="2517">
                  <c:v>38587</c:v>
                </c:pt>
                <c:pt idx="2518">
                  <c:v>38588</c:v>
                </c:pt>
                <c:pt idx="2519">
                  <c:v>38589</c:v>
                </c:pt>
                <c:pt idx="2520">
                  <c:v>38590</c:v>
                </c:pt>
                <c:pt idx="2521">
                  <c:v>38593</c:v>
                </c:pt>
                <c:pt idx="2522">
                  <c:v>38594</c:v>
                </c:pt>
                <c:pt idx="2523">
                  <c:v>38595</c:v>
                </c:pt>
                <c:pt idx="2524">
                  <c:v>38596</c:v>
                </c:pt>
                <c:pt idx="2525">
                  <c:v>38597</c:v>
                </c:pt>
                <c:pt idx="2526">
                  <c:v>38600</c:v>
                </c:pt>
                <c:pt idx="2527">
                  <c:v>38601</c:v>
                </c:pt>
                <c:pt idx="2528">
                  <c:v>38602</c:v>
                </c:pt>
                <c:pt idx="2529">
                  <c:v>38603</c:v>
                </c:pt>
                <c:pt idx="2530">
                  <c:v>38604</c:v>
                </c:pt>
                <c:pt idx="2531">
                  <c:v>38607</c:v>
                </c:pt>
                <c:pt idx="2532">
                  <c:v>38608</c:v>
                </c:pt>
                <c:pt idx="2533">
                  <c:v>38609</c:v>
                </c:pt>
                <c:pt idx="2534">
                  <c:v>38610</c:v>
                </c:pt>
                <c:pt idx="2535">
                  <c:v>38611</c:v>
                </c:pt>
                <c:pt idx="2536">
                  <c:v>38614</c:v>
                </c:pt>
                <c:pt idx="2537">
                  <c:v>38615</c:v>
                </c:pt>
                <c:pt idx="2538">
                  <c:v>38616</c:v>
                </c:pt>
                <c:pt idx="2539">
                  <c:v>38617</c:v>
                </c:pt>
                <c:pt idx="2540">
                  <c:v>38618</c:v>
                </c:pt>
                <c:pt idx="2541">
                  <c:v>38621</c:v>
                </c:pt>
                <c:pt idx="2542">
                  <c:v>38622</c:v>
                </c:pt>
                <c:pt idx="2543">
                  <c:v>38623</c:v>
                </c:pt>
                <c:pt idx="2544">
                  <c:v>38624</c:v>
                </c:pt>
                <c:pt idx="2545">
                  <c:v>38625</c:v>
                </c:pt>
                <c:pt idx="2546">
                  <c:v>38628</c:v>
                </c:pt>
                <c:pt idx="2547">
                  <c:v>38629</c:v>
                </c:pt>
                <c:pt idx="2548">
                  <c:v>38630</c:v>
                </c:pt>
                <c:pt idx="2549">
                  <c:v>38631</c:v>
                </c:pt>
                <c:pt idx="2550">
                  <c:v>38632</c:v>
                </c:pt>
                <c:pt idx="2551">
                  <c:v>38635</c:v>
                </c:pt>
                <c:pt idx="2552">
                  <c:v>38636</c:v>
                </c:pt>
                <c:pt idx="2553">
                  <c:v>38637</c:v>
                </c:pt>
                <c:pt idx="2554">
                  <c:v>38638</c:v>
                </c:pt>
                <c:pt idx="2555">
                  <c:v>38639</c:v>
                </c:pt>
                <c:pt idx="2556">
                  <c:v>38642</c:v>
                </c:pt>
                <c:pt idx="2557">
                  <c:v>38643</c:v>
                </c:pt>
                <c:pt idx="2558">
                  <c:v>38644</c:v>
                </c:pt>
                <c:pt idx="2559">
                  <c:v>38645</c:v>
                </c:pt>
                <c:pt idx="2560">
                  <c:v>38646</c:v>
                </c:pt>
                <c:pt idx="2561">
                  <c:v>38649</c:v>
                </c:pt>
                <c:pt idx="2562">
                  <c:v>38650</c:v>
                </c:pt>
                <c:pt idx="2563">
                  <c:v>38651</c:v>
                </c:pt>
                <c:pt idx="2564">
                  <c:v>38652</c:v>
                </c:pt>
                <c:pt idx="2565">
                  <c:v>38653</c:v>
                </c:pt>
                <c:pt idx="2566">
                  <c:v>38656</c:v>
                </c:pt>
                <c:pt idx="2567">
                  <c:v>38657</c:v>
                </c:pt>
                <c:pt idx="2568">
                  <c:v>38658</c:v>
                </c:pt>
                <c:pt idx="2569">
                  <c:v>38659</c:v>
                </c:pt>
                <c:pt idx="2570">
                  <c:v>38660</c:v>
                </c:pt>
                <c:pt idx="2571">
                  <c:v>38663</c:v>
                </c:pt>
                <c:pt idx="2572">
                  <c:v>38664</c:v>
                </c:pt>
                <c:pt idx="2573">
                  <c:v>38665</c:v>
                </c:pt>
                <c:pt idx="2574">
                  <c:v>38666</c:v>
                </c:pt>
                <c:pt idx="2575">
                  <c:v>38667</c:v>
                </c:pt>
                <c:pt idx="2576">
                  <c:v>38670</c:v>
                </c:pt>
                <c:pt idx="2577">
                  <c:v>38671</c:v>
                </c:pt>
                <c:pt idx="2578">
                  <c:v>38672</c:v>
                </c:pt>
                <c:pt idx="2579">
                  <c:v>38673</c:v>
                </c:pt>
                <c:pt idx="2580">
                  <c:v>38674</c:v>
                </c:pt>
                <c:pt idx="2581">
                  <c:v>38677</c:v>
                </c:pt>
                <c:pt idx="2582">
                  <c:v>38678</c:v>
                </c:pt>
                <c:pt idx="2583">
                  <c:v>38679</c:v>
                </c:pt>
                <c:pt idx="2584">
                  <c:v>38680</c:v>
                </c:pt>
                <c:pt idx="2585">
                  <c:v>38681</c:v>
                </c:pt>
                <c:pt idx="2586">
                  <c:v>38684</c:v>
                </c:pt>
                <c:pt idx="2587">
                  <c:v>38685</c:v>
                </c:pt>
                <c:pt idx="2588">
                  <c:v>38686</c:v>
                </c:pt>
                <c:pt idx="2589">
                  <c:v>38687</c:v>
                </c:pt>
                <c:pt idx="2590">
                  <c:v>38688</c:v>
                </c:pt>
                <c:pt idx="2591">
                  <c:v>38691</c:v>
                </c:pt>
                <c:pt idx="2592">
                  <c:v>38692</c:v>
                </c:pt>
                <c:pt idx="2593">
                  <c:v>38693</c:v>
                </c:pt>
                <c:pt idx="2594">
                  <c:v>38694</c:v>
                </c:pt>
                <c:pt idx="2595">
                  <c:v>38695</c:v>
                </c:pt>
                <c:pt idx="2596">
                  <c:v>38698</c:v>
                </c:pt>
                <c:pt idx="2597">
                  <c:v>38699</c:v>
                </c:pt>
                <c:pt idx="2598">
                  <c:v>38700</c:v>
                </c:pt>
                <c:pt idx="2599">
                  <c:v>38701</c:v>
                </c:pt>
                <c:pt idx="2600">
                  <c:v>38702</c:v>
                </c:pt>
                <c:pt idx="2601">
                  <c:v>38705</c:v>
                </c:pt>
                <c:pt idx="2602">
                  <c:v>38706</c:v>
                </c:pt>
                <c:pt idx="2603">
                  <c:v>38707</c:v>
                </c:pt>
                <c:pt idx="2604">
                  <c:v>38708</c:v>
                </c:pt>
                <c:pt idx="2605">
                  <c:v>38709</c:v>
                </c:pt>
                <c:pt idx="2606">
                  <c:v>38712</c:v>
                </c:pt>
                <c:pt idx="2607">
                  <c:v>38713</c:v>
                </c:pt>
                <c:pt idx="2608">
                  <c:v>38714</c:v>
                </c:pt>
                <c:pt idx="2609">
                  <c:v>38715</c:v>
                </c:pt>
                <c:pt idx="2610">
                  <c:v>38716</c:v>
                </c:pt>
                <c:pt idx="2611">
                  <c:v>38719</c:v>
                </c:pt>
                <c:pt idx="2612">
                  <c:v>38720</c:v>
                </c:pt>
                <c:pt idx="2613">
                  <c:v>38721</c:v>
                </c:pt>
                <c:pt idx="2614">
                  <c:v>38722</c:v>
                </c:pt>
                <c:pt idx="2615">
                  <c:v>38723</c:v>
                </c:pt>
                <c:pt idx="2616">
                  <c:v>38726</c:v>
                </c:pt>
                <c:pt idx="2617">
                  <c:v>38727</c:v>
                </c:pt>
                <c:pt idx="2618">
                  <c:v>38728</c:v>
                </c:pt>
                <c:pt idx="2619">
                  <c:v>38729</c:v>
                </c:pt>
                <c:pt idx="2620">
                  <c:v>38730</c:v>
                </c:pt>
                <c:pt idx="2621">
                  <c:v>38733</c:v>
                </c:pt>
                <c:pt idx="2622">
                  <c:v>38734</c:v>
                </c:pt>
                <c:pt idx="2623">
                  <c:v>38735</c:v>
                </c:pt>
                <c:pt idx="2624">
                  <c:v>38736</c:v>
                </c:pt>
                <c:pt idx="2625">
                  <c:v>38737</c:v>
                </c:pt>
                <c:pt idx="2626">
                  <c:v>38740</c:v>
                </c:pt>
                <c:pt idx="2627">
                  <c:v>38741</c:v>
                </c:pt>
                <c:pt idx="2628">
                  <c:v>38742</c:v>
                </c:pt>
                <c:pt idx="2629">
                  <c:v>38743</c:v>
                </c:pt>
                <c:pt idx="2630">
                  <c:v>38744</c:v>
                </c:pt>
                <c:pt idx="2631">
                  <c:v>38747</c:v>
                </c:pt>
                <c:pt idx="2632">
                  <c:v>38748</c:v>
                </c:pt>
                <c:pt idx="2633">
                  <c:v>38749</c:v>
                </c:pt>
                <c:pt idx="2634">
                  <c:v>38750</c:v>
                </c:pt>
                <c:pt idx="2635">
                  <c:v>38751</c:v>
                </c:pt>
                <c:pt idx="2636">
                  <c:v>38754</c:v>
                </c:pt>
                <c:pt idx="2637">
                  <c:v>38755</c:v>
                </c:pt>
                <c:pt idx="2638">
                  <c:v>38756</c:v>
                </c:pt>
                <c:pt idx="2639">
                  <c:v>38757</c:v>
                </c:pt>
                <c:pt idx="2640">
                  <c:v>38758</c:v>
                </c:pt>
                <c:pt idx="2641">
                  <c:v>38761</c:v>
                </c:pt>
                <c:pt idx="2642">
                  <c:v>38762</c:v>
                </c:pt>
                <c:pt idx="2643">
                  <c:v>38763</c:v>
                </c:pt>
                <c:pt idx="2644">
                  <c:v>38764</c:v>
                </c:pt>
                <c:pt idx="2645">
                  <c:v>38765</c:v>
                </c:pt>
                <c:pt idx="2646">
                  <c:v>38768</c:v>
                </c:pt>
                <c:pt idx="2647">
                  <c:v>38769</c:v>
                </c:pt>
                <c:pt idx="2648">
                  <c:v>38770</c:v>
                </c:pt>
                <c:pt idx="2649">
                  <c:v>38771</c:v>
                </c:pt>
                <c:pt idx="2650">
                  <c:v>38772</c:v>
                </c:pt>
                <c:pt idx="2651">
                  <c:v>38775</c:v>
                </c:pt>
                <c:pt idx="2652">
                  <c:v>38776</c:v>
                </c:pt>
                <c:pt idx="2653">
                  <c:v>38777</c:v>
                </c:pt>
                <c:pt idx="2654">
                  <c:v>38778</c:v>
                </c:pt>
                <c:pt idx="2655">
                  <c:v>38779</c:v>
                </c:pt>
                <c:pt idx="2656">
                  <c:v>38782</c:v>
                </c:pt>
                <c:pt idx="2657">
                  <c:v>38783</c:v>
                </c:pt>
                <c:pt idx="2658">
                  <c:v>38784</c:v>
                </c:pt>
                <c:pt idx="2659">
                  <c:v>38785</c:v>
                </c:pt>
                <c:pt idx="2660">
                  <c:v>38786</c:v>
                </c:pt>
                <c:pt idx="2661">
                  <c:v>38789</c:v>
                </c:pt>
                <c:pt idx="2662">
                  <c:v>38790</c:v>
                </c:pt>
                <c:pt idx="2663">
                  <c:v>38791</c:v>
                </c:pt>
                <c:pt idx="2664">
                  <c:v>38792</c:v>
                </c:pt>
                <c:pt idx="2665">
                  <c:v>38793</c:v>
                </c:pt>
                <c:pt idx="2666">
                  <c:v>38796</c:v>
                </c:pt>
                <c:pt idx="2667">
                  <c:v>38797</c:v>
                </c:pt>
                <c:pt idx="2668">
                  <c:v>38798</c:v>
                </c:pt>
                <c:pt idx="2669">
                  <c:v>38799</c:v>
                </c:pt>
                <c:pt idx="2670">
                  <c:v>38800</c:v>
                </c:pt>
                <c:pt idx="2671">
                  <c:v>38803</c:v>
                </c:pt>
                <c:pt idx="2672">
                  <c:v>38804</c:v>
                </c:pt>
                <c:pt idx="2673">
                  <c:v>38805</c:v>
                </c:pt>
                <c:pt idx="2674">
                  <c:v>38806</c:v>
                </c:pt>
                <c:pt idx="2675">
                  <c:v>38807</c:v>
                </c:pt>
                <c:pt idx="2676">
                  <c:v>38810</c:v>
                </c:pt>
                <c:pt idx="2677">
                  <c:v>38811</c:v>
                </c:pt>
                <c:pt idx="2678">
                  <c:v>38812</c:v>
                </c:pt>
                <c:pt idx="2679">
                  <c:v>38813</c:v>
                </c:pt>
                <c:pt idx="2680">
                  <c:v>38814</c:v>
                </c:pt>
                <c:pt idx="2681">
                  <c:v>38817</c:v>
                </c:pt>
                <c:pt idx="2682">
                  <c:v>38818</c:v>
                </c:pt>
                <c:pt idx="2683">
                  <c:v>38819</c:v>
                </c:pt>
                <c:pt idx="2684">
                  <c:v>38820</c:v>
                </c:pt>
                <c:pt idx="2685">
                  <c:v>38821</c:v>
                </c:pt>
                <c:pt idx="2686">
                  <c:v>38824</c:v>
                </c:pt>
                <c:pt idx="2687">
                  <c:v>38825</c:v>
                </c:pt>
                <c:pt idx="2688">
                  <c:v>38826</c:v>
                </c:pt>
                <c:pt idx="2689">
                  <c:v>38827</c:v>
                </c:pt>
                <c:pt idx="2690">
                  <c:v>38828</c:v>
                </c:pt>
                <c:pt idx="2691">
                  <c:v>38831</c:v>
                </c:pt>
                <c:pt idx="2692">
                  <c:v>38832</c:v>
                </c:pt>
                <c:pt idx="2693">
                  <c:v>38833</c:v>
                </c:pt>
                <c:pt idx="2694">
                  <c:v>38834</c:v>
                </c:pt>
                <c:pt idx="2695">
                  <c:v>38835</c:v>
                </c:pt>
                <c:pt idx="2696">
                  <c:v>38838</c:v>
                </c:pt>
                <c:pt idx="2697">
                  <c:v>38839</c:v>
                </c:pt>
                <c:pt idx="2698">
                  <c:v>38840</c:v>
                </c:pt>
                <c:pt idx="2699">
                  <c:v>38841</c:v>
                </c:pt>
                <c:pt idx="2700">
                  <c:v>38842</c:v>
                </c:pt>
                <c:pt idx="2701">
                  <c:v>38845</c:v>
                </c:pt>
                <c:pt idx="2702">
                  <c:v>38846</c:v>
                </c:pt>
                <c:pt idx="2703">
                  <c:v>38847</c:v>
                </c:pt>
                <c:pt idx="2704">
                  <c:v>38848</c:v>
                </c:pt>
                <c:pt idx="2705">
                  <c:v>38849</c:v>
                </c:pt>
                <c:pt idx="2706">
                  <c:v>38852</c:v>
                </c:pt>
                <c:pt idx="2707">
                  <c:v>38853</c:v>
                </c:pt>
                <c:pt idx="2708">
                  <c:v>38854</c:v>
                </c:pt>
                <c:pt idx="2709">
                  <c:v>38855</c:v>
                </c:pt>
                <c:pt idx="2710">
                  <c:v>38856</c:v>
                </c:pt>
                <c:pt idx="2711">
                  <c:v>38859</c:v>
                </c:pt>
                <c:pt idx="2712">
                  <c:v>38860</c:v>
                </c:pt>
                <c:pt idx="2713">
                  <c:v>38861</c:v>
                </c:pt>
                <c:pt idx="2714">
                  <c:v>38862</c:v>
                </c:pt>
                <c:pt idx="2715">
                  <c:v>38863</c:v>
                </c:pt>
                <c:pt idx="2716">
                  <c:v>38866</c:v>
                </c:pt>
                <c:pt idx="2717">
                  <c:v>38867</c:v>
                </c:pt>
                <c:pt idx="2718">
                  <c:v>38868</c:v>
                </c:pt>
                <c:pt idx="2719">
                  <c:v>38869</c:v>
                </c:pt>
                <c:pt idx="2720">
                  <c:v>38870</c:v>
                </c:pt>
                <c:pt idx="2721">
                  <c:v>38873</c:v>
                </c:pt>
                <c:pt idx="2722">
                  <c:v>38874</c:v>
                </c:pt>
                <c:pt idx="2723">
                  <c:v>38875</c:v>
                </c:pt>
                <c:pt idx="2724">
                  <c:v>38876</c:v>
                </c:pt>
                <c:pt idx="2725">
                  <c:v>38877</c:v>
                </c:pt>
                <c:pt idx="2726">
                  <c:v>38880</c:v>
                </c:pt>
                <c:pt idx="2727">
                  <c:v>38881</c:v>
                </c:pt>
                <c:pt idx="2728">
                  <c:v>38882</c:v>
                </c:pt>
                <c:pt idx="2729">
                  <c:v>38883</c:v>
                </c:pt>
                <c:pt idx="2730">
                  <c:v>38884</c:v>
                </c:pt>
                <c:pt idx="2731">
                  <c:v>38887</c:v>
                </c:pt>
                <c:pt idx="2732">
                  <c:v>38888</c:v>
                </c:pt>
                <c:pt idx="2733">
                  <c:v>38889</c:v>
                </c:pt>
                <c:pt idx="2734">
                  <c:v>38890</c:v>
                </c:pt>
                <c:pt idx="2735">
                  <c:v>38891</c:v>
                </c:pt>
                <c:pt idx="2736">
                  <c:v>38894</c:v>
                </c:pt>
                <c:pt idx="2737">
                  <c:v>38895</c:v>
                </c:pt>
                <c:pt idx="2738">
                  <c:v>38896</c:v>
                </c:pt>
                <c:pt idx="2739">
                  <c:v>38897</c:v>
                </c:pt>
                <c:pt idx="2740">
                  <c:v>38898</c:v>
                </c:pt>
                <c:pt idx="2741">
                  <c:v>38901</c:v>
                </c:pt>
                <c:pt idx="2742">
                  <c:v>38902</c:v>
                </c:pt>
                <c:pt idx="2743">
                  <c:v>38903</c:v>
                </c:pt>
                <c:pt idx="2744">
                  <c:v>38904</c:v>
                </c:pt>
                <c:pt idx="2745">
                  <c:v>38905</c:v>
                </c:pt>
                <c:pt idx="2746">
                  <c:v>38908</c:v>
                </c:pt>
                <c:pt idx="2747">
                  <c:v>38909</c:v>
                </c:pt>
                <c:pt idx="2748">
                  <c:v>38910</c:v>
                </c:pt>
                <c:pt idx="2749">
                  <c:v>38911</c:v>
                </c:pt>
                <c:pt idx="2750">
                  <c:v>38912</c:v>
                </c:pt>
                <c:pt idx="2751">
                  <c:v>38915</c:v>
                </c:pt>
                <c:pt idx="2752">
                  <c:v>38916</c:v>
                </c:pt>
                <c:pt idx="2753">
                  <c:v>38917</c:v>
                </c:pt>
                <c:pt idx="2754">
                  <c:v>38918</c:v>
                </c:pt>
                <c:pt idx="2755">
                  <c:v>38919</c:v>
                </c:pt>
                <c:pt idx="2756">
                  <c:v>38922</c:v>
                </c:pt>
                <c:pt idx="2757">
                  <c:v>38923</c:v>
                </c:pt>
                <c:pt idx="2758">
                  <c:v>38924</c:v>
                </c:pt>
                <c:pt idx="2759">
                  <c:v>38925</c:v>
                </c:pt>
                <c:pt idx="2760">
                  <c:v>38926</c:v>
                </c:pt>
                <c:pt idx="2761">
                  <c:v>38929</c:v>
                </c:pt>
                <c:pt idx="2762">
                  <c:v>38930</c:v>
                </c:pt>
                <c:pt idx="2763">
                  <c:v>38931</c:v>
                </c:pt>
                <c:pt idx="2764">
                  <c:v>38932</c:v>
                </c:pt>
                <c:pt idx="2765">
                  <c:v>38933</c:v>
                </c:pt>
                <c:pt idx="2766">
                  <c:v>38936</c:v>
                </c:pt>
                <c:pt idx="2767">
                  <c:v>38937</c:v>
                </c:pt>
                <c:pt idx="2768">
                  <c:v>38938</c:v>
                </c:pt>
                <c:pt idx="2769">
                  <c:v>38939</c:v>
                </c:pt>
                <c:pt idx="2770">
                  <c:v>38940</c:v>
                </c:pt>
                <c:pt idx="2771">
                  <c:v>38943</c:v>
                </c:pt>
                <c:pt idx="2772">
                  <c:v>38944</c:v>
                </c:pt>
                <c:pt idx="2773">
                  <c:v>38945</c:v>
                </c:pt>
                <c:pt idx="2774">
                  <c:v>38946</c:v>
                </c:pt>
                <c:pt idx="2775">
                  <c:v>38947</c:v>
                </c:pt>
                <c:pt idx="2776">
                  <c:v>38950</c:v>
                </c:pt>
                <c:pt idx="2777">
                  <c:v>38951</c:v>
                </c:pt>
                <c:pt idx="2778">
                  <c:v>38952</c:v>
                </c:pt>
                <c:pt idx="2779">
                  <c:v>38953</c:v>
                </c:pt>
                <c:pt idx="2780">
                  <c:v>38954</c:v>
                </c:pt>
                <c:pt idx="2781">
                  <c:v>38957</c:v>
                </c:pt>
                <c:pt idx="2782">
                  <c:v>38958</c:v>
                </c:pt>
                <c:pt idx="2783">
                  <c:v>38959</c:v>
                </c:pt>
                <c:pt idx="2784">
                  <c:v>38960</c:v>
                </c:pt>
                <c:pt idx="2785">
                  <c:v>38961</c:v>
                </c:pt>
                <c:pt idx="2786">
                  <c:v>38964</c:v>
                </c:pt>
                <c:pt idx="2787">
                  <c:v>38965</c:v>
                </c:pt>
                <c:pt idx="2788">
                  <c:v>38966</c:v>
                </c:pt>
                <c:pt idx="2789">
                  <c:v>38967</c:v>
                </c:pt>
                <c:pt idx="2790">
                  <c:v>38968</c:v>
                </c:pt>
                <c:pt idx="2791">
                  <c:v>38971</c:v>
                </c:pt>
                <c:pt idx="2792">
                  <c:v>38972</c:v>
                </c:pt>
                <c:pt idx="2793">
                  <c:v>38973</c:v>
                </c:pt>
                <c:pt idx="2794">
                  <c:v>38974</c:v>
                </c:pt>
                <c:pt idx="2795">
                  <c:v>38975</c:v>
                </c:pt>
                <c:pt idx="2796">
                  <c:v>38978</c:v>
                </c:pt>
                <c:pt idx="2797">
                  <c:v>38979</c:v>
                </c:pt>
                <c:pt idx="2798">
                  <c:v>38980</c:v>
                </c:pt>
                <c:pt idx="2799">
                  <c:v>38981</c:v>
                </c:pt>
                <c:pt idx="2800">
                  <c:v>38982</c:v>
                </c:pt>
                <c:pt idx="2801">
                  <c:v>38985</c:v>
                </c:pt>
                <c:pt idx="2802">
                  <c:v>38986</c:v>
                </c:pt>
                <c:pt idx="2803">
                  <c:v>38987</c:v>
                </c:pt>
                <c:pt idx="2804">
                  <c:v>38988</c:v>
                </c:pt>
                <c:pt idx="2805">
                  <c:v>38989</c:v>
                </c:pt>
                <c:pt idx="2806">
                  <c:v>38992</c:v>
                </c:pt>
                <c:pt idx="2807">
                  <c:v>38993</c:v>
                </c:pt>
                <c:pt idx="2808">
                  <c:v>38994</c:v>
                </c:pt>
                <c:pt idx="2809">
                  <c:v>38995</c:v>
                </c:pt>
                <c:pt idx="2810">
                  <c:v>38996</c:v>
                </c:pt>
                <c:pt idx="2811">
                  <c:v>38999</c:v>
                </c:pt>
                <c:pt idx="2812">
                  <c:v>39000</c:v>
                </c:pt>
                <c:pt idx="2813">
                  <c:v>39001</c:v>
                </c:pt>
                <c:pt idx="2814">
                  <c:v>39002</c:v>
                </c:pt>
                <c:pt idx="2815">
                  <c:v>39003</c:v>
                </c:pt>
                <c:pt idx="2816">
                  <c:v>39006</c:v>
                </c:pt>
                <c:pt idx="2817">
                  <c:v>39007</c:v>
                </c:pt>
                <c:pt idx="2818">
                  <c:v>39008</c:v>
                </c:pt>
                <c:pt idx="2819">
                  <c:v>39009</c:v>
                </c:pt>
                <c:pt idx="2820">
                  <c:v>39010</c:v>
                </c:pt>
                <c:pt idx="2821">
                  <c:v>39013</c:v>
                </c:pt>
                <c:pt idx="2822">
                  <c:v>39014</c:v>
                </c:pt>
                <c:pt idx="2823">
                  <c:v>39015</c:v>
                </c:pt>
                <c:pt idx="2824">
                  <c:v>39016</c:v>
                </c:pt>
                <c:pt idx="2825">
                  <c:v>39017</c:v>
                </c:pt>
                <c:pt idx="2826">
                  <c:v>39020</c:v>
                </c:pt>
                <c:pt idx="2827">
                  <c:v>39021</c:v>
                </c:pt>
                <c:pt idx="2828">
                  <c:v>39022</c:v>
                </c:pt>
                <c:pt idx="2829">
                  <c:v>39023</c:v>
                </c:pt>
                <c:pt idx="2830">
                  <c:v>39024</c:v>
                </c:pt>
                <c:pt idx="2831">
                  <c:v>39027</c:v>
                </c:pt>
                <c:pt idx="2832">
                  <c:v>39028</c:v>
                </c:pt>
                <c:pt idx="2833">
                  <c:v>39029</c:v>
                </c:pt>
                <c:pt idx="2834">
                  <c:v>39030</c:v>
                </c:pt>
                <c:pt idx="2835">
                  <c:v>39031</c:v>
                </c:pt>
                <c:pt idx="2836">
                  <c:v>39034</c:v>
                </c:pt>
                <c:pt idx="2837">
                  <c:v>39035</c:v>
                </c:pt>
                <c:pt idx="2838">
                  <c:v>39036</c:v>
                </c:pt>
                <c:pt idx="2839">
                  <c:v>39037</c:v>
                </c:pt>
                <c:pt idx="2840">
                  <c:v>39038</c:v>
                </c:pt>
                <c:pt idx="2841">
                  <c:v>39041</c:v>
                </c:pt>
                <c:pt idx="2842">
                  <c:v>39042</c:v>
                </c:pt>
                <c:pt idx="2843">
                  <c:v>39043</c:v>
                </c:pt>
                <c:pt idx="2844">
                  <c:v>39044</c:v>
                </c:pt>
                <c:pt idx="2845">
                  <c:v>39045</c:v>
                </c:pt>
                <c:pt idx="2846">
                  <c:v>39048</c:v>
                </c:pt>
                <c:pt idx="2847">
                  <c:v>39049</c:v>
                </c:pt>
                <c:pt idx="2848">
                  <c:v>39050</c:v>
                </c:pt>
                <c:pt idx="2849">
                  <c:v>39051</c:v>
                </c:pt>
                <c:pt idx="2850">
                  <c:v>39052</c:v>
                </c:pt>
                <c:pt idx="2851">
                  <c:v>39055</c:v>
                </c:pt>
                <c:pt idx="2852">
                  <c:v>39056</c:v>
                </c:pt>
                <c:pt idx="2853">
                  <c:v>39057</c:v>
                </c:pt>
                <c:pt idx="2854">
                  <c:v>39058</c:v>
                </c:pt>
                <c:pt idx="2855">
                  <c:v>39059</c:v>
                </c:pt>
                <c:pt idx="2856">
                  <c:v>39062</c:v>
                </c:pt>
                <c:pt idx="2857">
                  <c:v>39063</c:v>
                </c:pt>
                <c:pt idx="2858">
                  <c:v>39064</c:v>
                </c:pt>
                <c:pt idx="2859">
                  <c:v>39065</c:v>
                </c:pt>
                <c:pt idx="2860">
                  <c:v>39066</c:v>
                </c:pt>
                <c:pt idx="2861">
                  <c:v>39069</c:v>
                </c:pt>
                <c:pt idx="2862">
                  <c:v>39070</c:v>
                </c:pt>
                <c:pt idx="2863">
                  <c:v>39071</c:v>
                </c:pt>
                <c:pt idx="2864">
                  <c:v>39072</c:v>
                </c:pt>
                <c:pt idx="2865">
                  <c:v>39073</c:v>
                </c:pt>
                <c:pt idx="2866">
                  <c:v>39076</c:v>
                </c:pt>
                <c:pt idx="2867">
                  <c:v>39077</c:v>
                </c:pt>
                <c:pt idx="2868">
                  <c:v>39078</c:v>
                </c:pt>
                <c:pt idx="2869">
                  <c:v>39079</c:v>
                </c:pt>
                <c:pt idx="2870">
                  <c:v>39080</c:v>
                </c:pt>
                <c:pt idx="2871">
                  <c:v>39084</c:v>
                </c:pt>
                <c:pt idx="2872">
                  <c:v>39085</c:v>
                </c:pt>
                <c:pt idx="2873">
                  <c:v>39086</c:v>
                </c:pt>
                <c:pt idx="2874">
                  <c:v>39087</c:v>
                </c:pt>
                <c:pt idx="2875">
                  <c:v>39090</c:v>
                </c:pt>
                <c:pt idx="2876">
                  <c:v>39091</c:v>
                </c:pt>
                <c:pt idx="2877">
                  <c:v>39092</c:v>
                </c:pt>
                <c:pt idx="2878">
                  <c:v>39093</c:v>
                </c:pt>
                <c:pt idx="2879">
                  <c:v>39094</c:v>
                </c:pt>
                <c:pt idx="2880">
                  <c:v>39097</c:v>
                </c:pt>
                <c:pt idx="2881">
                  <c:v>39098</c:v>
                </c:pt>
                <c:pt idx="2882">
                  <c:v>39099</c:v>
                </c:pt>
                <c:pt idx="2883">
                  <c:v>39100</c:v>
                </c:pt>
                <c:pt idx="2884">
                  <c:v>39101</c:v>
                </c:pt>
                <c:pt idx="2885">
                  <c:v>39104</c:v>
                </c:pt>
                <c:pt idx="2886">
                  <c:v>39105</c:v>
                </c:pt>
                <c:pt idx="2887">
                  <c:v>39106</c:v>
                </c:pt>
                <c:pt idx="2888">
                  <c:v>39107</c:v>
                </c:pt>
                <c:pt idx="2889">
                  <c:v>39108</c:v>
                </c:pt>
                <c:pt idx="2890">
                  <c:v>39111</c:v>
                </c:pt>
                <c:pt idx="2891">
                  <c:v>39112</c:v>
                </c:pt>
                <c:pt idx="2892">
                  <c:v>39113</c:v>
                </c:pt>
                <c:pt idx="2893">
                  <c:v>39114</c:v>
                </c:pt>
                <c:pt idx="2894">
                  <c:v>39115</c:v>
                </c:pt>
                <c:pt idx="2895">
                  <c:v>39118</c:v>
                </c:pt>
                <c:pt idx="2896">
                  <c:v>39119</c:v>
                </c:pt>
                <c:pt idx="2897">
                  <c:v>39120</c:v>
                </c:pt>
                <c:pt idx="2898">
                  <c:v>39121</c:v>
                </c:pt>
                <c:pt idx="2899">
                  <c:v>39122</c:v>
                </c:pt>
                <c:pt idx="2900">
                  <c:v>39125</c:v>
                </c:pt>
                <c:pt idx="2901">
                  <c:v>39126</c:v>
                </c:pt>
                <c:pt idx="2902">
                  <c:v>39127</c:v>
                </c:pt>
                <c:pt idx="2903">
                  <c:v>39128</c:v>
                </c:pt>
                <c:pt idx="2904">
                  <c:v>39129</c:v>
                </c:pt>
                <c:pt idx="2905">
                  <c:v>39132</c:v>
                </c:pt>
                <c:pt idx="2906">
                  <c:v>39133</c:v>
                </c:pt>
                <c:pt idx="2907">
                  <c:v>39134</c:v>
                </c:pt>
                <c:pt idx="2908">
                  <c:v>39135</c:v>
                </c:pt>
                <c:pt idx="2909">
                  <c:v>39136</c:v>
                </c:pt>
                <c:pt idx="2910">
                  <c:v>39139</c:v>
                </c:pt>
                <c:pt idx="2911">
                  <c:v>39140</c:v>
                </c:pt>
                <c:pt idx="2912">
                  <c:v>39141</c:v>
                </c:pt>
                <c:pt idx="2913">
                  <c:v>39142</c:v>
                </c:pt>
                <c:pt idx="2914">
                  <c:v>39143</c:v>
                </c:pt>
                <c:pt idx="2915">
                  <c:v>39146</c:v>
                </c:pt>
                <c:pt idx="2916">
                  <c:v>39147</c:v>
                </c:pt>
                <c:pt idx="2917">
                  <c:v>39148</c:v>
                </c:pt>
                <c:pt idx="2918">
                  <c:v>39149</c:v>
                </c:pt>
                <c:pt idx="2919">
                  <c:v>39150</c:v>
                </c:pt>
                <c:pt idx="2920">
                  <c:v>39153</c:v>
                </c:pt>
                <c:pt idx="2921">
                  <c:v>39154</c:v>
                </c:pt>
                <c:pt idx="2922">
                  <c:v>39155</c:v>
                </c:pt>
                <c:pt idx="2923">
                  <c:v>39156</c:v>
                </c:pt>
                <c:pt idx="2924">
                  <c:v>39157</c:v>
                </c:pt>
                <c:pt idx="2925">
                  <c:v>39160</c:v>
                </c:pt>
                <c:pt idx="2926">
                  <c:v>39161</c:v>
                </c:pt>
                <c:pt idx="2927">
                  <c:v>39162</c:v>
                </c:pt>
                <c:pt idx="2928">
                  <c:v>39163</c:v>
                </c:pt>
                <c:pt idx="2929">
                  <c:v>39164</c:v>
                </c:pt>
                <c:pt idx="2930">
                  <c:v>39167</c:v>
                </c:pt>
                <c:pt idx="2931">
                  <c:v>39168</c:v>
                </c:pt>
                <c:pt idx="2932">
                  <c:v>39169</c:v>
                </c:pt>
                <c:pt idx="2933">
                  <c:v>39170</c:v>
                </c:pt>
                <c:pt idx="2934">
                  <c:v>39171</c:v>
                </c:pt>
                <c:pt idx="2935">
                  <c:v>39174</c:v>
                </c:pt>
                <c:pt idx="2936">
                  <c:v>39175</c:v>
                </c:pt>
                <c:pt idx="2937">
                  <c:v>39176</c:v>
                </c:pt>
                <c:pt idx="2938">
                  <c:v>39177</c:v>
                </c:pt>
                <c:pt idx="2939">
                  <c:v>39178</c:v>
                </c:pt>
                <c:pt idx="2940">
                  <c:v>39181</c:v>
                </c:pt>
                <c:pt idx="2941">
                  <c:v>39182</c:v>
                </c:pt>
                <c:pt idx="2942">
                  <c:v>39183</c:v>
                </c:pt>
                <c:pt idx="2943">
                  <c:v>39184</c:v>
                </c:pt>
                <c:pt idx="2944">
                  <c:v>39185</c:v>
                </c:pt>
                <c:pt idx="2945">
                  <c:v>39188</c:v>
                </c:pt>
                <c:pt idx="2946">
                  <c:v>39189</c:v>
                </c:pt>
                <c:pt idx="2947">
                  <c:v>39190</c:v>
                </c:pt>
                <c:pt idx="2948">
                  <c:v>39191</c:v>
                </c:pt>
                <c:pt idx="2949">
                  <c:v>39192</c:v>
                </c:pt>
                <c:pt idx="2950">
                  <c:v>39195</c:v>
                </c:pt>
                <c:pt idx="2951">
                  <c:v>39196</c:v>
                </c:pt>
                <c:pt idx="2952">
                  <c:v>39197</c:v>
                </c:pt>
                <c:pt idx="2953">
                  <c:v>39198</c:v>
                </c:pt>
                <c:pt idx="2954">
                  <c:v>39199</c:v>
                </c:pt>
                <c:pt idx="2955">
                  <c:v>39202</c:v>
                </c:pt>
                <c:pt idx="2956">
                  <c:v>39203</c:v>
                </c:pt>
                <c:pt idx="2957">
                  <c:v>39204</c:v>
                </c:pt>
                <c:pt idx="2958">
                  <c:v>39205</c:v>
                </c:pt>
                <c:pt idx="2959">
                  <c:v>39206</c:v>
                </c:pt>
                <c:pt idx="2960">
                  <c:v>39209</c:v>
                </c:pt>
                <c:pt idx="2961">
                  <c:v>39210</c:v>
                </c:pt>
                <c:pt idx="2962">
                  <c:v>39211</c:v>
                </c:pt>
                <c:pt idx="2963">
                  <c:v>39212</c:v>
                </c:pt>
                <c:pt idx="2964">
                  <c:v>39213</c:v>
                </c:pt>
                <c:pt idx="2965">
                  <c:v>39216</c:v>
                </c:pt>
                <c:pt idx="2966">
                  <c:v>39217</c:v>
                </c:pt>
                <c:pt idx="2967">
                  <c:v>39218</c:v>
                </c:pt>
                <c:pt idx="2968">
                  <c:v>39219</c:v>
                </c:pt>
                <c:pt idx="2969">
                  <c:v>39220</c:v>
                </c:pt>
                <c:pt idx="2970">
                  <c:v>39223</c:v>
                </c:pt>
                <c:pt idx="2971">
                  <c:v>39224</c:v>
                </c:pt>
                <c:pt idx="2972">
                  <c:v>39225</c:v>
                </c:pt>
                <c:pt idx="2973">
                  <c:v>39226</c:v>
                </c:pt>
                <c:pt idx="2974">
                  <c:v>39227</c:v>
                </c:pt>
                <c:pt idx="2975">
                  <c:v>39230</c:v>
                </c:pt>
                <c:pt idx="2976">
                  <c:v>39231</c:v>
                </c:pt>
                <c:pt idx="2977">
                  <c:v>39232</c:v>
                </c:pt>
                <c:pt idx="2978">
                  <c:v>39233</c:v>
                </c:pt>
                <c:pt idx="2979">
                  <c:v>39234</c:v>
                </c:pt>
                <c:pt idx="2980">
                  <c:v>39237</c:v>
                </c:pt>
                <c:pt idx="2981">
                  <c:v>39238</c:v>
                </c:pt>
                <c:pt idx="2982">
                  <c:v>39239</c:v>
                </c:pt>
                <c:pt idx="2983">
                  <c:v>39240</c:v>
                </c:pt>
                <c:pt idx="2984">
                  <c:v>39241</c:v>
                </c:pt>
                <c:pt idx="2985">
                  <c:v>39244</c:v>
                </c:pt>
                <c:pt idx="2986">
                  <c:v>39245</c:v>
                </c:pt>
                <c:pt idx="2987">
                  <c:v>39246</c:v>
                </c:pt>
                <c:pt idx="2988">
                  <c:v>39247</c:v>
                </c:pt>
                <c:pt idx="2989">
                  <c:v>39248</c:v>
                </c:pt>
                <c:pt idx="2990">
                  <c:v>39251</c:v>
                </c:pt>
                <c:pt idx="2991">
                  <c:v>39252</c:v>
                </c:pt>
                <c:pt idx="2992">
                  <c:v>39253</c:v>
                </c:pt>
                <c:pt idx="2993">
                  <c:v>39254</c:v>
                </c:pt>
                <c:pt idx="2994">
                  <c:v>39255</c:v>
                </c:pt>
                <c:pt idx="2995">
                  <c:v>39258</c:v>
                </c:pt>
                <c:pt idx="2996">
                  <c:v>39259</c:v>
                </c:pt>
                <c:pt idx="2997">
                  <c:v>39260</c:v>
                </c:pt>
                <c:pt idx="2998">
                  <c:v>39261</c:v>
                </c:pt>
                <c:pt idx="2999">
                  <c:v>39262</c:v>
                </c:pt>
                <c:pt idx="3000">
                  <c:v>39265</c:v>
                </c:pt>
                <c:pt idx="3001">
                  <c:v>39266</c:v>
                </c:pt>
                <c:pt idx="3002">
                  <c:v>39267</c:v>
                </c:pt>
                <c:pt idx="3003">
                  <c:v>39268</c:v>
                </c:pt>
                <c:pt idx="3004">
                  <c:v>39269</c:v>
                </c:pt>
                <c:pt idx="3005">
                  <c:v>39272</c:v>
                </c:pt>
                <c:pt idx="3006">
                  <c:v>39273</c:v>
                </c:pt>
                <c:pt idx="3007">
                  <c:v>39274</c:v>
                </c:pt>
                <c:pt idx="3008">
                  <c:v>39275</c:v>
                </c:pt>
                <c:pt idx="3009">
                  <c:v>39276</c:v>
                </c:pt>
                <c:pt idx="3010">
                  <c:v>39279</c:v>
                </c:pt>
                <c:pt idx="3011">
                  <c:v>39280</c:v>
                </c:pt>
                <c:pt idx="3012">
                  <c:v>39281</c:v>
                </c:pt>
                <c:pt idx="3013">
                  <c:v>39282</c:v>
                </c:pt>
                <c:pt idx="3014">
                  <c:v>39283</c:v>
                </c:pt>
                <c:pt idx="3015">
                  <c:v>39286</c:v>
                </c:pt>
                <c:pt idx="3016">
                  <c:v>39287</c:v>
                </c:pt>
                <c:pt idx="3017">
                  <c:v>39288</c:v>
                </c:pt>
                <c:pt idx="3018">
                  <c:v>39289</c:v>
                </c:pt>
                <c:pt idx="3019">
                  <c:v>39290</c:v>
                </c:pt>
                <c:pt idx="3020">
                  <c:v>39293</c:v>
                </c:pt>
                <c:pt idx="3021">
                  <c:v>39294</c:v>
                </c:pt>
                <c:pt idx="3022">
                  <c:v>39295</c:v>
                </c:pt>
                <c:pt idx="3023">
                  <c:v>39296</c:v>
                </c:pt>
                <c:pt idx="3024">
                  <c:v>39297</c:v>
                </c:pt>
                <c:pt idx="3025">
                  <c:v>39300</c:v>
                </c:pt>
                <c:pt idx="3026">
                  <c:v>39301</c:v>
                </c:pt>
                <c:pt idx="3027">
                  <c:v>39302</c:v>
                </c:pt>
                <c:pt idx="3028">
                  <c:v>39303</c:v>
                </c:pt>
                <c:pt idx="3029">
                  <c:v>39304</c:v>
                </c:pt>
                <c:pt idx="3030">
                  <c:v>39307</c:v>
                </c:pt>
                <c:pt idx="3031">
                  <c:v>39308</c:v>
                </c:pt>
                <c:pt idx="3032">
                  <c:v>39309</c:v>
                </c:pt>
                <c:pt idx="3033">
                  <c:v>39310</c:v>
                </c:pt>
                <c:pt idx="3034">
                  <c:v>39311</c:v>
                </c:pt>
                <c:pt idx="3035">
                  <c:v>39314</c:v>
                </c:pt>
                <c:pt idx="3036">
                  <c:v>39315</c:v>
                </c:pt>
                <c:pt idx="3037">
                  <c:v>39316</c:v>
                </c:pt>
                <c:pt idx="3038">
                  <c:v>39317</c:v>
                </c:pt>
                <c:pt idx="3039">
                  <c:v>39318</c:v>
                </c:pt>
                <c:pt idx="3040">
                  <c:v>39321</c:v>
                </c:pt>
                <c:pt idx="3041">
                  <c:v>39322</c:v>
                </c:pt>
                <c:pt idx="3042">
                  <c:v>39323</c:v>
                </c:pt>
                <c:pt idx="3043">
                  <c:v>39324</c:v>
                </c:pt>
                <c:pt idx="3044">
                  <c:v>39325</c:v>
                </c:pt>
                <c:pt idx="3045">
                  <c:v>39328</c:v>
                </c:pt>
                <c:pt idx="3046">
                  <c:v>39329</c:v>
                </c:pt>
                <c:pt idx="3047">
                  <c:v>39330</c:v>
                </c:pt>
                <c:pt idx="3048">
                  <c:v>39331</c:v>
                </c:pt>
                <c:pt idx="3049">
                  <c:v>39332</c:v>
                </c:pt>
                <c:pt idx="3050">
                  <c:v>39335</c:v>
                </c:pt>
                <c:pt idx="3051">
                  <c:v>39336</c:v>
                </c:pt>
                <c:pt idx="3052">
                  <c:v>39337</c:v>
                </c:pt>
                <c:pt idx="3053">
                  <c:v>39338</c:v>
                </c:pt>
                <c:pt idx="3054">
                  <c:v>39339</c:v>
                </c:pt>
                <c:pt idx="3055">
                  <c:v>39342</c:v>
                </c:pt>
                <c:pt idx="3056">
                  <c:v>39343</c:v>
                </c:pt>
                <c:pt idx="3057">
                  <c:v>39344</c:v>
                </c:pt>
                <c:pt idx="3058">
                  <c:v>39345</c:v>
                </c:pt>
                <c:pt idx="3059">
                  <c:v>39346</c:v>
                </c:pt>
                <c:pt idx="3060">
                  <c:v>39349</c:v>
                </c:pt>
                <c:pt idx="3061">
                  <c:v>39350</c:v>
                </c:pt>
                <c:pt idx="3062">
                  <c:v>39351</c:v>
                </c:pt>
                <c:pt idx="3063">
                  <c:v>39352</c:v>
                </c:pt>
                <c:pt idx="3064">
                  <c:v>39353</c:v>
                </c:pt>
                <c:pt idx="3065">
                  <c:v>39356</c:v>
                </c:pt>
                <c:pt idx="3066">
                  <c:v>39357</c:v>
                </c:pt>
                <c:pt idx="3067">
                  <c:v>39358</c:v>
                </c:pt>
                <c:pt idx="3068">
                  <c:v>39359</c:v>
                </c:pt>
                <c:pt idx="3069">
                  <c:v>39360</c:v>
                </c:pt>
                <c:pt idx="3070">
                  <c:v>39363</c:v>
                </c:pt>
                <c:pt idx="3071">
                  <c:v>39364</c:v>
                </c:pt>
                <c:pt idx="3072">
                  <c:v>39365</c:v>
                </c:pt>
                <c:pt idx="3073">
                  <c:v>39366</c:v>
                </c:pt>
                <c:pt idx="3074">
                  <c:v>39367</c:v>
                </c:pt>
                <c:pt idx="3075">
                  <c:v>39370</c:v>
                </c:pt>
                <c:pt idx="3076">
                  <c:v>39371</c:v>
                </c:pt>
                <c:pt idx="3077">
                  <c:v>39372</c:v>
                </c:pt>
                <c:pt idx="3078">
                  <c:v>39373</c:v>
                </c:pt>
                <c:pt idx="3079">
                  <c:v>39374</c:v>
                </c:pt>
                <c:pt idx="3080">
                  <c:v>39377</c:v>
                </c:pt>
                <c:pt idx="3081">
                  <c:v>39378</c:v>
                </c:pt>
                <c:pt idx="3082">
                  <c:v>39379</c:v>
                </c:pt>
                <c:pt idx="3083">
                  <c:v>39380</c:v>
                </c:pt>
                <c:pt idx="3084">
                  <c:v>39381</c:v>
                </c:pt>
                <c:pt idx="3085">
                  <c:v>39384</c:v>
                </c:pt>
                <c:pt idx="3086">
                  <c:v>39385</c:v>
                </c:pt>
                <c:pt idx="3087">
                  <c:v>39386</c:v>
                </c:pt>
                <c:pt idx="3088">
                  <c:v>39387</c:v>
                </c:pt>
                <c:pt idx="3089">
                  <c:v>39388</c:v>
                </c:pt>
                <c:pt idx="3090">
                  <c:v>39391</c:v>
                </c:pt>
                <c:pt idx="3091">
                  <c:v>39392</c:v>
                </c:pt>
                <c:pt idx="3092">
                  <c:v>39393</c:v>
                </c:pt>
                <c:pt idx="3093">
                  <c:v>39394</c:v>
                </c:pt>
                <c:pt idx="3094">
                  <c:v>39395</c:v>
                </c:pt>
                <c:pt idx="3095">
                  <c:v>39398</c:v>
                </c:pt>
                <c:pt idx="3096">
                  <c:v>39399</c:v>
                </c:pt>
                <c:pt idx="3097">
                  <c:v>39400</c:v>
                </c:pt>
                <c:pt idx="3098">
                  <c:v>39401</c:v>
                </c:pt>
                <c:pt idx="3099">
                  <c:v>39402</c:v>
                </c:pt>
                <c:pt idx="3100">
                  <c:v>39405</c:v>
                </c:pt>
                <c:pt idx="3101">
                  <c:v>39406</c:v>
                </c:pt>
                <c:pt idx="3102">
                  <c:v>39407</c:v>
                </c:pt>
                <c:pt idx="3103">
                  <c:v>39408</c:v>
                </c:pt>
                <c:pt idx="3104">
                  <c:v>39409</c:v>
                </c:pt>
                <c:pt idx="3105">
                  <c:v>39412</c:v>
                </c:pt>
                <c:pt idx="3106">
                  <c:v>39413</c:v>
                </c:pt>
                <c:pt idx="3107">
                  <c:v>39414</c:v>
                </c:pt>
                <c:pt idx="3108">
                  <c:v>39415</c:v>
                </c:pt>
                <c:pt idx="3109">
                  <c:v>39416</c:v>
                </c:pt>
                <c:pt idx="3110">
                  <c:v>39419</c:v>
                </c:pt>
                <c:pt idx="3111">
                  <c:v>39420</c:v>
                </c:pt>
                <c:pt idx="3112">
                  <c:v>39421</c:v>
                </c:pt>
                <c:pt idx="3113">
                  <c:v>39422</c:v>
                </c:pt>
                <c:pt idx="3114">
                  <c:v>39423</c:v>
                </c:pt>
                <c:pt idx="3115">
                  <c:v>39426</c:v>
                </c:pt>
                <c:pt idx="3116">
                  <c:v>39427</c:v>
                </c:pt>
                <c:pt idx="3117">
                  <c:v>39428</c:v>
                </c:pt>
                <c:pt idx="3118">
                  <c:v>39429</c:v>
                </c:pt>
                <c:pt idx="3119">
                  <c:v>39430</c:v>
                </c:pt>
                <c:pt idx="3120">
                  <c:v>39433</c:v>
                </c:pt>
                <c:pt idx="3121">
                  <c:v>39434</c:v>
                </c:pt>
                <c:pt idx="3122">
                  <c:v>39435</c:v>
                </c:pt>
                <c:pt idx="3123">
                  <c:v>39436</c:v>
                </c:pt>
                <c:pt idx="3124">
                  <c:v>39437</c:v>
                </c:pt>
                <c:pt idx="3125">
                  <c:v>39440</c:v>
                </c:pt>
                <c:pt idx="3126">
                  <c:v>39441</c:v>
                </c:pt>
                <c:pt idx="3127">
                  <c:v>39442</c:v>
                </c:pt>
                <c:pt idx="3128">
                  <c:v>39443</c:v>
                </c:pt>
                <c:pt idx="3129">
                  <c:v>39444</c:v>
                </c:pt>
                <c:pt idx="3130">
                  <c:v>39447</c:v>
                </c:pt>
                <c:pt idx="3131">
                  <c:v>39448</c:v>
                </c:pt>
                <c:pt idx="3132">
                  <c:v>39449</c:v>
                </c:pt>
                <c:pt idx="3133">
                  <c:v>39450</c:v>
                </c:pt>
                <c:pt idx="3134">
                  <c:v>39451</c:v>
                </c:pt>
                <c:pt idx="3135">
                  <c:v>39454</c:v>
                </c:pt>
                <c:pt idx="3136">
                  <c:v>39455</c:v>
                </c:pt>
                <c:pt idx="3137">
                  <c:v>39456</c:v>
                </c:pt>
                <c:pt idx="3138">
                  <c:v>39457</c:v>
                </c:pt>
                <c:pt idx="3139">
                  <c:v>39458</c:v>
                </c:pt>
                <c:pt idx="3140">
                  <c:v>39461</c:v>
                </c:pt>
                <c:pt idx="3141">
                  <c:v>39462</c:v>
                </c:pt>
                <c:pt idx="3142">
                  <c:v>39463</c:v>
                </c:pt>
                <c:pt idx="3143">
                  <c:v>39464</c:v>
                </c:pt>
                <c:pt idx="3144">
                  <c:v>39465</c:v>
                </c:pt>
                <c:pt idx="3145">
                  <c:v>39468</c:v>
                </c:pt>
                <c:pt idx="3146">
                  <c:v>39469</c:v>
                </c:pt>
                <c:pt idx="3147">
                  <c:v>39470</c:v>
                </c:pt>
                <c:pt idx="3148">
                  <c:v>39471</c:v>
                </c:pt>
                <c:pt idx="3149">
                  <c:v>39472</c:v>
                </c:pt>
                <c:pt idx="3150">
                  <c:v>39475</c:v>
                </c:pt>
                <c:pt idx="3151">
                  <c:v>39476</c:v>
                </c:pt>
                <c:pt idx="3152">
                  <c:v>39477</c:v>
                </c:pt>
                <c:pt idx="3153">
                  <c:v>39478</c:v>
                </c:pt>
                <c:pt idx="3154">
                  <c:v>39479</c:v>
                </c:pt>
                <c:pt idx="3155">
                  <c:v>39482</c:v>
                </c:pt>
                <c:pt idx="3156">
                  <c:v>39483</c:v>
                </c:pt>
                <c:pt idx="3157">
                  <c:v>39484</c:v>
                </c:pt>
                <c:pt idx="3158">
                  <c:v>39485</c:v>
                </c:pt>
                <c:pt idx="3159">
                  <c:v>39486</c:v>
                </c:pt>
                <c:pt idx="3160">
                  <c:v>39489</c:v>
                </c:pt>
                <c:pt idx="3161">
                  <c:v>39490</c:v>
                </c:pt>
                <c:pt idx="3162">
                  <c:v>39491</c:v>
                </c:pt>
                <c:pt idx="3163">
                  <c:v>39492</c:v>
                </c:pt>
                <c:pt idx="3164">
                  <c:v>39493</c:v>
                </c:pt>
                <c:pt idx="3165">
                  <c:v>39496</c:v>
                </c:pt>
                <c:pt idx="3166">
                  <c:v>39497</c:v>
                </c:pt>
                <c:pt idx="3167">
                  <c:v>39498</c:v>
                </c:pt>
                <c:pt idx="3168">
                  <c:v>39499</c:v>
                </c:pt>
                <c:pt idx="3169">
                  <c:v>39500</c:v>
                </c:pt>
                <c:pt idx="3170">
                  <c:v>39503</c:v>
                </c:pt>
                <c:pt idx="3171">
                  <c:v>39504</c:v>
                </c:pt>
                <c:pt idx="3172">
                  <c:v>39505</c:v>
                </c:pt>
                <c:pt idx="3173">
                  <c:v>39506</c:v>
                </c:pt>
                <c:pt idx="3174">
                  <c:v>39507</c:v>
                </c:pt>
                <c:pt idx="3175">
                  <c:v>39510</c:v>
                </c:pt>
                <c:pt idx="3176">
                  <c:v>39511</c:v>
                </c:pt>
                <c:pt idx="3177">
                  <c:v>39512</c:v>
                </c:pt>
                <c:pt idx="3178">
                  <c:v>39513</c:v>
                </c:pt>
                <c:pt idx="3179">
                  <c:v>39514</c:v>
                </c:pt>
                <c:pt idx="3180">
                  <c:v>39517</c:v>
                </c:pt>
                <c:pt idx="3181">
                  <c:v>39518</c:v>
                </c:pt>
                <c:pt idx="3182">
                  <c:v>39519</c:v>
                </c:pt>
                <c:pt idx="3183">
                  <c:v>39520</c:v>
                </c:pt>
                <c:pt idx="3184">
                  <c:v>39521</c:v>
                </c:pt>
                <c:pt idx="3185">
                  <c:v>39524</c:v>
                </c:pt>
                <c:pt idx="3186">
                  <c:v>39525</c:v>
                </c:pt>
                <c:pt idx="3187">
                  <c:v>39526</c:v>
                </c:pt>
                <c:pt idx="3188">
                  <c:v>39527</c:v>
                </c:pt>
                <c:pt idx="3189">
                  <c:v>39528</c:v>
                </c:pt>
                <c:pt idx="3190">
                  <c:v>39531</c:v>
                </c:pt>
                <c:pt idx="3191">
                  <c:v>39532</c:v>
                </c:pt>
                <c:pt idx="3192">
                  <c:v>39533</c:v>
                </c:pt>
                <c:pt idx="3193">
                  <c:v>39534</c:v>
                </c:pt>
                <c:pt idx="3194">
                  <c:v>39535</c:v>
                </c:pt>
                <c:pt idx="3195">
                  <c:v>39538</c:v>
                </c:pt>
                <c:pt idx="3196">
                  <c:v>39539</c:v>
                </c:pt>
                <c:pt idx="3197">
                  <c:v>39540</c:v>
                </c:pt>
                <c:pt idx="3198">
                  <c:v>39541</c:v>
                </c:pt>
                <c:pt idx="3199">
                  <c:v>39542</c:v>
                </c:pt>
                <c:pt idx="3200">
                  <c:v>39545</c:v>
                </c:pt>
                <c:pt idx="3201">
                  <c:v>39546</c:v>
                </c:pt>
                <c:pt idx="3202">
                  <c:v>39547</c:v>
                </c:pt>
                <c:pt idx="3203">
                  <c:v>39548</c:v>
                </c:pt>
                <c:pt idx="3204">
                  <c:v>39549</c:v>
                </c:pt>
                <c:pt idx="3205">
                  <c:v>39552</c:v>
                </c:pt>
                <c:pt idx="3206">
                  <c:v>39553</c:v>
                </c:pt>
                <c:pt idx="3207">
                  <c:v>39554</c:v>
                </c:pt>
                <c:pt idx="3208">
                  <c:v>39555</c:v>
                </c:pt>
                <c:pt idx="3209">
                  <c:v>39556</c:v>
                </c:pt>
                <c:pt idx="3210">
                  <c:v>39559</c:v>
                </c:pt>
                <c:pt idx="3211">
                  <c:v>39560</c:v>
                </c:pt>
                <c:pt idx="3212">
                  <c:v>39561</c:v>
                </c:pt>
                <c:pt idx="3213">
                  <c:v>39562</c:v>
                </c:pt>
                <c:pt idx="3214">
                  <c:v>39563</c:v>
                </c:pt>
                <c:pt idx="3215">
                  <c:v>39566</c:v>
                </c:pt>
                <c:pt idx="3216">
                  <c:v>39567</c:v>
                </c:pt>
                <c:pt idx="3217">
                  <c:v>39568</c:v>
                </c:pt>
                <c:pt idx="3218">
                  <c:v>39570</c:v>
                </c:pt>
                <c:pt idx="3219">
                  <c:v>39573</c:v>
                </c:pt>
                <c:pt idx="3220">
                  <c:v>39574</c:v>
                </c:pt>
                <c:pt idx="3221">
                  <c:v>39575</c:v>
                </c:pt>
                <c:pt idx="3222">
                  <c:v>39576</c:v>
                </c:pt>
                <c:pt idx="3223">
                  <c:v>39577</c:v>
                </c:pt>
                <c:pt idx="3224">
                  <c:v>39580</c:v>
                </c:pt>
                <c:pt idx="3225">
                  <c:v>39581</c:v>
                </c:pt>
                <c:pt idx="3226">
                  <c:v>39582</c:v>
                </c:pt>
                <c:pt idx="3227">
                  <c:v>39583</c:v>
                </c:pt>
                <c:pt idx="3228">
                  <c:v>39584</c:v>
                </c:pt>
                <c:pt idx="3229">
                  <c:v>39587</c:v>
                </c:pt>
                <c:pt idx="3230">
                  <c:v>39588</c:v>
                </c:pt>
                <c:pt idx="3231">
                  <c:v>39589</c:v>
                </c:pt>
                <c:pt idx="3232">
                  <c:v>39590</c:v>
                </c:pt>
                <c:pt idx="3233">
                  <c:v>39591</c:v>
                </c:pt>
                <c:pt idx="3234">
                  <c:v>39594</c:v>
                </c:pt>
                <c:pt idx="3235">
                  <c:v>39595</c:v>
                </c:pt>
                <c:pt idx="3236">
                  <c:v>39596</c:v>
                </c:pt>
                <c:pt idx="3237">
                  <c:v>39597</c:v>
                </c:pt>
                <c:pt idx="3238">
                  <c:v>39598</c:v>
                </c:pt>
                <c:pt idx="3239">
                  <c:v>39601</c:v>
                </c:pt>
                <c:pt idx="3240">
                  <c:v>39602</c:v>
                </c:pt>
                <c:pt idx="3241">
                  <c:v>39603</c:v>
                </c:pt>
                <c:pt idx="3242">
                  <c:v>39604</c:v>
                </c:pt>
                <c:pt idx="3243">
                  <c:v>39605</c:v>
                </c:pt>
                <c:pt idx="3244">
                  <c:v>39608</c:v>
                </c:pt>
                <c:pt idx="3245">
                  <c:v>39609</c:v>
                </c:pt>
                <c:pt idx="3246">
                  <c:v>39610</c:v>
                </c:pt>
                <c:pt idx="3247">
                  <c:v>39611</c:v>
                </c:pt>
                <c:pt idx="3248">
                  <c:v>39612</c:v>
                </c:pt>
                <c:pt idx="3249">
                  <c:v>39615</c:v>
                </c:pt>
                <c:pt idx="3250">
                  <c:v>39616</c:v>
                </c:pt>
                <c:pt idx="3251">
                  <c:v>39617</c:v>
                </c:pt>
                <c:pt idx="3252">
                  <c:v>39618</c:v>
                </c:pt>
                <c:pt idx="3253">
                  <c:v>39619</c:v>
                </c:pt>
                <c:pt idx="3254">
                  <c:v>39622</c:v>
                </c:pt>
                <c:pt idx="3255">
                  <c:v>39623</c:v>
                </c:pt>
                <c:pt idx="3256">
                  <c:v>39624</c:v>
                </c:pt>
                <c:pt idx="3257">
                  <c:v>39625</c:v>
                </c:pt>
                <c:pt idx="3258">
                  <c:v>39626</c:v>
                </c:pt>
                <c:pt idx="3259">
                  <c:v>39629</c:v>
                </c:pt>
                <c:pt idx="3260">
                  <c:v>39630</c:v>
                </c:pt>
                <c:pt idx="3261">
                  <c:v>39631</c:v>
                </c:pt>
                <c:pt idx="3262">
                  <c:v>39632</c:v>
                </c:pt>
                <c:pt idx="3263">
                  <c:v>39633</c:v>
                </c:pt>
                <c:pt idx="3264">
                  <c:v>39636</c:v>
                </c:pt>
                <c:pt idx="3265">
                  <c:v>39637</c:v>
                </c:pt>
                <c:pt idx="3266">
                  <c:v>39638</c:v>
                </c:pt>
                <c:pt idx="3267">
                  <c:v>39639</c:v>
                </c:pt>
                <c:pt idx="3268">
                  <c:v>39640</c:v>
                </c:pt>
                <c:pt idx="3269">
                  <c:v>39643</c:v>
                </c:pt>
                <c:pt idx="3270">
                  <c:v>39644</c:v>
                </c:pt>
                <c:pt idx="3271">
                  <c:v>39645</c:v>
                </c:pt>
                <c:pt idx="3272">
                  <c:v>39646</c:v>
                </c:pt>
                <c:pt idx="3273">
                  <c:v>39647</c:v>
                </c:pt>
                <c:pt idx="3274">
                  <c:v>39650</c:v>
                </c:pt>
                <c:pt idx="3275">
                  <c:v>39651</c:v>
                </c:pt>
                <c:pt idx="3276">
                  <c:v>39652</c:v>
                </c:pt>
                <c:pt idx="3277">
                  <c:v>39653</c:v>
                </c:pt>
                <c:pt idx="3278">
                  <c:v>39654</c:v>
                </c:pt>
                <c:pt idx="3279">
                  <c:v>39657</c:v>
                </c:pt>
                <c:pt idx="3280">
                  <c:v>39658</c:v>
                </c:pt>
                <c:pt idx="3281">
                  <c:v>39659</c:v>
                </c:pt>
                <c:pt idx="3282">
                  <c:v>39660</c:v>
                </c:pt>
                <c:pt idx="3283">
                  <c:v>39661</c:v>
                </c:pt>
                <c:pt idx="3284">
                  <c:v>39664</c:v>
                </c:pt>
                <c:pt idx="3285">
                  <c:v>39665</c:v>
                </c:pt>
                <c:pt idx="3286">
                  <c:v>39666</c:v>
                </c:pt>
                <c:pt idx="3287">
                  <c:v>39667</c:v>
                </c:pt>
                <c:pt idx="3288">
                  <c:v>39668</c:v>
                </c:pt>
                <c:pt idx="3289">
                  <c:v>39671</c:v>
                </c:pt>
                <c:pt idx="3290">
                  <c:v>39672</c:v>
                </c:pt>
                <c:pt idx="3291">
                  <c:v>39673</c:v>
                </c:pt>
                <c:pt idx="3292">
                  <c:v>39674</c:v>
                </c:pt>
                <c:pt idx="3293">
                  <c:v>39675</c:v>
                </c:pt>
                <c:pt idx="3294">
                  <c:v>39678</c:v>
                </c:pt>
                <c:pt idx="3295">
                  <c:v>39679</c:v>
                </c:pt>
                <c:pt idx="3296">
                  <c:v>39680</c:v>
                </c:pt>
                <c:pt idx="3297">
                  <c:v>39681</c:v>
                </c:pt>
                <c:pt idx="3298">
                  <c:v>39682</c:v>
                </c:pt>
                <c:pt idx="3299">
                  <c:v>39685</c:v>
                </c:pt>
                <c:pt idx="3300">
                  <c:v>39686</c:v>
                </c:pt>
                <c:pt idx="3301">
                  <c:v>39687</c:v>
                </c:pt>
                <c:pt idx="3302">
                  <c:v>39688</c:v>
                </c:pt>
                <c:pt idx="3303">
                  <c:v>39689</c:v>
                </c:pt>
                <c:pt idx="3304">
                  <c:v>39692</c:v>
                </c:pt>
                <c:pt idx="3305">
                  <c:v>39693</c:v>
                </c:pt>
                <c:pt idx="3306">
                  <c:v>39694</c:v>
                </c:pt>
                <c:pt idx="3307">
                  <c:v>39695</c:v>
                </c:pt>
                <c:pt idx="3308">
                  <c:v>39696</c:v>
                </c:pt>
                <c:pt idx="3309">
                  <c:v>39699</c:v>
                </c:pt>
                <c:pt idx="3310">
                  <c:v>39700</c:v>
                </c:pt>
                <c:pt idx="3311">
                  <c:v>39701</c:v>
                </c:pt>
                <c:pt idx="3312">
                  <c:v>39702</c:v>
                </c:pt>
                <c:pt idx="3313">
                  <c:v>39703</c:v>
                </c:pt>
                <c:pt idx="3314">
                  <c:v>39706</c:v>
                </c:pt>
                <c:pt idx="3315">
                  <c:v>39707</c:v>
                </c:pt>
                <c:pt idx="3316">
                  <c:v>39708</c:v>
                </c:pt>
                <c:pt idx="3317">
                  <c:v>39709</c:v>
                </c:pt>
                <c:pt idx="3318">
                  <c:v>39710</c:v>
                </c:pt>
                <c:pt idx="3319">
                  <c:v>39713</c:v>
                </c:pt>
                <c:pt idx="3320">
                  <c:v>39714</c:v>
                </c:pt>
                <c:pt idx="3321">
                  <c:v>39715</c:v>
                </c:pt>
                <c:pt idx="3322">
                  <c:v>39716</c:v>
                </c:pt>
                <c:pt idx="3323">
                  <c:v>39717</c:v>
                </c:pt>
                <c:pt idx="3324">
                  <c:v>39720</c:v>
                </c:pt>
                <c:pt idx="3325">
                  <c:v>39721</c:v>
                </c:pt>
                <c:pt idx="3326">
                  <c:v>39723</c:v>
                </c:pt>
                <c:pt idx="3327">
                  <c:v>39724</c:v>
                </c:pt>
                <c:pt idx="3328">
                  <c:v>39727</c:v>
                </c:pt>
                <c:pt idx="3329">
                  <c:v>39728</c:v>
                </c:pt>
                <c:pt idx="3330">
                  <c:v>39729</c:v>
                </c:pt>
                <c:pt idx="3331">
                  <c:v>39730</c:v>
                </c:pt>
                <c:pt idx="3332">
                  <c:v>39731</c:v>
                </c:pt>
                <c:pt idx="3333">
                  <c:v>39734</c:v>
                </c:pt>
                <c:pt idx="3334">
                  <c:v>39735</c:v>
                </c:pt>
                <c:pt idx="3335">
                  <c:v>39736</c:v>
                </c:pt>
                <c:pt idx="3336">
                  <c:v>39737</c:v>
                </c:pt>
                <c:pt idx="3337">
                  <c:v>39738</c:v>
                </c:pt>
                <c:pt idx="3338">
                  <c:v>39741</c:v>
                </c:pt>
                <c:pt idx="3339">
                  <c:v>39742</c:v>
                </c:pt>
                <c:pt idx="3340">
                  <c:v>39743</c:v>
                </c:pt>
                <c:pt idx="3341">
                  <c:v>39744</c:v>
                </c:pt>
                <c:pt idx="3342">
                  <c:v>39745</c:v>
                </c:pt>
                <c:pt idx="3343">
                  <c:v>39748</c:v>
                </c:pt>
                <c:pt idx="3344">
                  <c:v>39749</c:v>
                </c:pt>
                <c:pt idx="3345">
                  <c:v>39750</c:v>
                </c:pt>
                <c:pt idx="3346">
                  <c:v>39751</c:v>
                </c:pt>
                <c:pt idx="3347">
                  <c:v>39752</c:v>
                </c:pt>
                <c:pt idx="3348">
                  <c:v>39755</c:v>
                </c:pt>
                <c:pt idx="3349">
                  <c:v>39756</c:v>
                </c:pt>
                <c:pt idx="3350">
                  <c:v>39757</c:v>
                </c:pt>
                <c:pt idx="3351">
                  <c:v>39758</c:v>
                </c:pt>
                <c:pt idx="3352">
                  <c:v>39759</c:v>
                </c:pt>
                <c:pt idx="3353">
                  <c:v>39762</c:v>
                </c:pt>
                <c:pt idx="3354">
                  <c:v>39763</c:v>
                </c:pt>
                <c:pt idx="3355">
                  <c:v>39764</c:v>
                </c:pt>
                <c:pt idx="3356">
                  <c:v>39765</c:v>
                </c:pt>
                <c:pt idx="3357">
                  <c:v>39766</c:v>
                </c:pt>
                <c:pt idx="3358">
                  <c:v>39769</c:v>
                </c:pt>
                <c:pt idx="3359">
                  <c:v>39770</c:v>
                </c:pt>
                <c:pt idx="3360">
                  <c:v>39771</c:v>
                </c:pt>
                <c:pt idx="3361">
                  <c:v>39772</c:v>
                </c:pt>
                <c:pt idx="3362">
                  <c:v>39773</c:v>
                </c:pt>
                <c:pt idx="3363">
                  <c:v>39776</c:v>
                </c:pt>
                <c:pt idx="3364">
                  <c:v>39777</c:v>
                </c:pt>
                <c:pt idx="3365">
                  <c:v>39778</c:v>
                </c:pt>
                <c:pt idx="3366">
                  <c:v>39779</c:v>
                </c:pt>
                <c:pt idx="3367">
                  <c:v>39780</c:v>
                </c:pt>
                <c:pt idx="3368">
                  <c:v>39783</c:v>
                </c:pt>
                <c:pt idx="3369">
                  <c:v>39784</c:v>
                </c:pt>
                <c:pt idx="3370">
                  <c:v>39785</c:v>
                </c:pt>
                <c:pt idx="3371">
                  <c:v>39786</c:v>
                </c:pt>
                <c:pt idx="3372">
                  <c:v>39787</c:v>
                </c:pt>
                <c:pt idx="3373">
                  <c:v>39790</c:v>
                </c:pt>
                <c:pt idx="3374">
                  <c:v>39791</c:v>
                </c:pt>
                <c:pt idx="3375">
                  <c:v>39792</c:v>
                </c:pt>
                <c:pt idx="3376">
                  <c:v>39793</c:v>
                </c:pt>
                <c:pt idx="3377">
                  <c:v>39794</c:v>
                </c:pt>
                <c:pt idx="3378">
                  <c:v>39797</c:v>
                </c:pt>
                <c:pt idx="3379">
                  <c:v>39798</c:v>
                </c:pt>
                <c:pt idx="3380">
                  <c:v>39799</c:v>
                </c:pt>
                <c:pt idx="3381">
                  <c:v>39800</c:v>
                </c:pt>
                <c:pt idx="3382">
                  <c:v>39801</c:v>
                </c:pt>
                <c:pt idx="3383">
                  <c:v>39804</c:v>
                </c:pt>
                <c:pt idx="3384">
                  <c:v>39805</c:v>
                </c:pt>
                <c:pt idx="3385">
                  <c:v>39806</c:v>
                </c:pt>
                <c:pt idx="3386">
                  <c:v>39807</c:v>
                </c:pt>
                <c:pt idx="3387">
                  <c:v>39808</c:v>
                </c:pt>
                <c:pt idx="3388">
                  <c:v>39811</c:v>
                </c:pt>
                <c:pt idx="3389">
                  <c:v>39812</c:v>
                </c:pt>
                <c:pt idx="3390">
                  <c:v>39813</c:v>
                </c:pt>
                <c:pt idx="3391">
                  <c:v>39814</c:v>
                </c:pt>
                <c:pt idx="3392">
                  <c:v>39815</c:v>
                </c:pt>
                <c:pt idx="3393">
                  <c:v>39818</c:v>
                </c:pt>
                <c:pt idx="3394">
                  <c:v>39819</c:v>
                </c:pt>
                <c:pt idx="3395">
                  <c:v>39820</c:v>
                </c:pt>
                <c:pt idx="3396">
                  <c:v>39821</c:v>
                </c:pt>
                <c:pt idx="3397">
                  <c:v>39822</c:v>
                </c:pt>
                <c:pt idx="3398">
                  <c:v>39825</c:v>
                </c:pt>
                <c:pt idx="3399">
                  <c:v>39826</c:v>
                </c:pt>
                <c:pt idx="3400">
                  <c:v>39827</c:v>
                </c:pt>
                <c:pt idx="3401">
                  <c:v>39828</c:v>
                </c:pt>
                <c:pt idx="3402">
                  <c:v>39829</c:v>
                </c:pt>
                <c:pt idx="3403">
                  <c:v>39832</c:v>
                </c:pt>
                <c:pt idx="3404">
                  <c:v>39833</c:v>
                </c:pt>
                <c:pt idx="3405">
                  <c:v>39834</c:v>
                </c:pt>
                <c:pt idx="3406">
                  <c:v>39835</c:v>
                </c:pt>
                <c:pt idx="3407">
                  <c:v>39836</c:v>
                </c:pt>
                <c:pt idx="3408">
                  <c:v>39839</c:v>
                </c:pt>
                <c:pt idx="3409">
                  <c:v>39840</c:v>
                </c:pt>
                <c:pt idx="3410">
                  <c:v>39841</c:v>
                </c:pt>
                <c:pt idx="3411">
                  <c:v>39842</c:v>
                </c:pt>
                <c:pt idx="3412">
                  <c:v>39843</c:v>
                </c:pt>
                <c:pt idx="3413">
                  <c:v>39846</c:v>
                </c:pt>
                <c:pt idx="3414">
                  <c:v>39847</c:v>
                </c:pt>
                <c:pt idx="3415">
                  <c:v>39848</c:v>
                </c:pt>
                <c:pt idx="3416">
                  <c:v>39849</c:v>
                </c:pt>
                <c:pt idx="3417">
                  <c:v>39850</c:v>
                </c:pt>
                <c:pt idx="3418">
                  <c:v>39853</c:v>
                </c:pt>
                <c:pt idx="3419">
                  <c:v>39854</c:v>
                </c:pt>
                <c:pt idx="3420">
                  <c:v>39855</c:v>
                </c:pt>
                <c:pt idx="3421">
                  <c:v>39856</c:v>
                </c:pt>
                <c:pt idx="3422">
                  <c:v>39857</c:v>
                </c:pt>
                <c:pt idx="3423">
                  <c:v>39860</c:v>
                </c:pt>
                <c:pt idx="3424">
                  <c:v>39861</c:v>
                </c:pt>
                <c:pt idx="3425">
                  <c:v>39862</c:v>
                </c:pt>
                <c:pt idx="3426">
                  <c:v>39863</c:v>
                </c:pt>
                <c:pt idx="3427">
                  <c:v>39864</c:v>
                </c:pt>
                <c:pt idx="3428">
                  <c:v>39867</c:v>
                </c:pt>
                <c:pt idx="3429">
                  <c:v>39868</c:v>
                </c:pt>
                <c:pt idx="3430">
                  <c:v>39869</c:v>
                </c:pt>
                <c:pt idx="3431">
                  <c:v>39870</c:v>
                </c:pt>
                <c:pt idx="3432">
                  <c:v>39871</c:v>
                </c:pt>
                <c:pt idx="3433">
                  <c:v>39874</c:v>
                </c:pt>
                <c:pt idx="3434">
                  <c:v>39875</c:v>
                </c:pt>
                <c:pt idx="3435">
                  <c:v>39876</c:v>
                </c:pt>
                <c:pt idx="3436">
                  <c:v>39877</c:v>
                </c:pt>
                <c:pt idx="3437">
                  <c:v>39878</c:v>
                </c:pt>
                <c:pt idx="3438">
                  <c:v>39881</c:v>
                </c:pt>
                <c:pt idx="3439">
                  <c:v>39882</c:v>
                </c:pt>
                <c:pt idx="3440">
                  <c:v>39883</c:v>
                </c:pt>
                <c:pt idx="3441">
                  <c:v>39884</c:v>
                </c:pt>
                <c:pt idx="3442">
                  <c:v>39885</c:v>
                </c:pt>
                <c:pt idx="3443">
                  <c:v>39888</c:v>
                </c:pt>
                <c:pt idx="3444">
                  <c:v>39889</c:v>
                </c:pt>
                <c:pt idx="3445">
                  <c:v>39890</c:v>
                </c:pt>
                <c:pt idx="3446">
                  <c:v>39891</c:v>
                </c:pt>
                <c:pt idx="3447">
                  <c:v>39892</c:v>
                </c:pt>
                <c:pt idx="3448">
                  <c:v>39895</c:v>
                </c:pt>
                <c:pt idx="3449">
                  <c:v>39896</c:v>
                </c:pt>
                <c:pt idx="3450">
                  <c:v>39897</c:v>
                </c:pt>
                <c:pt idx="3451">
                  <c:v>39898</c:v>
                </c:pt>
                <c:pt idx="3452">
                  <c:v>39899</c:v>
                </c:pt>
                <c:pt idx="3453">
                  <c:v>39902</c:v>
                </c:pt>
                <c:pt idx="3454">
                  <c:v>39903</c:v>
                </c:pt>
                <c:pt idx="3455">
                  <c:v>39904</c:v>
                </c:pt>
                <c:pt idx="3456">
                  <c:v>39905</c:v>
                </c:pt>
                <c:pt idx="3457">
                  <c:v>39906</c:v>
                </c:pt>
                <c:pt idx="3458">
                  <c:v>39909</c:v>
                </c:pt>
                <c:pt idx="3459">
                  <c:v>39910</c:v>
                </c:pt>
                <c:pt idx="3460">
                  <c:v>39911</c:v>
                </c:pt>
                <c:pt idx="3461">
                  <c:v>39912</c:v>
                </c:pt>
                <c:pt idx="3462">
                  <c:v>39913</c:v>
                </c:pt>
                <c:pt idx="3463">
                  <c:v>39916</c:v>
                </c:pt>
                <c:pt idx="3464">
                  <c:v>39917</c:v>
                </c:pt>
                <c:pt idx="3465">
                  <c:v>39918</c:v>
                </c:pt>
                <c:pt idx="3466">
                  <c:v>39919</c:v>
                </c:pt>
                <c:pt idx="3467">
                  <c:v>39920</c:v>
                </c:pt>
                <c:pt idx="3468">
                  <c:v>39923</c:v>
                </c:pt>
                <c:pt idx="3469">
                  <c:v>39924</c:v>
                </c:pt>
                <c:pt idx="3470">
                  <c:v>39925</c:v>
                </c:pt>
                <c:pt idx="3471">
                  <c:v>39926</c:v>
                </c:pt>
                <c:pt idx="3472">
                  <c:v>39927</c:v>
                </c:pt>
                <c:pt idx="3473">
                  <c:v>39930</c:v>
                </c:pt>
                <c:pt idx="3474">
                  <c:v>39931</c:v>
                </c:pt>
                <c:pt idx="3475">
                  <c:v>39932</c:v>
                </c:pt>
                <c:pt idx="3476">
                  <c:v>39933</c:v>
                </c:pt>
                <c:pt idx="3477">
                  <c:v>39934</c:v>
                </c:pt>
                <c:pt idx="3478">
                  <c:v>39937</c:v>
                </c:pt>
                <c:pt idx="3479">
                  <c:v>39938</c:v>
                </c:pt>
                <c:pt idx="3480">
                  <c:v>39939</c:v>
                </c:pt>
                <c:pt idx="3481">
                  <c:v>39940</c:v>
                </c:pt>
                <c:pt idx="3482">
                  <c:v>39941</c:v>
                </c:pt>
                <c:pt idx="3483">
                  <c:v>39944</c:v>
                </c:pt>
                <c:pt idx="3484">
                  <c:v>39945</c:v>
                </c:pt>
                <c:pt idx="3485">
                  <c:v>39946</c:v>
                </c:pt>
                <c:pt idx="3486">
                  <c:v>39947</c:v>
                </c:pt>
                <c:pt idx="3487">
                  <c:v>39948</c:v>
                </c:pt>
                <c:pt idx="3488">
                  <c:v>39951</c:v>
                </c:pt>
                <c:pt idx="3489">
                  <c:v>39952</c:v>
                </c:pt>
                <c:pt idx="3490">
                  <c:v>39953</c:v>
                </c:pt>
                <c:pt idx="3491">
                  <c:v>39954</c:v>
                </c:pt>
                <c:pt idx="3492">
                  <c:v>39955</c:v>
                </c:pt>
                <c:pt idx="3493">
                  <c:v>39958</c:v>
                </c:pt>
                <c:pt idx="3494">
                  <c:v>39959</c:v>
                </c:pt>
                <c:pt idx="3495">
                  <c:v>39960</c:v>
                </c:pt>
                <c:pt idx="3496">
                  <c:v>39961</c:v>
                </c:pt>
                <c:pt idx="3497">
                  <c:v>39962</c:v>
                </c:pt>
                <c:pt idx="3498">
                  <c:v>39965</c:v>
                </c:pt>
                <c:pt idx="3499">
                  <c:v>39966</c:v>
                </c:pt>
                <c:pt idx="3500">
                  <c:v>39967</c:v>
                </c:pt>
                <c:pt idx="3501">
                  <c:v>39968</c:v>
                </c:pt>
                <c:pt idx="3502">
                  <c:v>39969</c:v>
                </c:pt>
                <c:pt idx="3503">
                  <c:v>39972</c:v>
                </c:pt>
                <c:pt idx="3504">
                  <c:v>39973</c:v>
                </c:pt>
                <c:pt idx="3505">
                  <c:v>39974</c:v>
                </c:pt>
                <c:pt idx="3506">
                  <c:v>39975</c:v>
                </c:pt>
                <c:pt idx="3507">
                  <c:v>39976</c:v>
                </c:pt>
                <c:pt idx="3508">
                  <c:v>39979</c:v>
                </c:pt>
                <c:pt idx="3509">
                  <c:v>39980</c:v>
                </c:pt>
                <c:pt idx="3510">
                  <c:v>39981</c:v>
                </c:pt>
                <c:pt idx="3511">
                  <c:v>39982</c:v>
                </c:pt>
                <c:pt idx="3512">
                  <c:v>39983</c:v>
                </c:pt>
                <c:pt idx="3513">
                  <c:v>39986</c:v>
                </c:pt>
                <c:pt idx="3514">
                  <c:v>39987</c:v>
                </c:pt>
                <c:pt idx="3515">
                  <c:v>39988</c:v>
                </c:pt>
                <c:pt idx="3516">
                  <c:v>39989</c:v>
                </c:pt>
                <c:pt idx="3517">
                  <c:v>39990</c:v>
                </c:pt>
                <c:pt idx="3518">
                  <c:v>39993</c:v>
                </c:pt>
                <c:pt idx="3519">
                  <c:v>39994</c:v>
                </c:pt>
                <c:pt idx="3520">
                  <c:v>39995</c:v>
                </c:pt>
                <c:pt idx="3521">
                  <c:v>39996</c:v>
                </c:pt>
                <c:pt idx="3522">
                  <c:v>39997</c:v>
                </c:pt>
                <c:pt idx="3523">
                  <c:v>40000</c:v>
                </c:pt>
                <c:pt idx="3524">
                  <c:v>40001</c:v>
                </c:pt>
                <c:pt idx="3525">
                  <c:v>40002</c:v>
                </c:pt>
                <c:pt idx="3526">
                  <c:v>40003</c:v>
                </c:pt>
                <c:pt idx="3527">
                  <c:v>40004</c:v>
                </c:pt>
                <c:pt idx="3528">
                  <c:v>40007</c:v>
                </c:pt>
                <c:pt idx="3529">
                  <c:v>40008</c:v>
                </c:pt>
                <c:pt idx="3530">
                  <c:v>40009</c:v>
                </c:pt>
                <c:pt idx="3531">
                  <c:v>40010</c:v>
                </c:pt>
                <c:pt idx="3532">
                  <c:v>40011</c:v>
                </c:pt>
                <c:pt idx="3533">
                  <c:v>40015</c:v>
                </c:pt>
                <c:pt idx="3534">
                  <c:v>40016</c:v>
                </c:pt>
                <c:pt idx="3535">
                  <c:v>40017</c:v>
                </c:pt>
                <c:pt idx="3536">
                  <c:v>40018</c:v>
                </c:pt>
                <c:pt idx="3537">
                  <c:v>40021</c:v>
                </c:pt>
                <c:pt idx="3538">
                  <c:v>40022</c:v>
                </c:pt>
                <c:pt idx="3539">
                  <c:v>40023</c:v>
                </c:pt>
                <c:pt idx="3540">
                  <c:v>40024</c:v>
                </c:pt>
                <c:pt idx="3541">
                  <c:v>40025</c:v>
                </c:pt>
                <c:pt idx="3542">
                  <c:v>40028</c:v>
                </c:pt>
                <c:pt idx="3543">
                  <c:v>40029</c:v>
                </c:pt>
                <c:pt idx="3544">
                  <c:v>40030</c:v>
                </c:pt>
                <c:pt idx="3545">
                  <c:v>40031</c:v>
                </c:pt>
                <c:pt idx="3546">
                  <c:v>40032</c:v>
                </c:pt>
                <c:pt idx="3547">
                  <c:v>40035</c:v>
                </c:pt>
                <c:pt idx="3548">
                  <c:v>40036</c:v>
                </c:pt>
                <c:pt idx="3549">
                  <c:v>40037</c:v>
                </c:pt>
                <c:pt idx="3550">
                  <c:v>40038</c:v>
                </c:pt>
                <c:pt idx="3551">
                  <c:v>40039</c:v>
                </c:pt>
                <c:pt idx="3552">
                  <c:v>40042</c:v>
                </c:pt>
                <c:pt idx="3553">
                  <c:v>40043</c:v>
                </c:pt>
                <c:pt idx="3554">
                  <c:v>40044</c:v>
                </c:pt>
                <c:pt idx="3555">
                  <c:v>40045</c:v>
                </c:pt>
                <c:pt idx="3556">
                  <c:v>40046</c:v>
                </c:pt>
                <c:pt idx="3557">
                  <c:v>40049</c:v>
                </c:pt>
                <c:pt idx="3558">
                  <c:v>40050</c:v>
                </c:pt>
                <c:pt idx="3559">
                  <c:v>40051</c:v>
                </c:pt>
                <c:pt idx="3560">
                  <c:v>40052</c:v>
                </c:pt>
                <c:pt idx="3561">
                  <c:v>40053</c:v>
                </c:pt>
                <c:pt idx="3562">
                  <c:v>40056</c:v>
                </c:pt>
                <c:pt idx="3563">
                  <c:v>40057</c:v>
                </c:pt>
                <c:pt idx="3564">
                  <c:v>40058</c:v>
                </c:pt>
                <c:pt idx="3565">
                  <c:v>40059</c:v>
                </c:pt>
                <c:pt idx="3566">
                  <c:v>40060</c:v>
                </c:pt>
                <c:pt idx="3567">
                  <c:v>40063</c:v>
                </c:pt>
                <c:pt idx="3568">
                  <c:v>40064</c:v>
                </c:pt>
                <c:pt idx="3569">
                  <c:v>40065</c:v>
                </c:pt>
                <c:pt idx="3570">
                  <c:v>40066</c:v>
                </c:pt>
                <c:pt idx="3571">
                  <c:v>40067</c:v>
                </c:pt>
                <c:pt idx="3572">
                  <c:v>40070</c:v>
                </c:pt>
                <c:pt idx="3573">
                  <c:v>40071</c:v>
                </c:pt>
                <c:pt idx="3574">
                  <c:v>40072</c:v>
                </c:pt>
                <c:pt idx="3575">
                  <c:v>40073</c:v>
                </c:pt>
                <c:pt idx="3576">
                  <c:v>40074</c:v>
                </c:pt>
                <c:pt idx="3577">
                  <c:v>40077</c:v>
                </c:pt>
                <c:pt idx="3578">
                  <c:v>40078</c:v>
                </c:pt>
                <c:pt idx="3579">
                  <c:v>40079</c:v>
                </c:pt>
                <c:pt idx="3580">
                  <c:v>40080</c:v>
                </c:pt>
                <c:pt idx="3581">
                  <c:v>40081</c:v>
                </c:pt>
                <c:pt idx="3582">
                  <c:v>40084</c:v>
                </c:pt>
                <c:pt idx="3583">
                  <c:v>40085</c:v>
                </c:pt>
                <c:pt idx="3584">
                  <c:v>40086</c:v>
                </c:pt>
                <c:pt idx="3585">
                  <c:v>40087</c:v>
                </c:pt>
                <c:pt idx="3586">
                  <c:v>40088</c:v>
                </c:pt>
                <c:pt idx="3587">
                  <c:v>40091</c:v>
                </c:pt>
                <c:pt idx="3588">
                  <c:v>40092</c:v>
                </c:pt>
                <c:pt idx="3589">
                  <c:v>40093</c:v>
                </c:pt>
                <c:pt idx="3590">
                  <c:v>40094</c:v>
                </c:pt>
                <c:pt idx="3591">
                  <c:v>40095</c:v>
                </c:pt>
                <c:pt idx="3592">
                  <c:v>40098</c:v>
                </c:pt>
                <c:pt idx="3593">
                  <c:v>40099</c:v>
                </c:pt>
                <c:pt idx="3594">
                  <c:v>40100</c:v>
                </c:pt>
                <c:pt idx="3595">
                  <c:v>40101</c:v>
                </c:pt>
                <c:pt idx="3596">
                  <c:v>40102</c:v>
                </c:pt>
                <c:pt idx="3597">
                  <c:v>40105</c:v>
                </c:pt>
                <c:pt idx="3598">
                  <c:v>40106</c:v>
                </c:pt>
                <c:pt idx="3599">
                  <c:v>40107</c:v>
                </c:pt>
                <c:pt idx="3600">
                  <c:v>40108</c:v>
                </c:pt>
                <c:pt idx="3601">
                  <c:v>40109</c:v>
                </c:pt>
                <c:pt idx="3602">
                  <c:v>40112</c:v>
                </c:pt>
                <c:pt idx="3603">
                  <c:v>40113</c:v>
                </c:pt>
                <c:pt idx="3604">
                  <c:v>40114</c:v>
                </c:pt>
                <c:pt idx="3605">
                  <c:v>40115</c:v>
                </c:pt>
                <c:pt idx="3606">
                  <c:v>40116</c:v>
                </c:pt>
                <c:pt idx="3607">
                  <c:v>40119</c:v>
                </c:pt>
                <c:pt idx="3608">
                  <c:v>40120</c:v>
                </c:pt>
                <c:pt idx="3609">
                  <c:v>40121</c:v>
                </c:pt>
                <c:pt idx="3610">
                  <c:v>40122</c:v>
                </c:pt>
                <c:pt idx="3611">
                  <c:v>40123</c:v>
                </c:pt>
                <c:pt idx="3612">
                  <c:v>40126</c:v>
                </c:pt>
                <c:pt idx="3613">
                  <c:v>40127</c:v>
                </c:pt>
                <c:pt idx="3614">
                  <c:v>40128</c:v>
                </c:pt>
                <c:pt idx="3615">
                  <c:v>40129</c:v>
                </c:pt>
                <c:pt idx="3616">
                  <c:v>40130</c:v>
                </c:pt>
                <c:pt idx="3617">
                  <c:v>40133</c:v>
                </c:pt>
                <c:pt idx="3618">
                  <c:v>40134</c:v>
                </c:pt>
                <c:pt idx="3619">
                  <c:v>40135</c:v>
                </c:pt>
                <c:pt idx="3620">
                  <c:v>40136</c:v>
                </c:pt>
                <c:pt idx="3621">
                  <c:v>40137</c:v>
                </c:pt>
                <c:pt idx="3622">
                  <c:v>40140</c:v>
                </c:pt>
                <c:pt idx="3623">
                  <c:v>40141</c:v>
                </c:pt>
                <c:pt idx="3624">
                  <c:v>40142</c:v>
                </c:pt>
                <c:pt idx="3625">
                  <c:v>40143</c:v>
                </c:pt>
                <c:pt idx="3626">
                  <c:v>40144</c:v>
                </c:pt>
                <c:pt idx="3627">
                  <c:v>40147</c:v>
                </c:pt>
                <c:pt idx="3628">
                  <c:v>40148</c:v>
                </c:pt>
                <c:pt idx="3629">
                  <c:v>40149</c:v>
                </c:pt>
                <c:pt idx="3630">
                  <c:v>40150</c:v>
                </c:pt>
                <c:pt idx="3631">
                  <c:v>40151</c:v>
                </c:pt>
                <c:pt idx="3632">
                  <c:v>40154</c:v>
                </c:pt>
                <c:pt idx="3633">
                  <c:v>40155</c:v>
                </c:pt>
                <c:pt idx="3634">
                  <c:v>40156</c:v>
                </c:pt>
                <c:pt idx="3635">
                  <c:v>40157</c:v>
                </c:pt>
                <c:pt idx="3636">
                  <c:v>40158</c:v>
                </c:pt>
                <c:pt idx="3637">
                  <c:v>40161</c:v>
                </c:pt>
                <c:pt idx="3638">
                  <c:v>40162</c:v>
                </c:pt>
                <c:pt idx="3639">
                  <c:v>40163</c:v>
                </c:pt>
                <c:pt idx="3640">
                  <c:v>40164</c:v>
                </c:pt>
                <c:pt idx="3641">
                  <c:v>40165</c:v>
                </c:pt>
                <c:pt idx="3642">
                  <c:v>40168</c:v>
                </c:pt>
                <c:pt idx="3643">
                  <c:v>40169</c:v>
                </c:pt>
                <c:pt idx="3644">
                  <c:v>40170</c:v>
                </c:pt>
                <c:pt idx="3645">
                  <c:v>40171</c:v>
                </c:pt>
                <c:pt idx="3646">
                  <c:v>40172</c:v>
                </c:pt>
                <c:pt idx="3647">
                  <c:v>40175</c:v>
                </c:pt>
                <c:pt idx="3648">
                  <c:v>40176</c:v>
                </c:pt>
                <c:pt idx="3649">
                  <c:v>40177</c:v>
                </c:pt>
                <c:pt idx="3650">
                  <c:v>40178</c:v>
                </c:pt>
                <c:pt idx="3651">
                  <c:v>40179</c:v>
                </c:pt>
                <c:pt idx="3652">
                  <c:v>40182</c:v>
                </c:pt>
                <c:pt idx="3653">
                  <c:v>40183</c:v>
                </c:pt>
                <c:pt idx="3654">
                  <c:v>40184</c:v>
                </c:pt>
                <c:pt idx="3655">
                  <c:v>40185</c:v>
                </c:pt>
                <c:pt idx="3656">
                  <c:v>40186</c:v>
                </c:pt>
                <c:pt idx="3657">
                  <c:v>40189</c:v>
                </c:pt>
                <c:pt idx="3658">
                  <c:v>40190</c:v>
                </c:pt>
                <c:pt idx="3659">
                  <c:v>40191</c:v>
                </c:pt>
                <c:pt idx="3660">
                  <c:v>40192</c:v>
                </c:pt>
                <c:pt idx="3661">
                  <c:v>40193</c:v>
                </c:pt>
                <c:pt idx="3662">
                  <c:v>40196</c:v>
                </c:pt>
                <c:pt idx="3663">
                  <c:v>40197</c:v>
                </c:pt>
                <c:pt idx="3664">
                  <c:v>40198</c:v>
                </c:pt>
                <c:pt idx="3665">
                  <c:v>40199</c:v>
                </c:pt>
                <c:pt idx="3666">
                  <c:v>40200</c:v>
                </c:pt>
                <c:pt idx="3667">
                  <c:v>40203</c:v>
                </c:pt>
                <c:pt idx="3668">
                  <c:v>40204</c:v>
                </c:pt>
                <c:pt idx="3669">
                  <c:v>40205</c:v>
                </c:pt>
                <c:pt idx="3670">
                  <c:v>40206</c:v>
                </c:pt>
                <c:pt idx="3671">
                  <c:v>40207</c:v>
                </c:pt>
                <c:pt idx="3672">
                  <c:v>40210</c:v>
                </c:pt>
                <c:pt idx="3673">
                  <c:v>40211</c:v>
                </c:pt>
                <c:pt idx="3674">
                  <c:v>40212</c:v>
                </c:pt>
                <c:pt idx="3675">
                  <c:v>40213</c:v>
                </c:pt>
                <c:pt idx="3676">
                  <c:v>40214</c:v>
                </c:pt>
                <c:pt idx="3677">
                  <c:v>40217</c:v>
                </c:pt>
                <c:pt idx="3678">
                  <c:v>40218</c:v>
                </c:pt>
                <c:pt idx="3679">
                  <c:v>40219</c:v>
                </c:pt>
                <c:pt idx="3680">
                  <c:v>40220</c:v>
                </c:pt>
                <c:pt idx="3681">
                  <c:v>40221</c:v>
                </c:pt>
                <c:pt idx="3682">
                  <c:v>40224</c:v>
                </c:pt>
                <c:pt idx="3683">
                  <c:v>40225</c:v>
                </c:pt>
                <c:pt idx="3684">
                  <c:v>40226</c:v>
                </c:pt>
                <c:pt idx="3685">
                  <c:v>40227</c:v>
                </c:pt>
                <c:pt idx="3686">
                  <c:v>40228</c:v>
                </c:pt>
                <c:pt idx="3687">
                  <c:v>40231</c:v>
                </c:pt>
                <c:pt idx="3688">
                  <c:v>40232</c:v>
                </c:pt>
                <c:pt idx="3689">
                  <c:v>40233</c:v>
                </c:pt>
                <c:pt idx="3690">
                  <c:v>40234</c:v>
                </c:pt>
                <c:pt idx="3691">
                  <c:v>40235</c:v>
                </c:pt>
                <c:pt idx="3692">
                  <c:v>40238</c:v>
                </c:pt>
                <c:pt idx="3693">
                  <c:v>40239</c:v>
                </c:pt>
                <c:pt idx="3694">
                  <c:v>40240</c:v>
                </c:pt>
                <c:pt idx="3695">
                  <c:v>40241</c:v>
                </c:pt>
                <c:pt idx="3696">
                  <c:v>40242</c:v>
                </c:pt>
                <c:pt idx="3697">
                  <c:v>40245</c:v>
                </c:pt>
                <c:pt idx="3698">
                  <c:v>40246</c:v>
                </c:pt>
                <c:pt idx="3699">
                  <c:v>40247</c:v>
                </c:pt>
                <c:pt idx="3700">
                  <c:v>40248</c:v>
                </c:pt>
                <c:pt idx="3701">
                  <c:v>40249</c:v>
                </c:pt>
                <c:pt idx="3702">
                  <c:v>40252</c:v>
                </c:pt>
                <c:pt idx="3703">
                  <c:v>40253</c:v>
                </c:pt>
                <c:pt idx="3704">
                  <c:v>40254</c:v>
                </c:pt>
                <c:pt idx="3705">
                  <c:v>40255</c:v>
                </c:pt>
                <c:pt idx="3706">
                  <c:v>40256</c:v>
                </c:pt>
                <c:pt idx="3707">
                  <c:v>40259</c:v>
                </c:pt>
                <c:pt idx="3708">
                  <c:v>40260</c:v>
                </c:pt>
                <c:pt idx="3709">
                  <c:v>40261</c:v>
                </c:pt>
                <c:pt idx="3710">
                  <c:v>40262</c:v>
                </c:pt>
                <c:pt idx="3711">
                  <c:v>40263</c:v>
                </c:pt>
                <c:pt idx="3712">
                  <c:v>40266</c:v>
                </c:pt>
                <c:pt idx="3713">
                  <c:v>40267</c:v>
                </c:pt>
                <c:pt idx="3714">
                  <c:v>40268</c:v>
                </c:pt>
                <c:pt idx="3715">
                  <c:v>40269</c:v>
                </c:pt>
                <c:pt idx="3716">
                  <c:v>40270</c:v>
                </c:pt>
                <c:pt idx="3717">
                  <c:v>40273</c:v>
                </c:pt>
                <c:pt idx="3718">
                  <c:v>40274</c:v>
                </c:pt>
                <c:pt idx="3719">
                  <c:v>40275</c:v>
                </c:pt>
                <c:pt idx="3720">
                  <c:v>40276</c:v>
                </c:pt>
                <c:pt idx="3721">
                  <c:v>40277</c:v>
                </c:pt>
                <c:pt idx="3722">
                  <c:v>40280</c:v>
                </c:pt>
                <c:pt idx="3723">
                  <c:v>40281</c:v>
                </c:pt>
                <c:pt idx="3724">
                  <c:v>40282</c:v>
                </c:pt>
                <c:pt idx="3725">
                  <c:v>40283</c:v>
                </c:pt>
                <c:pt idx="3726">
                  <c:v>40284</c:v>
                </c:pt>
                <c:pt idx="3727">
                  <c:v>40287</c:v>
                </c:pt>
                <c:pt idx="3728">
                  <c:v>40288</c:v>
                </c:pt>
                <c:pt idx="3729">
                  <c:v>40289</c:v>
                </c:pt>
                <c:pt idx="3730">
                  <c:v>40290</c:v>
                </c:pt>
                <c:pt idx="3731">
                  <c:v>40291</c:v>
                </c:pt>
                <c:pt idx="3732">
                  <c:v>40294</c:v>
                </c:pt>
                <c:pt idx="3733">
                  <c:v>40295</c:v>
                </c:pt>
                <c:pt idx="3734">
                  <c:v>40296</c:v>
                </c:pt>
                <c:pt idx="3735">
                  <c:v>40297</c:v>
                </c:pt>
                <c:pt idx="3736">
                  <c:v>40298</c:v>
                </c:pt>
                <c:pt idx="3737">
                  <c:v>40301</c:v>
                </c:pt>
                <c:pt idx="3738">
                  <c:v>40302</c:v>
                </c:pt>
                <c:pt idx="3739">
                  <c:v>40303</c:v>
                </c:pt>
                <c:pt idx="3740">
                  <c:v>40304</c:v>
                </c:pt>
                <c:pt idx="3741">
                  <c:v>40305</c:v>
                </c:pt>
                <c:pt idx="3742">
                  <c:v>40308</c:v>
                </c:pt>
                <c:pt idx="3743">
                  <c:v>40309</c:v>
                </c:pt>
                <c:pt idx="3744">
                  <c:v>40310</c:v>
                </c:pt>
                <c:pt idx="3745">
                  <c:v>40311</c:v>
                </c:pt>
                <c:pt idx="3746">
                  <c:v>40312</c:v>
                </c:pt>
                <c:pt idx="3747">
                  <c:v>40315</c:v>
                </c:pt>
                <c:pt idx="3748">
                  <c:v>40316</c:v>
                </c:pt>
                <c:pt idx="3749">
                  <c:v>40317</c:v>
                </c:pt>
                <c:pt idx="3750">
                  <c:v>40318</c:v>
                </c:pt>
                <c:pt idx="3751">
                  <c:v>40319</c:v>
                </c:pt>
                <c:pt idx="3752">
                  <c:v>40322</c:v>
                </c:pt>
                <c:pt idx="3753">
                  <c:v>40323</c:v>
                </c:pt>
                <c:pt idx="3754">
                  <c:v>40324</c:v>
                </c:pt>
                <c:pt idx="3755">
                  <c:v>40325</c:v>
                </c:pt>
                <c:pt idx="3756">
                  <c:v>40326</c:v>
                </c:pt>
                <c:pt idx="3757">
                  <c:v>40329</c:v>
                </c:pt>
                <c:pt idx="3758">
                  <c:v>40330</c:v>
                </c:pt>
                <c:pt idx="3759">
                  <c:v>40331</c:v>
                </c:pt>
                <c:pt idx="3760">
                  <c:v>40332</c:v>
                </c:pt>
                <c:pt idx="3761">
                  <c:v>40333</c:v>
                </c:pt>
                <c:pt idx="3762">
                  <c:v>40336</c:v>
                </c:pt>
                <c:pt idx="3763">
                  <c:v>40337</c:v>
                </c:pt>
                <c:pt idx="3764">
                  <c:v>40338</c:v>
                </c:pt>
                <c:pt idx="3765">
                  <c:v>40339</c:v>
                </c:pt>
                <c:pt idx="3766">
                  <c:v>40340</c:v>
                </c:pt>
                <c:pt idx="3767">
                  <c:v>40343</c:v>
                </c:pt>
                <c:pt idx="3768">
                  <c:v>40344</c:v>
                </c:pt>
                <c:pt idx="3769">
                  <c:v>40345</c:v>
                </c:pt>
                <c:pt idx="3770">
                  <c:v>40346</c:v>
                </c:pt>
                <c:pt idx="3771">
                  <c:v>40347</c:v>
                </c:pt>
                <c:pt idx="3772">
                  <c:v>40350</c:v>
                </c:pt>
                <c:pt idx="3773">
                  <c:v>40351</c:v>
                </c:pt>
                <c:pt idx="3774">
                  <c:v>40352</c:v>
                </c:pt>
                <c:pt idx="3775">
                  <c:v>40353</c:v>
                </c:pt>
                <c:pt idx="3776">
                  <c:v>40354</c:v>
                </c:pt>
                <c:pt idx="3777">
                  <c:v>40357</c:v>
                </c:pt>
                <c:pt idx="3778">
                  <c:v>40358</c:v>
                </c:pt>
                <c:pt idx="3779">
                  <c:v>40359</c:v>
                </c:pt>
                <c:pt idx="3780">
                  <c:v>40360</c:v>
                </c:pt>
                <c:pt idx="3781">
                  <c:v>40361</c:v>
                </c:pt>
                <c:pt idx="3782">
                  <c:v>40364</c:v>
                </c:pt>
                <c:pt idx="3783">
                  <c:v>40365</c:v>
                </c:pt>
                <c:pt idx="3784">
                  <c:v>40366</c:v>
                </c:pt>
                <c:pt idx="3785">
                  <c:v>40367</c:v>
                </c:pt>
                <c:pt idx="3786">
                  <c:v>40368</c:v>
                </c:pt>
                <c:pt idx="3787">
                  <c:v>40371</c:v>
                </c:pt>
                <c:pt idx="3788">
                  <c:v>40372</c:v>
                </c:pt>
                <c:pt idx="3789">
                  <c:v>40373</c:v>
                </c:pt>
                <c:pt idx="3790">
                  <c:v>40374</c:v>
                </c:pt>
                <c:pt idx="3791">
                  <c:v>40375</c:v>
                </c:pt>
                <c:pt idx="3792">
                  <c:v>40378</c:v>
                </c:pt>
                <c:pt idx="3793">
                  <c:v>40379</c:v>
                </c:pt>
                <c:pt idx="3794">
                  <c:v>40380</c:v>
                </c:pt>
                <c:pt idx="3795">
                  <c:v>40381</c:v>
                </c:pt>
                <c:pt idx="3796">
                  <c:v>40382</c:v>
                </c:pt>
                <c:pt idx="3797">
                  <c:v>40385</c:v>
                </c:pt>
                <c:pt idx="3798">
                  <c:v>40386</c:v>
                </c:pt>
                <c:pt idx="3799">
                  <c:v>40387</c:v>
                </c:pt>
                <c:pt idx="3800">
                  <c:v>40388</c:v>
                </c:pt>
                <c:pt idx="3801">
                  <c:v>40389</c:v>
                </c:pt>
                <c:pt idx="3802">
                  <c:v>40392</c:v>
                </c:pt>
                <c:pt idx="3803">
                  <c:v>40393</c:v>
                </c:pt>
                <c:pt idx="3804">
                  <c:v>40394</c:v>
                </c:pt>
                <c:pt idx="3805">
                  <c:v>40395</c:v>
                </c:pt>
                <c:pt idx="3806">
                  <c:v>40396</c:v>
                </c:pt>
                <c:pt idx="3807">
                  <c:v>40399</c:v>
                </c:pt>
                <c:pt idx="3808">
                  <c:v>40400</c:v>
                </c:pt>
                <c:pt idx="3809">
                  <c:v>40401</c:v>
                </c:pt>
                <c:pt idx="3810">
                  <c:v>40402</c:v>
                </c:pt>
                <c:pt idx="3811">
                  <c:v>40403</c:v>
                </c:pt>
                <c:pt idx="3812">
                  <c:v>40406</c:v>
                </c:pt>
                <c:pt idx="3813">
                  <c:v>40407</c:v>
                </c:pt>
                <c:pt idx="3814">
                  <c:v>40408</c:v>
                </c:pt>
                <c:pt idx="3815">
                  <c:v>40409</c:v>
                </c:pt>
                <c:pt idx="3816">
                  <c:v>40410</c:v>
                </c:pt>
                <c:pt idx="3817">
                  <c:v>40413</c:v>
                </c:pt>
                <c:pt idx="3818">
                  <c:v>40414</c:v>
                </c:pt>
                <c:pt idx="3819">
                  <c:v>40415</c:v>
                </c:pt>
                <c:pt idx="3820">
                  <c:v>40416</c:v>
                </c:pt>
                <c:pt idx="3821">
                  <c:v>40417</c:v>
                </c:pt>
                <c:pt idx="3822">
                  <c:v>40420</c:v>
                </c:pt>
                <c:pt idx="3823">
                  <c:v>40421</c:v>
                </c:pt>
                <c:pt idx="3824">
                  <c:v>40422</c:v>
                </c:pt>
                <c:pt idx="3825">
                  <c:v>40423</c:v>
                </c:pt>
                <c:pt idx="3826">
                  <c:v>40424</c:v>
                </c:pt>
                <c:pt idx="3827">
                  <c:v>40427</c:v>
                </c:pt>
                <c:pt idx="3828">
                  <c:v>40428</c:v>
                </c:pt>
                <c:pt idx="3829">
                  <c:v>40429</c:v>
                </c:pt>
                <c:pt idx="3830">
                  <c:v>40430</c:v>
                </c:pt>
                <c:pt idx="3831">
                  <c:v>40431</c:v>
                </c:pt>
                <c:pt idx="3832">
                  <c:v>40434</c:v>
                </c:pt>
                <c:pt idx="3833">
                  <c:v>40435</c:v>
                </c:pt>
                <c:pt idx="3834">
                  <c:v>40436</c:v>
                </c:pt>
                <c:pt idx="3835">
                  <c:v>40437</c:v>
                </c:pt>
                <c:pt idx="3836">
                  <c:v>40438</c:v>
                </c:pt>
                <c:pt idx="3837">
                  <c:v>40441</c:v>
                </c:pt>
                <c:pt idx="3838">
                  <c:v>40442</c:v>
                </c:pt>
                <c:pt idx="3839">
                  <c:v>40443</c:v>
                </c:pt>
                <c:pt idx="3840">
                  <c:v>40444</c:v>
                </c:pt>
                <c:pt idx="3841">
                  <c:v>40445</c:v>
                </c:pt>
                <c:pt idx="3842">
                  <c:v>40448</c:v>
                </c:pt>
                <c:pt idx="3843">
                  <c:v>40449</c:v>
                </c:pt>
                <c:pt idx="3844">
                  <c:v>40450</c:v>
                </c:pt>
                <c:pt idx="3845">
                  <c:v>40451</c:v>
                </c:pt>
                <c:pt idx="3846">
                  <c:v>40452</c:v>
                </c:pt>
                <c:pt idx="3847">
                  <c:v>40455</c:v>
                </c:pt>
                <c:pt idx="3848">
                  <c:v>40456</c:v>
                </c:pt>
                <c:pt idx="3849">
                  <c:v>40457</c:v>
                </c:pt>
                <c:pt idx="3850">
                  <c:v>40458</c:v>
                </c:pt>
                <c:pt idx="3851">
                  <c:v>40459</c:v>
                </c:pt>
                <c:pt idx="3852">
                  <c:v>40462</c:v>
                </c:pt>
                <c:pt idx="3853">
                  <c:v>40463</c:v>
                </c:pt>
                <c:pt idx="3854">
                  <c:v>40464</c:v>
                </c:pt>
                <c:pt idx="3855">
                  <c:v>40465</c:v>
                </c:pt>
                <c:pt idx="3856">
                  <c:v>40466</c:v>
                </c:pt>
                <c:pt idx="3857">
                  <c:v>40469</c:v>
                </c:pt>
                <c:pt idx="3858">
                  <c:v>40470</c:v>
                </c:pt>
                <c:pt idx="3859">
                  <c:v>40471</c:v>
                </c:pt>
                <c:pt idx="3860">
                  <c:v>40472</c:v>
                </c:pt>
                <c:pt idx="3861">
                  <c:v>40473</c:v>
                </c:pt>
                <c:pt idx="3862">
                  <c:v>40476</c:v>
                </c:pt>
                <c:pt idx="3863">
                  <c:v>40477</c:v>
                </c:pt>
                <c:pt idx="3864">
                  <c:v>40478</c:v>
                </c:pt>
                <c:pt idx="3865">
                  <c:v>40479</c:v>
                </c:pt>
                <c:pt idx="3866">
                  <c:v>40480</c:v>
                </c:pt>
                <c:pt idx="3867">
                  <c:v>40483</c:v>
                </c:pt>
                <c:pt idx="3868">
                  <c:v>40484</c:v>
                </c:pt>
                <c:pt idx="3869">
                  <c:v>40485</c:v>
                </c:pt>
                <c:pt idx="3870">
                  <c:v>40486</c:v>
                </c:pt>
                <c:pt idx="3871">
                  <c:v>40487</c:v>
                </c:pt>
                <c:pt idx="3872">
                  <c:v>40490</c:v>
                </c:pt>
                <c:pt idx="3873">
                  <c:v>40491</c:v>
                </c:pt>
                <c:pt idx="3874">
                  <c:v>40492</c:v>
                </c:pt>
                <c:pt idx="3875">
                  <c:v>40493</c:v>
                </c:pt>
                <c:pt idx="3876">
                  <c:v>40494</c:v>
                </c:pt>
                <c:pt idx="3877">
                  <c:v>40497</c:v>
                </c:pt>
                <c:pt idx="3878">
                  <c:v>40498</c:v>
                </c:pt>
                <c:pt idx="3879">
                  <c:v>40499</c:v>
                </c:pt>
                <c:pt idx="3880">
                  <c:v>40500</c:v>
                </c:pt>
                <c:pt idx="3881">
                  <c:v>40501</c:v>
                </c:pt>
                <c:pt idx="3882">
                  <c:v>40504</c:v>
                </c:pt>
                <c:pt idx="3883">
                  <c:v>40505</c:v>
                </c:pt>
                <c:pt idx="3884">
                  <c:v>40506</c:v>
                </c:pt>
                <c:pt idx="3885">
                  <c:v>40507</c:v>
                </c:pt>
                <c:pt idx="3886">
                  <c:v>40508</c:v>
                </c:pt>
                <c:pt idx="3887">
                  <c:v>40511</c:v>
                </c:pt>
                <c:pt idx="3888">
                  <c:v>40512</c:v>
                </c:pt>
                <c:pt idx="3889">
                  <c:v>40513</c:v>
                </c:pt>
                <c:pt idx="3890">
                  <c:v>40514</c:v>
                </c:pt>
                <c:pt idx="3891">
                  <c:v>40515</c:v>
                </c:pt>
                <c:pt idx="3892">
                  <c:v>40518</c:v>
                </c:pt>
                <c:pt idx="3893">
                  <c:v>40519</c:v>
                </c:pt>
                <c:pt idx="3894">
                  <c:v>40520</c:v>
                </c:pt>
                <c:pt idx="3895">
                  <c:v>40521</c:v>
                </c:pt>
                <c:pt idx="3896">
                  <c:v>40522</c:v>
                </c:pt>
                <c:pt idx="3897">
                  <c:v>40525</c:v>
                </c:pt>
                <c:pt idx="3898">
                  <c:v>40526</c:v>
                </c:pt>
                <c:pt idx="3899">
                  <c:v>40527</c:v>
                </c:pt>
                <c:pt idx="3900">
                  <c:v>40528</c:v>
                </c:pt>
                <c:pt idx="3901">
                  <c:v>40529</c:v>
                </c:pt>
                <c:pt idx="3902">
                  <c:v>40532</c:v>
                </c:pt>
                <c:pt idx="3903">
                  <c:v>40533</c:v>
                </c:pt>
                <c:pt idx="3904">
                  <c:v>40534</c:v>
                </c:pt>
                <c:pt idx="3905">
                  <c:v>40535</c:v>
                </c:pt>
                <c:pt idx="3906">
                  <c:v>40536</c:v>
                </c:pt>
                <c:pt idx="3907">
                  <c:v>40539</c:v>
                </c:pt>
                <c:pt idx="3908">
                  <c:v>40540</c:v>
                </c:pt>
                <c:pt idx="3909">
                  <c:v>40541</c:v>
                </c:pt>
                <c:pt idx="3910">
                  <c:v>40542</c:v>
                </c:pt>
                <c:pt idx="3911">
                  <c:v>40543</c:v>
                </c:pt>
                <c:pt idx="3912">
                  <c:v>40546</c:v>
                </c:pt>
                <c:pt idx="3913">
                  <c:v>40547</c:v>
                </c:pt>
                <c:pt idx="3914">
                  <c:v>40548</c:v>
                </c:pt>
                <c:pt idx="3915">
                  <c:v>40549</c:v>
                </c:pt>
                <c:pt idx="3916">
                  <c:v>40550</c:v>
                </c:pt>
                <c:pt idx="3917">
                  <c:v>40553</c:v>
                </c:pt>
                <c:pt idx="3918">
                  <c:v>40554</c:v>
                </c:pt>
                <c:pt idx="3919">
                  <c:v>40555</c:v>
                </c:pt>
                <c:pt idx="3920">
                  <c:v>40556</c:v>
                </c:pt>
                <c:pt idx="3921">
                  <c:v>40557</c:v>
                </c:pt>
                <c:pt idx="3922">
                  <c:v>40560</c:v>
                </c:pt>
                <c:pt idx="3923">
                  <c:v>40561</c:v>
                </c:pt>
                <c:pt idx="3924">
                  <c:v>40562</c:v>
                </c:pt>
                <c:pt idx="3925">
                  <c:v>40563</c:v>
                </c:pt>
                <c:pt idx="3926">
                  <c:v>40564</c:v>
                </c:pt>
                <c:pt idx="3927">
                  <c:v>40567</c:v>
                </c:pt>
                <c:pt idx="3928">
                  <c:v>40568</c:v>
                </c:pt>
                <c:pt idx="3929">
                  <c:v>40569</c:v>
                </c:pt>
                <c:pt idx="3930">
                  <c:v>40570</c:v>
                </c:pt>
                <c:pt idx="3931">
                  <c:v>40571</c:v>
                </c:pt>
                <c:pt idx="3932">
                  <c:v>40574</c:v>
                </c:pt>
                <c:pt idx="3933">
                  <c:v>40575</c:v>
                </c:pt>
                <c:pt idx="3934">
                  <c:v>40576</c:v>
                </c:pt>
                <c:pt idx="3935">
                  <c:v>40577</c:v>
                </c:pt>
                <c:pt idx="3936">
                  <c:v>40578</c:v>
                </c:pt>
                <c:pt idx="3937">
                  <c:v>40581</c:v>
                </c:pt>
                <c:pt idx="3938">
                  <c:v>40582</c:v>
                </c:pt>
                <c:pt idx="3939">
                  <c:v>40583</c:v>
                </c:pt>
                <c:pt idx="3940">
                  <c:v>40584</c:v>
                </c:pt>
                <c:pt idx="3941">
                  <c:v>40585</c:v>
                </c:pt>
                <c:pt idx="3942">
                  <c:v>40588</c:v>
                </c:pt>
                <c:pt idx="3943">
                  <c:v>40589</c:v>
                </c:pt>
                <c:pt idx="3944">
                  <c:v>40590</c:v>
                </c:pt>
                <c:pt idx="3945">
                  <c:v>40591</c:v>
                </c:pt>
                <c:pt idx="3946">
                  <c:v>40592</c:v>
                </c:pt>
                <c:pt idx="3947">
                  <c:v>40595</c:v>
                </c:pt>
                <c:pt idx="3948">
                  <c:v>40596</c:v>
                </c:pt>
                <c:pt idx="3949">
                  <c:v>40597</c:v>
                </c:pt>
                <c:pt idx="3950">
                  <c:v>40598</c:v>
                </c:pt>
                <c:pt idx="3951">
                  <c:v>40599</c:v>
                </c:pt>
                <c:pt idx="3952">
                  <c:v>40602</c:v>
                </c:pt>
                <c:pt idx="3953">
                  <c:v>40603</c:v>
                </c:pt>
                <c:pt idx="3954">
                  <c:v>40604</c:v>
                </c:pt>
                <c:pt idx="3955">
                  <c:v>40605</c:v>
                </c:pt>
                <c:pt idx="3956">
                  <c:v>40606</c:v>
                </c:pt>
                <c:pt idx="3957">
                  <c:v>40609</c:v>
                </c:pt>
                <c:pt idx="3958">
                  <c:v>40610</c:v>
                </c:pt>
                <c:pt idx="3959">
                  <c:v>40611</c:v>
                </c:pt>
                <c:pt idx="3960">
                  <c:v>40612</c:v>
                </c:pt>
                <c:pt idx="3961">
                  <c:v>40613</c:v>
                </c:pt>
                <c:pt idx="3962">
                  <c:v>40616</c:v>
                </c:pt>
                <c:pt idx="3963">
                  <c:v>40617</c:v>
                </c:pt>
                <c:pt idx="3964">
                  <c:v>40618</c:v>
                </c:pt>
                <c:pt idx="3965">
                  <c:v>40619</c:v>
                </c:pt>
                <c:pt idx="3966">
                  <c:v>40620</c:v>
                </c:pt>
                <c:pt idx="3967">
                  <c:v>40623</c:v>
                </c:pt>
                <c:pt idx="3968">
                  <c:v>40624</c:v>
                </c:pt>
                <c:pt idx="3969">
                  <c:v>40625</c:v>
                </c:pt>
                <c:pt idx="3970">
                  <c:v>40626</c:v>
                </c:pt>
                <c:pt idx="3971">
                  <c:v>40627</c:v>
                </c:pt>
                <c:pt idx="3972">
                  <c:v>40630</c:v>
                </c:pt>
                <c:pt idx="3973">
                  <c:v>40631</c:v>
                </c:pt>
                <c:pt idx="3974">
                  <c:v>40632</c:v>
                </c:pt>
                <c:pt idx="3975">
                  <c:v>40633</c:v>
                </c:pt>
                <c:pt idx="3976">
                  <c:v>40634</c:v>
                </c:pt>
                <c:pt idx="3977">
                  <c:v>40637</c:v>
                </c:pt>
                <c:pt idx="3978">
                  <c:v>40638</c:v>
                </c:pt>
                <c:pt idx="3979">
                  <c:v>40639</c:v>
                </c:pt>
                <c:pt idx="3980">
                  <c:v>40640</c:v>
                </c:pt>
                <c:pt idx="3981">
                  <c:v>40641</c:v>
                </c:pt>
                <c:pt idx="3982">
                  <c:v>40644</c:v>
                </c:pt>
                <c:pt idx="3983">
                  <c:v>40645</c:v>
                </c:pt>
                <c:pt idx="3984">
                  <c:v>40646</c:v>
                </c:pt>
                <c:pt idx="3985">
                  <c:v>40647</c:v>
                </c:pt>
                <c:pt idx="3986">
                  <c:v>40648</c:v>
                </c:pt>
                <c:pt idx="3987">
                  <c:v>40651</c:v>
                </c:pt>
                <c:pt idx="3988">
                  <c:v>40652</c:v>
                </c:pt>
                <c:pt idx="3989">
                  <c:v>40653</c:v>
                </c:pt>
                <c:pt idx="3990">
                  <c:v>40654</c:v>
                </c:pt>
                <c:pt idx="3991">
                  <c:v>40655</c:v>
                </c:pt>
                <c:pt idx="3992">
                  <c:v>40658</c:v>
                </c:pt>
                <c:pt idx="3993">
                  <c:v>40659</c:v>
                </c:pt>
                <c:pt idx="3994">
                  <c:v>40660</c:v>
                </c:pt>
                <c:pt idx="3995">
                  <c:v>40661</c:v>
                </c:pt>
                <c:pt idx="3996">
                  <c:v>40662</c:v>
                </c:pt>
                <c:pt idx="3997">
                  <c:v>40665</c:v>
                </c:pt>
                <c:pt idx="3998">
                  <c:v>40666</c:v>
                </c:pt>
                <c:pt idx="3999">
                  <c:v>40667</c:v>
                </c:pt>
                <c:pt idx="4000">
                  <c:v>40668</c:v>
                </c:pt>
                <c:pt idx="4001">
                  <c:v>40669</c:v>
                </c:pt>
                <c:pt idx="4002">
                  <c:v>40672</c:v>
                </c:pt>
                <c:pt idx="4003">
                  <c:v>40673</c:v>
                </c:pt>
                <c:pt idx="4004">
                  <c:v>40674</c:v>
                </c:pt>
                <c:pt idx="4005">
                  <c:v>40675</c:v>
                </c:pt>
                <c:pt idx="4006">
                  <c:v>40676</c:v>
                </c:pt>
                <c:pt idx="4007">
                  <c:v>40679</c:v>
                </c:pt>
                <c:pt idx="4008">
                  <c:v>40680</c:v>
                </c:pt>
                <c:pt idx="4009">
                  <c:v>40681</c:v>
                </c:pt>
                <c:pt idx="4010">
                  <c:v>40682</c:v>
                </c:pt>
                <c:pt idx="4011">
                  <c:v>40683</c:v>
                </c:pt>
                <c:pt idx="4012">
                  <c:v>40686</c:v>
                </c:pt>
                <c:pt idx="4013">
                  <c:v>40687</c:v>
                </c:pt>
                <c:pt idx="4014">
                  <c:v>40688</c:v>
                </c:pt>
                <c:pt idx="4015">
                  <c:v>40689</c:v>
                </c:pt>
                <c:pt idx="4016">
                  <c:v>40690</c:v>
                </c:pt>
                <c:pt idx="4017">
                  <c:v>40693</c:v>
                </c:pt>
                <c:pt idx="4018">
                  <c:v>40694</c:v>
                </c:pt>
                <c:pt idx="4019">
                  <c:v>40695</c:v>
                </c:pt>
                <c:pt idx="4020">
                  <c:v>40696</c:v>
                </c:pt>
                <c:pt idx="4021">
                  <c:v>40697</c:v>
                </c:pt>
                <c:pt idx="4022">
                  <c:v>40700</c:v>
                </c:pt>
                <c:pt idx="4023">
                  <c:v>40701</c:v>
                </c:pt>
                <c:pt idx="4024">
                  <c:v>40702</c:v>
                </c:pt>
                <c:pt idx="4025">
                  <c:v>40703</c:v>
                </c:pt>
                <c:pt idx="4026">
                  <c:v>40704</c:v>
                </c:pt>
                <c:pt idx="4027">
                  <c:v>40707</c:v>
                </c:pt>
                <c:pt idx="4028">
                  <c:v>40708</c:v>
                </c:pt>
                <c:pt idx="4029">
                  <c:v>40709</c:v>
                </c:pt>
                <c:pt idx="4030">
                  <c:v>40710</c:v>
                </c:pt>
                <c:pt idx="4031">
                  <c:v>40711</c:v>
                </c:pt>
                <c:pt idx="4032">
                  <c:v>40714</c:v>
                </c:pt>
                <c:pt idx="4033">
                  <c:v>40715</c:v>
                </c:pt>
                <c:pt idx="4034">
                  <c:v>40716</c:v>
                </c:pt>
                <c:pt idx="4035">
                  <c:v>40717</c:v>
                </c:pt>
                <c:pt idx="4036">
                  <c:v>40718</c:v>
                </c:pt>
                <c:pt idx="4037">
                  <c:v>40721</c:v>
                </c:pt>
                <c:pt idx="4038">
                  <c:v>40722</c:v>
                </c:pt>
                <c:pt idx="4039">
                  <c:v>40723</c:v>
                </c:pt>
                <c:pt idx="4040">
                  <c:v>40724</c:v>
                </c:pt>
                <c:pt idx="4041">
                  <c:v>40725</c:v>
                </c:pt>
                <c:pt idx="4042">
                  <c:v>40728</c:v>
                </c:pt>
                <c:pt idx="4043">
                  <c:v>40729</c:v>
                </c:pt>
                <c:pt idx="4044">
                  <c:v>40730</c:v>
                </c:pt>
                <c:pt idx="4045">
                  <c:v>40731</c:v>
                </c:pt>
                <c:pt idx="4046">
                  <c:v>40732</c:v>
                </c:pt>
                <c:pt idx="4047">
                  <c:v>40735</c:v>
                </c:pt>
                <c:pt idx="4048">
                  <c:v>40736</c:v>
                </c:pt>
                <c:pt idx="4049">
                  <c:v>40737</c:v>
                </c:pt>
                <c:pt idx="4050">
                  <c:v>40738</c:v>
                </c:pt>
                <c:pt idx="4051">
                  <c:v>40739</c:v>
                </c:pt>
                <c:pt idx="4052">
                  <c:v>40742</c:v>
                </c:pt>
                <c:pt idx="4053">
                  <c:v>40743</c:v>
                </c:pt>
                <c:pt idx="4054">
                  <c:v>40744</c:v>
                </c:pt>
                <c:pt idx="4055">
                  <c:v>40745</c:v>
                </c:pt>
                <c:pt idx="4056">
                  <c:v>40746</c:v>
                </c:pt>
                <c:pt idx="4057">
                  <c:v>40749</c:v>
                </c:pt>
                <c:pt idx="4058">
                  <c:v>40750</c:v>
                </c:pt>
                <c:pt idx="4059">
                  <c:v>40751</c:v>
                </c:pt>
                <c:pt idx="4060">
                  <c:v>40752</c:v>
                </c:pt>
                <c:pt idx="4061">
                  <c:v>40753</c:v>
                </c:pt>
                <c:pt idx="4062">
                  <c:v>40756</c:v>
                </c:pt>
                <c:pt idx="4063">
                  <c:v>40757</c:v>
                </c:pt>
                <c:pt idx="4064">
                  <c:v>40758</c:v>
                </c:pt>
                <c:pt idx="4065">
                  <c:v>40759</c:v>
                </c:pt>
                <c:pt idx="4066">
                  <c:v>40760</c:v>
                </c:pt>
                <c:pt idx="4067">
                  <c:v>40763</c:v>
                </c:pt>
                <c:pt idx="4068">
                  <c:v>40764</c:v>
                </c:pt>
                <c:pt idx="4069">
                  <c:v>40765</c:v>
                </c:pt>
                <c:pt idx="4070">
                  <c:v>40766</c:v>
                </c:pt>
                <c:pt idx="4071">
                  <c:v>40767</c:v>
                </c:pt>
                <c:pt idx="4072">
                  <c:v>40770</c:v>
                </c:pt>
                <c:pt idx="4073">
                  <c:v>40771</c:v>
                </c:pt>
                <c:pt idx="4074">
                  <c:v>40772</c:v>
                </c:pt>
                <c:pt idx="4075">
                  <c:v>40773</c:v>
                </c:pt>
                <c:pt idx="4076">
                  <c:v>40774</c:v>
                </c:pt>
                <c:pt idx="4077">
                  <c:v>40777</c:v>
                </c:pt>
                <c:pt idx="4078">
                  <c:v>40778</c:v>
                </c:pt>
                <c:pt idx="4079">
                  <c:v>40779</c:v>
                </c:pt>
                <c:pt idx="4080">
                  <c:v>40780</c:v>
                </c:pt>
                <c:pt idx="4081">
                  <c:v>40781</c:v>
                </c:pt>
                <c:pt idx="4082">
                  <c:v>40784</c:v>
                </c:pt>
                <c:pt idx="4083">
                  <c:v>40785</c:v>
                </c:pt>
                <c:pt idx="4084">
                  <c:v>40786</c:v>
                </c:pt>
                <c:pt idx="4085">
                  <c:v>40787</c:v>
                </c:pt>
                <c:pt idx="4086">
                  <c:v>40788</c:v>
                </c:pt>
                <c:pt idx="4087">
                  <c:v>40791</c:v>
                </c:pt>
                <c:pt idx="4088">
                  <c:v>40792</c:v>
                </c:pt>
                <c:pt idx="4089">
                  <c:v>40793</c:v>
                </c:pt>
                <c:pt idx="4090">
                  <c:v>40794</c:v>
                </c:pt>
                <c:pt idx="4091">
                  <c:v>40795</c:v>
                </c:pt>
                <c:pt idx="4092">
                  <c:v>40798</c:v>
                </c:pt>
                <c:pt idx="4093">
                  <c:v>40799</c:v>
                </c:pt>
                <c:pt idx="4094">
                  <c:v>40800</c:v>
                </c:pt>
                <c:pt idx="4095">
                  <c:v>40801</c:v>
                </c:pt>
                <c:pt idx="4096">
                  <c:v>40802</c:v>
                </c:pt>
                <c:pt idx="4097">
                  <c:v>40805</c:v>
                </c:pt>
                <c:pt idx="4098">
                  <c:v>40806</c:v>
                </c:pt>
                <c:pt idx="4099">
                  <c:v>40807</c:v>
                </c:pt>
                <c:pt idx="4100">
                  <c:v>40808</c:v>
                </c:pt>
                <c:pt idx="4101">
                  <c:v>40809</c:v>
                </c:pt>
                <c:pt idx="4102">
                  <c:v>40812</c:v>
                </c:pt>
                <c:pt idx="4103">
                  <c:v>40813</c:v>
                </c:pt>
                <c:pt idx="4104">
                  <c:v>40814</c:v>
                </c:pt>
                <c:pt idx="4105">
                  <c:v>40815</c:v>
                </c:pt>
                <c:pt idx="4106">
                  <c:v>40816</c:v>
                </c:pt>
                <c:pt idx="4107">
                  <c:v>40819</c:v>
                </c:pt>
                <c:pt idx="4108">
                  <c:v>40820</c:v>
                </c:pt>
                <c:pt idx="4109">
                  <c:v>40821</c:v>
                </c:pt>
                <c:pt idx="4110">
                  <c:v>40822</c:v>
                </c:pt>
                <c:pt idx="4111">
                  <c:v>40823</c:v>
                </c:pt>
                <c:pt idx="4112">
                  <c:v>40826</c:v>
                </c:pt>
                <c:pt idx="4113">
                  <c:v>40827</c:v>
                </c:pt>
                <c:pt idx="4114">
                  <c:v>40828</c:v>
                </c:pt>
                <c:pt idx="4115">
                  <c:v>40829</c:v>
                </c:pt>
                <c:pt idx="4116">
                  <c:v>40830</c:v>
                </c:pt>
                <c:pt idx="4117">
                  <c:v>40833</c:v>
                </c:pt>
                <c:pt idx="4118">
                  <c:v>40834</c:v>
                </c:pt>
                <c:pt idx="4119">
                  <c:v>40835</c:v>
                </c:pt>
                <c:pt idx="4120">
                  <c:v>40836</c:v>
                </c:pt>
                <c:pt idx="4121">
                  <c:v>40837</c:v>
                </c:pt>
                <c:pt idx="4122">
                  <c:v>40840</c:v>
                </c:pt>
                <c:pt idx="4123">
                  <c:v>40841</c:v>
                </c:pt>
                <c:pt idx="4124">
                  <c:v>40842</c:v>
                </c:pt>
                <c:pt idx="4125">
                  <c:v>40843</c:v>
                </c:pt>
                <c:pt idx="4126">
                  <c:v>40844</c:v>
                </c:pt>
                <c:pt idx="4127">
                  <c:v>40847</c:v>
                </c:pt>
                <c:pt idx="4128">
                  <c:v>40848</c:v>
                </c:pt>
                <c:pt idx="4129">
                  <c:v>40849</c:v>
                </c:pt>
                <c:pt idx="4130">
                  <c:v>40850</c:v>
                </c:pt>
                <c:pt idx="4131">
                  <c:v>40851</c:v>
                </c:pt>
                <c:pt idx="4132">
                  <c:v>40854</c:v>
                </c:pt>
                <c:pt idx="4133">
                  <c:v>40855</c:v>
                </c:pt>
                <c:pt idx="4134">
                  <c:v>40856</c:v>
                </c:pt>
                <c:pt idx="4135">
                  <c:v>40857</c:v>
                </c:pt>
                <c:pt idx="4136">
                  <c:v>40858</c:v>
                </c:pt>
                <c:pt idx="4137">
                  <c:v>40861</c:v>
                </c:pt>
                <c:pt idx="4138">
                  <c:v>40862</c:v>
                </c:pt>
                <c:pt idx="4139">
                  <c:v>40863</c:v>
                </c:pt>
                <c:pt idx="4140">
                  <c:v>40864</c:v>
                </c:pt>
                <c:pt idx="4141">
                  <c:v>40865</c:v>
                </c:pt>
                <c:pt idx="4142">
                  <c:v>40868</c:v>
                </c:pt>
                <c:pt idx="4143">
                  <c:v>40869</c:v>
                </c:pt>
                <c:pt idx="4144">
                  <c:v>40870</c:v>
                </c:pt>
                <c:pt idx="4145">
                  <c:v>40871</c:v>
                </c:pt>
                <c:pt idx="4146">
                  <c:v>40872</c:v>
                </c:pt>
                <c:pt idx="4147">
                  <c:v>40875</c:v>
                </c:pt>
                <c:pt idx="4148">
                  <c:v>40876</c:v>
                </c:pt>
                <c:pt idx="4149">
                  <c:v>40877</c:v>
                </c:pt>
                <c:pt idx="4150">
                  <c:v>40878</c:v>
                </c:pt>
                <c:pt idx="4151">
                  <c:v>40879</c:v>
                </c:pt>
                <c:pt idx="4152">
                  <c:v>40882</c:v>
                </c:pt>
                <c:pt idx="4153">
                  <c:v>40883</c:v>
                </c:pt>
                <c:pt idx="4154">
                  <c:v>40884</c:v>
                </c:pt>
                <c:pt idx="4155">
                  <c:v>40885</c:v>
                </c:pt>
                <c:pt idx="4156">
                  <c:v>40886</c:v>
                </c:pt>
                <c:pt idx="4157">
                  <c:v>40889</c:v>
                </c:pt>
                <c:pt idx="4158">
                  <c:v>40890</c:v>
                </c:pt>
                <c:pt idx="4159">
                  <c:v>40891</c:v>
                </c:pt>
                <c:pt idx="4160">
                  <c:v>40892</c:v>
                </c:pt>
                <c:pt idx="4161">
                  <c:v>40893</c:v>
                </c:pt>
                <c:pt idx="4162">
                  <c:v>40896</c:v>
                </c:pt>
                <c:pt idx="4163">
                  <c:v>40897</c:v>
                </c:pt>
                <c:pt idx="4164">
                  <c:v>40898</c:v>
                </c:pt>
                <c:pt idx="4165">
                  <c:v>40899</c:v>
                </c:pt>
                <c:pt idx="4166">
                  <c:v>40900</c:v>
                </c:pt>
                <c:pt idx="4167">
                  <c:v>40903</c:v>
                </c:pt>
                <c:pt idx="4168">
                  <c:v>40904</c:v>
                </c:pt>
                <c:pt idx="4169">
                  <c:v>40905</c:v>
                </c:pt>
                <c:pt idx="4170">
                  <c:v>40906</c:v>
                </c:pt>
                <c:pt idx="4171">
                  <c:v>40907</c:v>
                </c:pt>
                <c:pt idx="4172">
                  <c:v>40910</c:v>
                </c:pt>
                <c:pt idx="4173">
                  <c:v>40911</c:v>
                </c:pt>
                <c:pt idx="4174">
                  <c:v>40912</c:v>
                </c:pt>
                <c:pt idx="4175">
                  <c:v>40913</c:v>
                </c:pt>
                <c:pt idx="4176">
                  <c:v>40914</c:v>
                </c:pt>
                <c:pt idx="4177">
                  <c:v>40917</c:v>
                </c:pt>
                <c:pt idx="4178">
                  <c:v>40918</c:v>
                </c:pt>
                <c:pt idx="4179">
                  <c:v>40919</c:v>
                </c:pt>
                <c:pt idx="4180">
                  <c:v>40920</c:v>
                </c:pt>
                <c:pt idx="4181">
                  <c:v>40921</c:v>
                </c:pt>
                <c:pt idx="4182">
                  <c:v>40924</c:v>
                </c:pt>
                <c:pt idx="4183">
                  <c:v>40925</c:v>
                </c:pt>
                <c:pt idx="4184">
                  <c:v>40926</c:v>
                </c:pt>
                <c:pt idx="4185">
                  <c:v>40927</c:v>
                </c:pt>
                <c:pt idx="4186">
                  <c:v>40928</c:v>
                </c:pt>
                <c:pt idx="4187">
                  <c:v>40931</c:v>
                </c:pt>
                <c:pt idx="4188">
                  <c:v>40932</c:v>
                </c:pt>
                <c:pt idx="4189">
                  <c:v>40933</c:v>
                </c:pt>
                <c:pt idx="4190">
                  <c:v>40934</c:v>
                </c:pt>
                <c:pt idx="4191">
                  <c:v>40935</c:v>
                </c:pt>
                <c:pt idx="4192">
                  <c:v>40938</c:v>
                </c:pt>
                <c:pt idx="4193">
                  <c:v>40939</c:v>
                </c:pt>
                <c:pt idx="4194">
                  <c:v>40940</c:v>
                </c:pt>
                <c:pt idx="4195">
                  <c:v>40941</c:v>
                </c:pt>
                <c:pt idx="4196">
                  <c:v>40942</c:v>
                </c:pt>
                <c:pt idx="4197">
                  <c:v>40945</c:v>
                </c:pt>
                <c:pt idx="4198">
                  <c:v>40946</c:v>
                </c:pt>
                <c:pt idx="4199">
                  <c:v>40947</c:v>
                </c:pt>
                <c:pt idx="4200">
                  <c:v>40948</c:v>
                </c:pt>
                <c:pt idx="4201">
                  <c:v>40949</c:v>
                </c:pt>
                <c:pt idx="4202">
                  <c:v>40952</c:v>
                </c:pt>
                <c:pt idx="4203">
                  <c:v>40953</c:v>
                </c:pt>
                <c:pt idx="4204">
                  <c:v>40954</c:v>
                </c:pt>
                <c:pt idx="4205">
                  <c:v>40955</c:v>
                </c:pt>
                <c:pt idx="4206">
                  <c:v>40956</c:v>
                </c:pt>
                <c:pt idx="4207">
                  <c:v>40959</c:v>
                </c:pt>
                <c:pt idx="4208">
                  <c:v>40960</c:v>
                </c:pt>
                <c:pt idx="4209">
                  <c:v>40961</c:v>
                </c:pt>
                <c:pt idx="4210">
                  <c:v>40962</c:v>
                </c:pt>
                <c:pt idx="4211">
                  <c:v>40963</c:v>
                </c:pt>
                <c:pt idx="4212">
                  <c:v>40966</c:v>
                </c:pt>
                <c:pt idx="4213">
                  <c:v>40967</c:v>
                </c:pt>
                <c:pt idx="4214">
                  <c:v>40968</c:v>
                </c:pt>
                <c:pt idx="4215">
                  <c:v>40969</c:v>
                </c:pt>
                <c:pt idx="4216">
                  <c:v>40970</c:v>
                </c:pt>
                <c:pt idx="4217">
                  <c:v>40973</c:v>
                </c:pt>
                <c:pt idx="4218">
                  <c:v>40974</c:v>
                </c:pt>
                <c:pt idx="4219">
                  <c:v>40975</c:v>
                </c:pt>
                <c:pt idx="4220">
                  <c:v>40976</c:v>
                </c:pt>
                <c:pt idx="4221">
                  <c:v>40977</c:v>
                </c:pt>
                <c:pt idx="4222">
                  <c:v>40980</c:v>
                </c:pt>
                <c:pt idx="4223">
                  <c:v>40981</c:v>
                </c:pt>
                <c:pt idx="4224">
                  <c:v>40982</c:v>
                </c:pt>
                <c:pt idx="4225">
                  <c:v>40983</c:v>
                </c:pt>
                <c:pt idx="4226">
                  <c:v>40984</c:v>
                </c:pt>
                <c:pt idx="4227">
                  <c:v>40987</c:v>
                </c:pt>
                <c:pt idx="4228">
                  <c:v>40988</c:v>
                </c:pt>
                <c:pt idx="4229">
                  <c:v>40989</c:v>
                </c:pt>
                <c:pt idx="4230">
                  <c:v>40990</c:v>
                </c:pt>
                <c:pt idx="4231">
                  <c:v>40991</c:v>
                </c:pt>
                <c:pt idx="4232">
                  <c:v>40994</c:v>
                </c:pt>
                <c:pt idx="4233">
                  <c:v>40995</c:v>
                </c:pt>
                <c:pt idx="4234">
                  <c:v>40996</c:v>
                </c:pt>
                <c:pt idx="4235">
                  <c:v>40997</c:v>
                </c:pt>
                <c:pt idx="4236">
                  <c:v>40998</c:v>
                </c:pt>
                <c:pt idx="4237">
                  <c:v>41001</c:v>
                </c:pt>
                <c:pt idx="4238">
                  <c:v>41002</c:v>
                </c:pt>
                <c:pt idx="4239">
                  <c:v>41003</c:v>
                </c:pt>
                <c:pt idx="4240">
                  <c:v>41004</c:v>
                </c:pt>
                <c:pt idx="4241">
                  <c:v>41005</c:v>
                </c:pt>
                <c:pt idx="4242">
                  <c:v>41008</c:v>
                </c:pt>
                <c:pt idx="4243">
                  <c:v>41009</c:v>
                </c:pt>
                <c:pt idx="4244">
                  <c:v>41010</c:v>
                </c:pt>
                <c:pt idx="4245">
                  <c:v>41011</c:v>
                </c:pt>
                <c:pt idx="4246">
                  <c:v>41012</c:v>
                </c:pt>
                <c:pt idx="4247">
                  <c:v>41015</c:v>
                </c:pt>
                <c:pt idx="4248">
                  <c:v>41016</c:v>
                </c:pt>
                <c:pt idx="4249">
                  <c:v>41017</c:v>
                </c:pt>
                <c:pt idx="4250">
                  <c:v>41018</c:v>
                </c:pt>
                <c:pt idx="4251">
                  <c:v>41019</c:v>
                </c:pt>
                <c:pt idx="4252">
                  <c:v>41022</c:v>
                </c:pt>
                <c:pt idx="4253">
                  <c:v>41023</c:v>
                </c:pt>
                <c:pt idx="4254">
                  <c:v>41024</c:v>
                </c:pt>
                <c:pt idx="4255">
                  <c:v>41025</c:v>
                </c:pt>
                <c:pt idx="4256">
                  <c:v>41026</c:v>
                </c:pt>
                <c:pt idx="4257">
                  <c:v>41029</c:v>
                </c:pt>
                <c:pt idx="4258">
                  <c:v>41030</c:v>
                </c:pt>
                <c:pt idx="4259">
                  <c:v>41031</c:v>
                </c:pt>
                <c:pt idx="4260">
                  <c:v>41032</c:v>
                </c:pt>
                <c:pt idx="4261">
                  <c:v>41033</c:v>
                </c:pt>
                <c:pt idx="4262">
                  <c:v>41036</c:v>
                </c:pt>
                <c:pt idx="4263">
                  <c:v>41037</c:v>
                </c:pt>
                <c:pt idx="4264">
                  <c:v>41038</c:v>
                </c:pt>
                <c:pt idx="4265">
                  <c:v>41039</c:v>
                </c:pt>
                <c:pt idx="4266">
                  <c:v>41040</c:v>
                </c:pt>
                <c:pt idx="4267">
                  <c:v>41043</c:v>
                </c:pt>
                <c:pt idx="4268">
                  <c:v>41044</c:v>
                </c:pt>
                <c:pt idx="4269">
                  <c:v>41045</c:v>
                </c:pt>
                <c:pt idx="4270">
                  <c:v>41046</c:v>
                </c:pt>
                <c:pt idx="4271">
                  <c:v>41047</c:v>
                </c:pt>
                <c:pt idx="4272">
                  <c:v>41050</c:v>
                </c:pt>
                <c:pt idx="4273">
                  <c:v>41051</c:v>
                </c:pt>
                <c:pt idx="4274">
                  <c:v>41052</c:v>
                </c:pt>
                <c:pt idx="4275">
                  <c:v>41053</c:v>
                </c:pt>
                <c:pt idx="4276">
                  <c:v>41054</c:v>
                </c:pt>
                <c:pt idx="4277">
                  <c:v>41057</c:v>
                </c:pt>
                <c:pt idx="4278">
                  <c:v>41058</c:v>
                </c:pt>
                <c:pt idx="4279">
                  <c:v>41059</c:v>
                </c:pt>
                <c:pt idx="4280">
                  <c:v>41060</c:v>
                </c:pt>
                <c:pt idx="4281">
                  <c:v>41061</c:v>
                </c:pt>
                <c:pt idx="4282">
                  <c:v>41064</c:v>
                </c:pt>
                <c:pt idx="4283">
                  <c:v>41065</c:v>
                </c:pt>
                <c:pt idx="4284">
                  <c:v>41066</c:v>
                </c:pt>
                <c:pt idx="4285">
                  <c:v>41067</c:v>
                </c:pt>
                <c:pt idx="4286">
                  <c:v>41068</c:v>
                </c:pt>
                <c:pt idx="4287">
                  <c:v>41071</c:v>
                </c:pt>
                <c:pt idx="4288">
                  <c:v>41072</c:v>
                </c:pt>
                <c:pt idx="4289">
                  <c:v>41073</c:v>
                </c:pt>
                <c:pt idx="4290">
                  <c:v>41074</c:v>
                </c:pt>
                <c:pt idx="4291">
                  <c:v>41075</c:v>
                </c:pt>
                <c:pt idx="4292">
                  <c:v>41078</c:v>
                </c:pt>
                <c:pt idx="4293">
                  <c:v>41079</c:v>
                </c:pt>
                <c:pt idx="4294">
                  <c:v>41080</c:v>
                </c:pt>
                <c:pt idx="4295">
                  <c:v>41081</c:v>
                </c:pt>
                <c:pt idx="4296">
                  <c:v>41082</c:v>
                </c:pt>
                <c:pt idx="4297">
                  <c:v>41085</c:v>
                </c:pt>
                <c:pt idx="4298">
                  <c:v>41086</c:v>
                </c:pt>
                <c:pt idx="4299">
                  <c:v>41087</c:v>
                </c:pt>
                <c:pt idx="4300">
                  <c:v>41088</c:v>
                </c:pt>
                <c:pt idx="4301">
                  <c:v>41089</c:v>
                </c:pt>
                <c:pt idx="4302">
                  <c:v>41092</c:v>
                </c:pt>
                <c:pt idx="4303">
                  <c:v>41093</c:v>
                </c:pt>
                <c:pt idx="4304">
                  <c:v>41094</c:v>
                </c:pt>
                <c:pt idx="4305">
                  <c:v>41095</c:v>
                </c:pt>
                <c:pt idx="4306">
                  <c:v>41096</c:v>
                </c:pt>
                <c:pt idx="4307">
                  <c:v>41099</c:v>
                </c:pt>
                <c:pt idx="4308">
                  <c:v>41100</c:v>
                </c:pt>
                <c:pt idx="4309">
                  <c:v>41101</c:v>
                </c:pt>
                <c:pt idx="4310">
                  <c:v>41102</c:v>
                </c:pt>
                <c:pt idx="4311">
                  <c:v>41103</c:v>
                </c:pt>
                <c:pt idx="4312">
                  <c:v>41106</c:v>
                </c:pt>
                <c:pt idx="4313">
                  <c:v>41107</c:v>
                </c:pt>
                <c:pt idx="4314">
                  <c:v>41108</c:v>
                </c:pt>
                <c:pt idx="4315">
                  <c:v>41109</c:v>
                </c:pt>
                <c:pt idx="4316">
                  <c:v>41110</c:v>
                </c:pt>
                <c:pt idx="4317">
                  <c:v>41113</c:v>
                </c:pt>
                <c:pt idx="4318">
                  <c:v>41114</c:v>
                </c:pt>
                <c:pt idx="4319">
                  <c:v>41115</c:v>
                </c:pt>
                <c:pt idx="4320">
                  <c:v>41116</c:v>
                </c:pt>
                <c:pt idx="4321">
                  <c:v>41117</c:v>
                </c:pt>
                <c:pt idx="4322">
                  <c:v>41120</c:v>
                </c:pt>
                <c:pt idx="4323">
                  <c:v>41121</c:v>
                </c:pt>
                <c:pt idx="4324">
                  <c:v>41122</c:v>
                </c:pt>
                <c:pt idx="4325">
                  <c:v>41123</c:v>
                </c:pt>
                <c:pt idx="4326">
                  <c:v>41124</c:v>
                </c:pt>
                <c:pt idx="4327">
                  <c:v>41127</c:v>
                </c:pt>
                <c:pt idx="4328">
                  <c:v>41128</c:v>
                </c:pt>
                <c:pt idx="4329">
                  <c:v>41129</c:v>
                </c:pt>
                <c:pt idx="4330">
                  <c:v>41130</c:v>
                </c:pt>
                <c:pt idx="4331">
                  <c:v>41131</c:v>
                </c:pt>
                <c:pt idx="4332">
                  <c:v>41134</c:v>
                </c:pt>
                <c:pt idx="4333">
                  <c:v>41135</c:v>
                </c:pt>
                <c:pt idx="4334">
                  <c:v>41136</c:v>
                </c:pt>
                <c:pt idx="4335">
                  <c:v>41137</c:v>
                </c:pt>
                <c:pt idx="4336">
                  <c:v>41138</c:v>
                </c:pt>
                <c:pt idx="4337">
                  <c:v>41141</c:v>
                </c:pt>
                <c:pt idx="4338">
                  <c:v>41142</c:v>
                </c:pt>
                <c:pt idx="4339">
                  <c:v>41143</c:v>
                </c:pt>
                <c:pt idx="4340">
                  <c:v>41144</c:v>
                </c:pt>
                <c:pt idx="4341">
                  <c:v>41145</c:v>
                </c:pt>
                <c:pt idx="4342">
                  <c:v>41148</c:v>
                </c:pt>
                <c:pt idx="4343">
                  <c:v>41149</c:v>
                </c:pt>
                <c:pt idx="4344">
                  <c:v>41150</c:v>
                </c:pt>
                <c:pt idx="4345">
                  <c:v>41151</c:v>
                </c:pt>
                <c:pt idx="4346">
                  <c:v>41152</c:v>
                </c:pt>
                <c:pt idx="4347">
                  <c:v>41155</c:v>
                </c:pt>
                <c:pt idx="4348">
                  <c:v>41156</c:v>
                </c:pt>
                <c:pt idx="4349">
                  <c:v>41157</c:v>
                </c:pt>
                <c:pt idx="4350">
                  <c:v>41158</c:v>
                </c:pt>
                <c:pt idx="4351">
                  <c:v>41159</c:v>
                </c:pt>
                <c:pt idx="4352">
                  <c:v>41162</c:v>
                </c:pt>
                <c:pt idx="4353">
                  <c:v>41163</c:v>
                </c:pt>
                <c:pt idx="4354">
                  <c:v>41164</c:v>
                </c:pt>
                <c:pt idx="4355">
                  <c:v>41165</c:v>
                </c:pt>
                <c:pt idx="4356">
                  <c:v>41166</c:v>
                </c:pt>
                <c:pt idx="4357">
                  <c:v>41169</c:v>
                </c:pt>
                <c:pt idx="4358">
                  <c:v>41170</c:v>
                </c:pt>
                <c:pt idx="4359">
                  <c:v>41171</c:v>
                </c:pt>
                <c:pt idx="4360">
                  <c:v>41172</c:v>
                </c:pt>
                <c:pt idx="4361">
                  <c:v>41173</c:v>
                </c:pt>
                <c:pt idx="4362">
                  <c:v>41176</c:v>
                </c:pt>
                <c:pt idx="4363">
                  <c:v>41177</c:v>
                </c:pt>
                <c:pt idx="4364">
                  <c:v>41178</c:v>
                </c:pt>
                <c:pt idx="4365">
                  <c:v>41179</c:v>
                </c:pt>
                <c:pt idx="4366">
                  <c:v>41180</c:v>
                </c:pt>
                <c:pt idx="4367">
                  <c:v>41183</c:v>
                </c:pt>
                <c:pt idx="4368">
                  <c:v>41184</c:v>
                </c:pt>
                <c:pt idx="4369">
                  <c:v>41185</c:v>
                </c:pt>
                <c:pt idx="4370">
                  <c:v>41186</c:v>
                </c:pt>
                <c:pt idx="4371">
                  <c:v>41187</c:v>
                </c:pt>
                <c:pt idx="4372">
                  <c:v>41190</c:v>
                </c:pt>
                <c:pt idx="4373">
                  <c:v>41191</c:v>
                </c:pt>
                <c:pt idx="4374">
                  <c:v>41192</c:v>
                </c:pt>
                <c:pt idx="4375">
                  <c:v>41193</c:v>
                </c:pt>
                <c:pt idx="4376">
                  <c:v>41194</c:v>
                </c:pt>
                <c:pt idx="4377">
                  <c:v>41197</c:v>
                </c:pt>
                <c:pt idx="4378">
                  <c:v>41198</c:v>
                </c:pt>
                <c:pt idx="4379">
                  <c:v>41199</c:v>
                </c:pt>
                <c:pt idx="4380">
                  <c:v>41200</c:v>
                </c:pt>
                <c:pt idx="4381">
                  <c:v>41201</c:v>
                </c:pt>
                <c:pt idx="4382">
                  <c:v>41204</c:v>
                </c:pt>
                <c:pt idx="4383">
                  <c:v>41205</c:v>
                </c:pt>
                <c:pt idx="4384">
                  <c:v>41206</c:v>
                </c:pt>
                <c:pt idx="4385">
                  <c:v>41207</c:v>
                </c:pt>
                <c:pt idx="4386">
                  <c:v>41208</c:v>
                </c:pt>
                <c:pt idx="4387">
                  <c:v>41211</c:v>
                </c:pt>
                <c:pt idx="4388">
                  <c:v>41212</c:v>
                </c:pt>
                <c:pt idx="4389">
                  <c:v>41213</c:v>
                </c:pt>
                <c:pt idx="4390">
                  <c:v>41214</c:v>
                </c:pt>
                <c:pt idx="4391">
                  <c:v>41215</c:v>
                </c:pt>
                <c:pt idx="4392">
                  <c:v>41218</c:v>
                </c:pt>
                <c:pt idx="4393">
                  <c:v>41219</c:v>
                </c:pt>
                <c:pt idx="4394">
                  <c:v>41220</c:v>
                </c:pt>
                <c:pt idx="4395">
                  <c:v>41221</c:v>
                </c:pt>
                <c:pt idx="4396">
                  <c:v>41222</c:v>
                </c:pt>
                <c:pt idx="4397">
                  <c:v>41225</c:v>
                </c:pt>
                <c:pt idx="4398">
                  <c:v>41226</c:v>
                </c:pt>
                <c:pt idx="4399">
                  <c:v>41227</c:v>
                </c:pt>
                <c:pt idx="4400">
                  <c:v>41228</c:v>
                </c:pt>
                <c:pt idx="4401">
                  <c:v>41229</c:v>
                </c:pt>
                <c:pt idx="4402">
                  <c:v>41232</c:v>
                </c:pt>
                <c:pt idx="4403">
                  <c:v>41233</c:v>
                </c:pt>
                <c:pt idx="4404">
                  <c:v>41234</c:v>
                </c:pt>
                <c:pt idx="4405">
                  <c:v>41235</c:v>
                </c:pt>
                <c:pt idx="4406">
                  <c:v>41236</c:v>
                </c:pt>
                <c:pt idx="4407">
                  <c:v>41239</c:v>
                </c:pt>
                <c:pt idx="4408">
                  <c:v>41240</c:v>
                </c:pt>
                <c:pt idx="4409">
                  <c:v>41241</c:v>
                </c:pt>
                <c:pt idx="4410">
                  <c:v>41242</c:v>
                </c:pt>
                <c:pt idx="4411">
                  <c:v>41243</c:v>
                </c:pt>
                <c:pt idx="4412">
                  <c:v>41246</c:v>
                </c:pt>
                <c:pt idx="4413">
                  <c:v>41247</c:v>
                </c:pt>
                <c:pt idx="4414">
                  <c:v>41248</c:v>
                </c:pt>
                <c:pt idx="4415">
                  <c:v>41249</c:v>
                </c:pt>
                <c:pt idx="4416">
                  <c:v>41250</c:v>
                </c:pt>
                <c:pt idx="4417">
                  <c:v>41253</c:v>
                </c:pt>
                <c:pt idx="4418">
                  <c:v>41254</c:v>
                </c:pt>
                <c:pt idx="4419">
                  <c:v>41255</c:v>
                </c:pt>
                <c:pt idx="4420">
                  <c:v>41256</c:v>
                </c:pt>
                <c:pt idx="4421">
                  <c:v>41257</c:v>
                </c:pt>
                <c:pt idx="4422">
                  <c:v>41260</c:v>
                </c:pt>
                <c:pt idx="4423">
                  <c:v>41261</c:v>
                </c:pt>
                <c:pt idx="4424">
                  <c:v>41262</c:v>
                </c:pt>
                <c:pt idx="4425">
                  <c:v>41263</c:v>
                </c:pt>
                <c:pt idx="4426">
                  <c:v>41264</c:v>
                </c:pt>
                <c:pt idx="4427">
                  <c:v>41267</c:v>
                </c:pt>
                <c:pt idx="4428">
                  <c:v>41268</c:v>
                </c:pt>
                <c:pt idx="4429">
                  <c:v>41269</c:v>
                </c:pt>
                <c:pt idx="4430">
                  <c:v>41270</c:v>
                </c:pt>
                <c:pt idx="4431">
                  <c:v>41271</c:v>
                </c:pt>
                <c:pt idx="4432">
                  <c:v>41274</c:v>
                </c:pt>
                <c:pt idx="4433">
                  <c:v>41275</c:v>
                </c:pt>
                <c:pt idx="4434">
                  <c:v>41276</c:v>
                </c:pt>
                <c:pt idx="4435">
                  <c:v>41277</c:v>
                </c:pt>
                <c:pt idx="4436">
                  <c:v>41278</c:v>
                </c:pt>
                <c:pt idx="4437">
                  <c:v>41281</c:v>
                </c:pt>
                <c:pt idx="4438">
                  <c:v>41282</c:v>
                </c:pt>
                <c:pt idx="4439">
                  <c:v>41283</c:v>
                </c:pt>
                <c:pt idx="4440">
                  <c:v>41284</c:v>
                </c:pt>
                <c:pt idx="4441">
                  <c:v>41285</c:v>
                </c:pt>
                <c:pt idx="4442">
                  <c:v>41288</c:v>
                </c:pt>
                <c:pt idx="4443">
                  <c:v>41289</c:v>
                </c:pt>
                <c:pt idx="4444">
                  <c:v>41290</c:v>
                </c:pt>
                <c:pt idx="4445">
                  <c:v>41291</c:v>
                </c:pt>
                <c:pt idx="4446">
                  <c:v>41292</c:v>
                </c:pt>
                <c:pt idx="4447">
                  <c:v>41295</c:v>
                </c:pt>
                <c:pt idx="4448">
                  <c:v>41296</c:v>
                </c:pt>
                <c:pt idx="4449">
                  <c:v>41297</c:v>
                </c:pt>
                <c:pt idx="4450">
                  <c:v>41298</c:v>
                </c:pt>
                <c:pt idx="4451">
                  <c:v>41299</c:v>
                </c:pt>
                <c:pt idx="4452">
                  <c:v>41302</c:v>
                </c:pt>
                <c:pt idx="4453">
                  <c:v>41303</c:v>
                </c:pt>
                <c:pt idx="4454">
                  <c:v>41304</c:v>
                </c:pt>
                <c:pt idx="4455">
                  <c:v>41305</c:v>
                </c:pt>
                <c:pt idx="4456">
                  <c:v>41306</c:v>
                </c:pt>
                <c:pt idx="4457">
                  <c:v>41309</c:v>
                </c:pt>
                <c:pt idx="4458">
                  <c:v>41310</c:v>
                </c:pt>
                <c:pt idx="4459">
                  <c:v>41311</c:v>
                </c:pt>
                <c:pt idx="4460">
                  <c:v>41312</c:v>
                </c:pt>
                <c:pt idx="4461">
                  <c:v>41313</c:v>
                </c:pt>
                <c:pt idx="4462">
                  <c:v>41316</c:v>
                </c:pt>
                <c:pt idx="4463">
                  <c:v>41317</c:v>
                </c:pt>
                <c:pt idx="4464">
                  <c:v>41318</c:v>
                </c:pt>
                <c:pt idx="4465">
                  <c:v>41319</c:v>
                </c:pt>
                <c:pt idx="4466">
                  <c:v>41320</c:v>
                </c:pt>
                <c:pt idx="4467">
                  <c:v>41323</c:v>
                </c:pt>
                <c:pt idx="4468">
                  <c:v>41324</c:v>
                </c:pt>
                <c:pt idx="4469">
                  <c:v>41325</c:v>
                </c:pt>
                <c:pt idx="4470">
                  <c:v>41326</c:v>
                </c:pt>
                <c:pt idx="4471">
                  <c:v>41327</c:v>
                </c:pt>
                <c:pt idx="4472">
                  <c:v>41330</c:v>
                </c:pt>
                <c:pt idx="4473">
                  <c:v>41331</c:v>
                </c:pt>
                <c:pt idx="4474">
                  <c:v>41332</c:v>
                </c:pt>
                <c:pt idx="4475">
                  <c:v>41333</c:v>
                </c:pt>
                <c:pt idx="4476">
                  <c:v>41334</c:v>
                </c:pt>
                <c:pt idx="4477">
                  <c:v>41337</c:v>
                </c:pt>
                <c:pt idx="4478">
                  <c:v>41338</c:v>
                </c:pt>
                <c:pt idx="4479">
                  <c:v>41339</c:v>
                </c:pt>
                <c:pt idx="4480">
                  <c:v>41340</c:v>
                </c:pt>
                <c:pt idx="4481">
                  <c:v>41341</c:v>
                </c:pt>
                <c:pt idx="4482">
                  <c:v>41344</c:v>
                </c:pt>
                <c:pt idx="4483">
                  <c:v>41345</c:v>
                </c:pt>
                <c:pt idx="4484">
                  <c:v>41346</c:v>
                </c:pt>
                <c:pt idx="4485">
                  <c:v>41347</c:v>
                </c:pt>
                <c:pt idx="4486">
                  <c:v>41348</c:v>
                </c:pt>
                <c:pt idx="4487">
                  <c:v>41351</c:v>
                </c:pt>
                <c:pt idx="4488">
                  <c:v>41352</c:v>
                </c:pt>
                <c:pt idx="4489">
                  <c:v>41353</c:v>
                </c:pt>
                <c:pt idx="4490">
                  <c:v>41354</c:v>
                </c:pt>
                <c:pt idx="4491">
                  <c:v>41355</c:v>
                </c:pt>
                <c:pt idx="4492">
                  <c:v>41358</c:v>
                </c:pt>
                <c:pt idx="4493">
                  <c:v>41359</c:v>
                </c:pt>
                <c:pt idx="4494">
                  <c:v>41360</c:v>
                </c:pt>
                <c:pt idx="4495">
                  <c:v>41361</c:v>
                </c:pt>
                <c:pt idx="4496">
                  <c:v>41362</c:v>
                </c:pt>
                <c:pt idx="4497">
                  <c:v>41365</c:v>
                </c:pt>
                <c:pt idx="4498">
                  <c:v>41366</c:v>
                </c:pt>
                <c:pt idx="4499">
                  <c:v>41367</c:v>
                </c:pt>
                <c:pt idx="4500">
                  <c:v>41368</c:v>
                </c:pt>
                <c:pt idx="4501">
                  <c:v>41369</c:v>
                </c:pt>
                <c:pt idx="4502">
                  <c:v>41372</c:v>
                </c:pt>
                <c:pt idx="4503">
                  <c:v>41373</c:v>
                </c:pt>
                <c:pt idx="4504">
                  <c:v>41374</c:v>
                </c:pt>
                <c:pt idx="4505">
                  <c:v>41375</c:v>
                </c:pt>
                <c:pt idx="4506">
                  <c:v>41376</c:v>
                </c:pt>
                <c:pt idx="4507">
                  <c:v>41379</c:v>
                </c:pt>
                <c:pt idx="4508">
                  <c:v>41380</c:v>
                </c:pt>
                <c:pt idx="4509">
                  <c:v>41381</c:v>
                </c:pt>
                <c:pt idx="4510">
                  <c:v>41382</c:v>
                </c:pt>
                <c:pt idx="4511">
                  <c:v>41383</c:v>
                </c:pt>
                <c:pt idx="4512">
                  <c:v>41386</c:v>
                </c:pt>
                <c:pt idx="4513">
                  <c:v>41387</c:v>
                </c:pt>
                <c:pt idx="4514">
                  <c:v>41388</c:v>
                </c:pt>
                <c:pt idx="4515">
                  <c:v>41389</c:v>
                </c:pt>
                <c:pt idx="4516">
                  <c:v>41390</c:v>
                </c:pt>
                <c:pt idx="4517">
                  <c:v>41393</c:v>
                </c:pt>
                <c:pt idx="4518">
                  <c:v>41394</c:v>
                </c:pt>
                <c:pt idx="4519">
                  <c:v>41395</c:v>
                </c:pt>
                <c:pt idx="4520">
                  <c:v>41396</c:v>
                </c:pt>
                <c:pt idx="4521">
                  <c:v>41397</c:v>
                </c:pt>
                <c:pt idx="4522">
                  <c:v>41400</c:v>
                </c:pt>
                <c:pt idx="4523">
                  <c:v>41401</c:v>
                </c:pt>
                <c:pt idx="4524">
                  <c:v>41402</c:v>
                </c:pt>
                <c:pt idx="4525">
                  <c:v>41403</c:v>
                </c:pt>
                <c:pt idx="4526">
                  <c:v>41404</c:v>
                </c:pt>
                <c:pt idx="4527">
                  <c:v>41407</c:v>
                </c:pt>
                <c:pt idx="4528">
                  <c:v>41408</c:v>
                </c:pt>
                <c:pt idx="4529">
                  <c:v>41409</c:v>
                </c:pt>
                <c:pt idx="4530">
                  <c:v>41410</c:v>
                </c:pt>
                <c:pt idx="4531">
                  <c:v>41411</c:v>
                </c:pt>
                <c:pt idx="4532">
                  <c:v>41414</c:v>
                </c:pt>
                <c:pt idx="4533">
                  <c:v>41415</c:v>
                </c:pt>
                <c:pt idx="4534">
                  <c:v>41416</c:v>
                </c:pt>
                <c:pt idx="4535">
                  <c:v>41417</c:v>
                </c:pt>
                <c:pt idx="4536">
                  <c:v>41418</c:v>
                </c:pt>
                <c:pt idx="4537">
                  <c:v>41421</c:v>
                </c:pt>
                <c:pt idx="4538">
                  <c:v>41422</c:v>
                </c:pt>
                <c:pt idx="4539">
                  <c:v>41423</c:v>
                </c:pt>
                <c:pt idx="4540">
                  <c:v>41424</c:v>
                </c:pt>
                <c:pt idx="4541">
                  <c:v>41425</c:v>
                </c:pt>
                <c:pt idx="4542">
                  <c:v>41428</c:v>
                </c:pt>
                <c:pt idx="4543">
                  <c:v>41429</c:v>
                </c:pt>
                <c:pt idx="4544">
                  <c:v>41430</c:v>
                </c:pt>
                <c:pt idx="4545">
                  <c:v>41431</c:v>
                </c:pt>
                <c:pt idx="4546">
                  <c:v>41432</c:v>
                </c:pt>
                <c:pt idx="4547">
                  <c:v>41435</c:v>
                </c:pt>
                <c:pt idx="4548">
                  <c:v>41436</c:v>
                </c:pt>
                <c:pt idx="4549">
                  <c:v>41437</c:v>
                </c:pt>
                <c:pt idx="4550">
                  <c:v>41438</c:v>
                </c:pt>
                <c:pt idx="4551">
                  <c:v>41439</c:v>
                </c:pt>
                <c:pt idx="4552">
                  <c:v>41442</c:v>
                </c:pt>
                <c:pt idx="4553">
                  <c:v>41443</c:v>
                </c:pt>
                <c:pt idx="4554">
                  <c:v>41444</c:v>
                </c:pt>
                <c:pt idx="4555">
                  <c:v>41445</c:v>
                </c:pt>
                <c:pt idx="4556">
                  <c:v>41446</c:v>
                </c:pt>
                <c:pt idx="4557">
                  <c:v>41449</c:v>
                </c:pt>
                <c:pt idx="4558">
                  <c:v>41450</c:v>
                </c:pt>
                <c:pt idx="4559">
                  <c:v>41451</c:v>
                </c:pt>
                <c:pt idx="4560">
                  <c:v>41452</c:v>
                </c:pt>
                <c:pt idx="4561">
                  <c:v>41453</c:v>
                </c:pt>
                <c:pt idx="4562">
                  <c:v>41456</c:v>
                </c:pt>
                <c:pt idx="4563">
                  <c:v>41457</c:v>
                </c:pt>
                <c:pt idx="4564">
                  <c:v>41458</c:v>
                </c:pt>
                <c:pt idx="4565">
                  <c:v>41459</c:v>
                </c:pt>
                <c:pt idx="4566">
                  <c:v>41460</c:v>
                </c:pt>
                <c:pt idx="4567">
                  <c:v>41463</c:v>
                </c:pt>
                <c:pt idx="4568">
                  <c:v>41464</c:v>
                </c:pt>
                <c:pt idx="4569">
                  <c:v>41465</c:v>
                </c:pt>
                <c:pt idx="4570">
                  <c:v>41466</c:v>
                </c:pt>
                <c:pt idx="4571">
                  <c:v>41467</c:v>
                </c:pt>
                <c:pt idx="4572">
                  <c:v>41470</c:v>
                </c:pt>
                <c:pt idx="4573">
                  <c:v>41471</c:v>
                </c:pt>
                <c:pt idx="4574">
                  <c:v>41472</c:v>
                </c:pt>
                <c:pt idx="4575">
                  <c:v>41473</c:v>
                </c:pt>
                <c:pt idx="4576">
                  <c:v>41474</c:v>
                </c:pt>
                <c:pt idx="4577">
                  <c:v>41477</c:v>
                </c:pt>
                <c:pt idx="4578">
                  <c:v>41478</c:v>
                </c:pt>
                <c:pt idx="4579">
                  <c:v>41479</c:v>
                </c:pt>
                <c:pt idx="4580">
                  <c:v>41480</c:v>
                </c:pt>
                <c:pt idx="4581">
                  <c:v>41481</c:v>
                </c:pt>
                <c:pt idx="4582">
                  <c:v>41484</c:v>
                </c:pt>
                <c:pt idx="4583">
                  <c:v>41485</c:v>
                </c:pt>
                <c:pt idx="4584">
                  <c:v>41486</c:v>
                </c:pt>
                <c:pt idx="4585">
                  <c:v>41487</c:v>
                </c:pt>
                <c:pt idx="4586">
                  <c:v>41488</c:v>
                </c:pt>
                <c:pt idx="4587">
                  <c:v>41491</c:v>
                </c:pt>
                <c:pt idx="4588">
                  <c:v>41492</c:v>
                </c:pt>
                <c:pt idx="4589">
                  <c:v>41493</c:v>
                </c:pt>
                <c:pt idx="4590">
                  <c:v>41494</c:v>
                </c:pt>
                <c:pt idx="4591">
                  <c:v>41495</c:v>
                </c:pt>
                <c:pt idx="4592">
                  <c:v>41498</c:v>
                </c:pt>
                <c:pt idx="4593">
                  <c:v>41499</c:v>
                </c:pt>
                <c:pt idx="4594">
                  <c:v>41500</c:v>
                </c:pt>
                <c:pt idx="4595">
                  <c:v>41501</c:v>
                </c:pt>
                <c:pt idx="4596">
                  <c:v>41502</c:v>
                </c:pt>
                <c:pt idx="4597">
                  <c:v>41505</c:v>
                </c:pt>
                <c:pt idx="4598">
                  <c:v>41506</c:v>
                </c:pt>
                <c:pt idx="4599">
                  <c:v>41507</c:v>
                </c:pt>
                <c:pt idx="4600">
                  <c:v>41508</c:v>
                </c:pt>
                <c:pt idx="4601">
                  <c:v>41509</c:v>
                </c:pt>
                <c:pt idx="4602">
                  <c:v>41512</c:v>
                </c:pt>
                <c:pt idx="4603">
                  <c:v>41513</c:v>
                </c:pt>
                <c:pt idx="4604">
                  <c:v>41514</c:v>
                </c:pt>
                <c:pt idx="4605">
                  <c:v>41515</c:v>
                </c:pt>
                <c:pt idx="4606">
                  <c:v>41516</c:v>
                </c:pt>
                <c:pt idx="4607">
                  <c:v>41519</c:v>
                </c:pt>
                <c:pt idx="4608">
                  <c:v>41520</c:v>
                </c:pt>
                <c:pt idx="4609">
                  <c:v>41521</c:v>
                </c:pt>
                <c:pt idx="4610">
                  <c:v>41522</c:v>
                </c:pt>
                <c:pt idx="4611">
                  <c:v>41523</c:v>
                </c:pt>
                <c:pt idx="4612">
                  <c:v>41526</c:v>
                </c:pt>
                <c:pt idx="4613">
                  <c:v>41527</c:v>
                </c:pt>
                <c:pt idx="4614">
                  <c:v>41528</c:v>
                </c:pt>
                <c:pt idx="4615">
                  <c:v>41529</c:v>
                </c:pt>
                <c:pt idx="4616">
                  <c:v>41530</c:v>
                </c:pt>
                <c:pt idx="4617">
                  <c:v>41533</c:v>
                </c:pt>
                <c:pt idx="4618">
                  <c:v>41534</c:v>
                </c:pt>
                <c:pt idx="4619">
                  <c:v>41535</c:v>
                </c:pt>
                <c:pt idx="4620">
                  <c:v>41536</c:v>
                </c:pt>
                <c:pt idx="4621">
                  <c:v>41537</c:v>
                </c:pt>
                <c:pt idx="4622">
                  <c:v>41540</c:v>
                </c:pt>
                <c:pt idx="4623">
                  <c:v>41541</c:v>
                </c:pt>
                <c:pt idx="4624">
                  <c:v>41542</c:v>
                </c:pt>
                <c:pt idx="4625">
                  <c:v>41543</c:v>
                </c:pt>
                <c:pt idx="4626">
                  <c:v>41544</c:v>
                </c:pt>
                <c:pt idx="4627">
                  <c:v>41547</c:v>
                </c:pt>
                <c:pt idx="4628">
                  <c:v>41548</c:v>
                </c:pt>
                <c:pt idx="4629">
                  <c:v>41549</c:v>
                </c:pt>
                <c:pt idx="4630">
                  <c:v>41550</c:v>
                </c:pt>
                <c:pt idx="4631">
                  <c:v>41551</c:v>
                </c:pt>
                <c:pt idx="4632">
                  <c:v>41554</c:v>
                </c:pt>
                <c:pt idx="4633">
                  <c:v>41555</c:v>
                </c:pt>
                <c:pt idx="4634">
                  <c:v>41556</c:v>
                </c:pt>
                <c:pt idx="4635">
                  <c:v>41557</c:v>
                </c:pt>
                <c:pt idx="4636">
                  <c:v>41558</c:v>
                </c:pt>
                <c:pt idx="4637">
                  <c:v>41561</c:v>
                </c:pt>
                <c:pt idx="4638">
                  <c:v>41562</c:v>
                </c:pt>
                <c:pt idx="4639">
                  <c:v>41563</c:v>
                </c:pt>
                <c:pt idx="4640">
                  <c:v>41564</c:v>
                </c:pt>
                <c:pt idx="4641">
                  <c:v>41565</c:v>
                </c:pt>
                <c:pt idx="4642">
                  <c:v>41568</c:v>
                </c:pt>
                <c:pt idx="4643">
                  <c:v>41569</c:v>
                </c:pt>
                <c:pt idx="4644">
                  <c:v>41570</c:v>
                </c:pt>
                <c:pt idx="4645">
                  <c:v>41571</c:v>
                </c:pt>
                <c:pt idx="4646">
                  <c:v>41572</c:v>
                </c:pt>
                <c:pt idx="4647">
                  <c:v>41575</c:v>
                </c:pt>
                <c:pt idx="4648">
                  <c:v>41576</c:v>
                </c:pt>
                <c:pt idx="4649">
                  <c:v>41577</c:v>
                </c:pt>
                <c:pt idx="4650">
                  <c:v>41578</c:v>
                </c:pt>
                <c:pt idx="4651">
                  <c:v>41579</c:v>
                </c:pt>
                <c:pt idx="4652">
                  <c:v>41582</c:v>
                </c:pt>
                <c:pt idx="4653">
                  <c:v>41584</c:v>
                </c:pt>
                <c:pt idx="4654">
                  <c:v>41585</c:v>
                </c:pt>
                <c:pt idx="4655">
                  <c:v>41586</c:v>
                </c:pt>
                <c:pt idx="4656">
                  <c:v>41589</c:v>
                </c:pt>
                <c:pt idx="4657">
                  <c:v>41590</c:v>
                </c:pt>
                <c:pt idx="4658">
                  <c:v>41591</c:v>
                </c:pt>
                <c:pt idx="4659">
                  <c:v>41592</c:v>
                </c:pt>
                <c:pt idx="4660">
                  <c:v>41593</c:v>
                </c:pt>
                <c:pt idx="4661">
                  <c:v>41596</c:v>
                </c:pt>
                <c:pt idx="4662">
                  <c:v>41597</c:v>
                </c:pt>
                <c:pt idx="4663">
                  <c:v>41598</c:v>
                </c:pt>
                <c:pt idx="4664">
                  <c:v>41599</c:v>
                </c:pt>
                <c:pt idx="4665">
                  <c:v>41600</c:v>
                </c:pt>
                <c:pt idx="4666">
                  <c:v>41603</c:v>
                </c:pt>
                <c:pt idx="4667">
                  <c:v>41604</c:v>
                </c:pt>
                <c:pt idx="4668">
                  <c:v>41605</c:v>
                </c:pt>
                <c:pt idx="4669">
                  <c:v>41606</c:v>
                </c:pt>
                <c:pt idx="4670">
                  <c:v>41607</c:v>
                </c:pt>
                <c:pt idx="4671">
                  <c:v>41610</c:v>
                </c:pt>
                <c:pt idx="4672">
                  <c:v>41611</c:v>
                </c:pt>
                <c:pt idx="4673">
                  <c:v>41612</c:v>
                </c:pt>
                <c:pt idx="4674">
                  <c:v>41613</c:v>
                </c:pt>
                <c:pt idx="4675">
                  <c:v>41614</c:v>
                </c:pt>
                <c:pt idx="4676">
                  <c:v>41617</c:v>
                </c:pt>
                <c:pt idx="4677">
                  <c:v>41618</c:v>
                </c:pt>
                <c:pt idx="4678">
                  <c:v>41619</c:v>
                </c:pt>
                <c:pt idx="4679">
                  <c:v>41620</c:v>
                </c:pt>
                <c:pt idx="4680">
                  <c:v>41621</c:v>
                </c:pt>
                <c:pt idx="4681">
                  <c:v>41624</c:v>
                </c:pt>
                <c:pt idx="4682">
                  <c:v>41625</c:v>
                </c:pt>
                <c:pt idx="4683">
                  <c:v>41626</c:v>
                </c:pt>
                <c:pt idx="4684">
                  <c:v>41627</c:v>
                </c:pt>
                <c:pt idx="4685">
                  <c:v>41628</c:v>
                </c:pt>
                <c:pt idx="4686">
                  <c:v>41631</c:v>
                </c:pt>
                <c:pt idx="4687">
                  <c:v>41632</c:v>
                </c:pt>
                <c:pt idx="4688">
                  <c:v>41634</c:v>
                </c:pt>
                <c:pt idx="4689">
                  <c:v>41635</c:v>
                </c:pt>
                <c:pt idx="4690">
                  <c:v>41638</c:v>
                </c:pt>
                <c:pt idx="4691">
                  <c:v>41639</c:v>
                </c:pt>
                <c:pt idx="4692">
                  <c:v>41641</c:v>
                </c:pt>
                <c:pt idx="4693">
                  <c:v>41642</c:v>
                </c:pt>
                <c:pt idx="4694">
                  <c:v>41645</c:v>
                </c:pt>
                <c:pt idx="4695">
                  <c:v>41646</c:v>
                </c:pt>
                <c:pt idx="4696">
                  <c:v>41647</c:v>
                </c:pt>
                <c:pt idx="4697">
                  <c:v>41648</c:v>
                </c:pt>
                <c:pt idx="4698">
                  <c:v>41649</c:v>
                </c:pt>
                <c:pt idx="4699">
                  <c:v>41652</c:v>
                </c:pt>
                <c:pt idx="4700">
                  <c:v>41654</c:v>
                </c:pt>
                <c:pt idx="4701">
                  <c:v>41655</c:v>
                </c:pt>
                <c:pt idx="4702">
                  <c:v>41656</c:v>
                </c:pt>
                <c:pt idx="4703">
                  <c:v>41659</c:v>
                </c:pt>
                <c:pt idx="4704">
                  <c:v>41660</c:v>
                </c:pt>
                <c:pt idx="4705">
                  <c:v>41661</c:v>
                </c:pt>
                <c:pt idx="4706">
                  <c:v>41662</c:v>
                </c:pt>
                <c:pt idx="4707">
                  <c:v>41663</c:v>
                </c:pt>
                <c:pt idx="4708">
                  <c:v>41666</c:v>
                </c:pt>
                <c:pt idx="4709">
                  <c:v>41667</c:v>
                </c:pt>
                <c:pt idx="4710">
                  <c:v>41668</c:v>
                </c:pt>
                <c:pt idx="4711">
                  <c:v>41669</c:v>
                </c:pt>
                <c:pt idx="4712">
                  <c:v>41673</c:v>
                </c:pt>
                <c:pt idx="4713">
                  <c:v>41674</c:v>
                </c:pt>
                <c:pt idx="4714">
                  <c:v>41675</c:v>
                </c:pt>
                <c:pt idx="4715">
                  <c:v>41676</c:v>
                </c:pt>
                <c:pt idx="4716">
                  <c:v>41677</c:v>
                </c:pt>
                <c:pt idx="4717">
                  <c:v>41680</c:v>
                </c:pt>
                <c:pt idx="4718">
                  <c:v>41681</c:v>
                </c:pt>
                <c:pt idx="4719">
                  <c:v>41682</c:v>
                </c:pt>
                <c:pt idx="4720">
                  <c:v>41683</c:v>
                </c:pt>
                <c:pt idx="4721">
                  <c:v>41684</c:v>
                </c:pt>
                <c:pt idx="4722">
                  <c:v>41687</c:v>
                </c:pt>
                <c:pt idx="4723">
                  <c:v>41688</c:v>
                </c:pt>
                <c:pt idx="4724">
                  <c:v>41689</c:v>
                </c:pt>
                <c:pt idx="4725">
                  <c:v>41690</c:v>
                </c:pt>
                <c:pt idx="4726">
                  <c:v>41691</c:v>
                </c:pt>
                <c:pt idx="4727">
                  <c:v>41694</c:v>
                </c:pt>
                <c:pt idx="4728">
                  <c:v>41695</c:v>
                </c:pt>
                <c:pt idx="4729">
                  <c:v>41696</c:v>
                </c:pt>
                <c:pt idx="4730">
                  <c:v>41697</c:v>
                </c:pt>
                <c:pt idx="4731">
                  <c:v>41698</c:v>
                </c:pt>
                <c:pt idx="4732">
                  <c:v>41701</c:v>
                </c:pt>
                <c:pt idx="4733">
                  <c:v>41702</c:v>
                </c:pt>
                <c:pt idx="4734">
                  <c:v>41703</c:v>
                </c:pt>
                <c:pt idx="4735">
                  <c:v>41704</c:v>
                </c:pt>
                <c:pt idx="4736">
                  <c:v>41705</c:v>
                </c:pt>
                <c:pt idx="4737">
                  <c:v>41708</c:v>
                </c:pt>
                <c:pt idx="4738">
                  <c:v>41709</c:v>
                </c:pt>
                <c:pt idx="4739">
                  <c:v>41710</c:v>
                </c:pt>
                <c:pt idx="4740">
                  <c:v>41711</c:v>
                </c:pt>
                <c:pt idx="4741">
                  <c:v>41712</c:v>
                </c:pt>
                <c:pt idx="4742">
                  <c:v>41715</c:v>
                </c:pt>
                <c:pt idx="4743">
                  <c:v>41716</c:v>
                </c:pt>
                <c:pt idx="4744">
                  <c:v>41717</c:v>
                </c:pt>
                <c:pt idx="4745">
                  <c:v>41718</c:v>
                </c:pt>
                <c:pt idx="4746">
                  <c:v>41719</c:v>
                </c:pt>
                <c:pt idx="4747">
                  <c:v>41722</c:v>
                </c:pt>
                <c:pt idx="4748">
                  <c:v>41723</c:v>
                </c:pt>
                <c:pt idx="4749">
                  <c:v>41724</c:v>
                </c:pt>
                <c:pt idx="4750">
                  <c:v>41725</c:v>
                </c:pt>
                <c:pt idx="4751">
                  <c:v>41726</c:v>
                </c:pt>
                <c:pt idx="4752">
                  <c:v>41730</c:v>
                </c:pt>
                <c:pt idx="4753">
                  <c:v>41731</c:v>
                </c:pt>
                <c:pt idx="4754">
                  <c:v>41732</c:v>
                </c:pt>
                <c:pt idx="4755">
                  <c:v>41733</c:v>
                </c:pt>
                <c:pt idx="4756">
                  <c:v>41736</c:v>
                </c:pt>
                <c:pt idx="4757">
                  <c:v>41737</c:v>
                </c:pt>
                <c:pt idx="4758">
                  <c:v>41739</c:v>
                </c:pt>
                <c:pt idx="4759">
                  <c:v>41740</c:v>
                </c:pt>
                <c:pt idx="4760">
                  <c:v>41743</c:v>
                </c:pt>
                <c:pt idx="4761">
                  <c:v>41744</c:v>
                </c:pt>
                <c:pt idx="4762">
                  <c:v>41745</c:v>
                </c:pt>
                <c:pt idx="4763">
                  <c:v>41746</c:v>
                </c:pt>
                <c:pt idx="4764">
                  <c:v>41750</c:v>
                </c:pt>
                <c:pt idx="4765">
                  <c:v>41751</c:v>
                </c:pt>
                <c:pt idx="4766">
                  <c:v>41752</c:v>
                </c:pt>
                <c:pt idx="4767">
                  <c:v>41753</c:v>
                </c:pt>
                <c:pt idx="4768">
                  <c:v>41754</c:v>
                </c:pt>
                <c:pt idx="4769">
                  <c:v>41757</c:v>
                </c:pt>
                <c:pt idx="4770">
                  <c:v>41758</c:v>
                </c:pt>
                <c:pt idx="4771">
                  <c:v>41759</c:v>
                </c:pt>
                <c:pt idx="4772">
                  <c:v>41761</c:v>
                </c:pt>
                <c:pt idx="4773">
                  <c:v>41764</c:v>
                </c:pt>
                <c:pt idx="4774">
                  <c:v>41765</c:v>
                </c:pt>
                <c:pt idx="4775">
                  <c:v>41766</c:v>
                </c:pt>
                <c:pt idx="4776">
                  <c:v>41767</c:v>
                </c:pt>
                <c:pt idx="4777">
                  <c:v>41768</c:v>
                </c:pt>
                <c:pt idx="4778">
                  <c:v>41771</c:v>
                </c:pt>
                <c:pt idx="4779">
                  <c:v>41772</c:v>
                </c:pt>
                <c:pt idx="4780">
                  <c:v>41773</c:v>
                </c:pt>
                <c:pt idx="4781">
                  <c:v>41775</c:v>
                </c:pt>
                <c:pt idx="4782">
                  <c:v>41778</c:v>
                </c:pt>
                <c:pt idx="4783">
                  <c:v>41779</c:v>
                </c:pt>
                <c:pt idx="4784">
                  <c:v>41780</c:v>
                </c:pt>
                <c:pt idx="4785">
                  <c:v>41781</c:v>
                </c:pt>
                <c:pt idx="4786">
                  <c:v>41782</c:v>
                </c:pt>
                <c:pt idx="4787">
                  <c:v>41785</c:v>
                </c:pt>
                <c:pt idx="4788">
                  <c:v>41787</c:v>
                </c:pt>
                <c:pt idx="4789">
                  <c:v>41789</c:v>
                </c:pt>
                <c:pt idx="4790">
                  <c:v>41792</c:v>
                </c:pt>
                <c:pt idx="4791">
                  <c:v>41793</c:v>
                </c:pt>
                <c:pt idx="4792">
                  <c:v>41794</c:v>
                </c:pt>
                <c:pt idx="4793">
                  <c:v>41795</c:v>
                </c:pt>
                <c:pt idx="4794">
                  <c:v>41796</c:v>
                </c:pt>
                <c:pt idx="4795">
                  <c:v>41799</c:v>
                </c:pt>
                <c:pt idx="4796">
                  <c:v>41800</c:v>
                </c:pt>
                <c:pt idx="4797">
                  <c:v>41801</c:v>
                </c:pt>
                <c:pt idx="4798">
                  <c:v>41802</c:v>
                </c:pt>
                <c:pt idx="4799">
                  <c:v>41803</c:v>
                </c:pt>
                <c:pt idx="4800">
                  <c:v>41806</c:v>
                </c:pt>
                <c:pt idx="4801">
                  <c:v>41807</c:v>
                </c:pt>
                <c:pt idx="4802">
                  <c:v>41808</c:v>
                </c:pt>
                <c:pt idx="4803">
                  <c:v>41809</c:v>
                </c:pt>
                <c:pt idx="4804">
                  <c:v>41810</c:v>
                </c:pt>
                <c:pt idx="4805">
                  <c:v>41813</c:v>
                </c:pt>
                <c:pt idx="4806">
                  <c:v>41814</c:v>
                </c:pt>
                <c:pt idx="4807">
                  <c:v>41815</c:v>
                </c:pt>
                <c:pt idx="4808">
                  <c:v>41816</c:v>
                </c:pt>
                <c:pt idx="4809">
                  <c:v>41817</c:v>
                </c:pt>
                <c:pt idx="4810">
                  <c:v>41820</c:v>
                </c:pt>
                <c:pt idx="4811">
                  <c:v>41821</c:v>
                </c:pt>
                <c:pt idx="4812">
                  <c:v>41822</c:v>
                </c:pt>
                <c:pt idx="4813">
                  <c:v>41823</c:v>
                </c:pt>
                <c:pt idx="4814">
                  <c:v>41824</c:v>
                </c:pt>
                <c:pt idx="4815">
                  <c:v>41827</c:v>
                </c:pt>
                <c:pt idx="4816">
                  <c:v>41828</c:v>
                </c:pt>
                <c:pt idx="4817">
                  <c:v>41830</c:v>
                </c:pt>
                <c:pt idx="4818">
                  <c:v>41831</c:v>
                </c:pt>
                <c:pt idx="4819">
                  <c:v>41834</c:v>
                </c:pt>
                <c:pt idx="4820">
                  <c:v>41835</c:v>
                </c:pt>
                <c:pt idx="4821">
                  <c:v>41836</c:v>
                </c:pt>
                <c:pt idx="4822">
                  <c:v>41837</c:v>
                </c:pt>
                <c:pt idx="4823">
                  <c:v>41838</c:v>
                </c:pt>
                <c:pt idx="4824">
                  <c:v>41841</c:v>
                </c:pt>
                <c:pt idx="4825">
                  <c:v>41842</c:v>
                </c:pt>
                <c:pt idx="4826">
                  <c:v>41843</c:v>
                </c:pt>
                <c:pt idx="4827">
                  <c:v>41844</c:v>
                </c:pt>
                <c:pt idx="4828">
                  <c:v>41845</c:v>
                </c:pt>
                <c:pt idx="4829">
                  <c:v>41851</c:v>
                </c:pt>
                <c:pt idx="4830">
                  <c:v>41852</c:v>
                </c:pt>
                <c:pt idx="4831">
                  <c:v>41855</c:v>
                </c:pt>
                <c:pt idx="4832">
                  <c:v>41856</c:v>
                </c:pt>
                <c:pt idx="4833">
                  <c:v>41857</c:v>
                </c:pt>
                <c:pt idx="4834">
                  <c:v>41858</c:v>
                </c:pt>
                <c:pt idx="4835">
                  <c:v>41859</c:v>
                </c:pt>
                <c:pt idx="4836">
                  <c:v>41862</c:v>
                </c:pt>
                <c:pt idx="4837">
                  <c:v>41863</c:v>
                </c:pt>
                <c:pt idx="4838">
                  <c:v>41864</c:v>
                </c:pt>
                <c:pt idx="4839">
                  <c:v>41865</c:v>
                </c:pt>
                <c:pt idx="4840">
                  <c:v>41866</c:v>
                </c:pt>
                <c:pt idx="4841">
                  <c:v>41869</c:v>
                </c:pt>
                <c:pt idx="4842">
                  <c:v>41870</c:v>
                </c:pt>
                <c:pt idx="4843">
                  <c:v>41871</c:v>
                </c:pt>
                <c:pt idx="4844">
                  <c:v>41872</c:v>
                </c:pt>
                <c:pt idx="4845">
                  <c:v>41873</c:v>
                </c:pt>
                <c:pt idx="4846">
                  <c:v>41876</c:v>
                </c:pt>
                <c:pt idx="4847">
                  <c:v>41877</c:v>
                </c:pt>
                <c:pt idx="4848">
                  <c:v>41878</c:v>
                </c:pt>
                <c:pt idx="4849">
                  <c:v>41879</c:v>
                </c:pt>
                <c:pt idx="4850">
                  <c:v>41880</c:v>
                </c:pt>
                <c:pt idx="4851">
                  <c:v>41883</c:v>
                </c:pt>
                <c:pt idx="4852">
                  <c:v>41884</c:v>
                </c:pt>
                <c:pt idx="4853">
                  <c:v>41885</c:v>
                </c:pt>
                <c:pt idx="4854">
                  <c:v>41886</c:v>
                </c:pt>
                <c:pt idx="4855">
                  <c:v>41887</c:v>
                </c:pt>
                <c:pt idx="4856">
                  <c:v>41890</c:v>
                </c:pt>
                <c:pt idx="4857">
                  <c:v>41891</c:v>
                </c:pt>
                <c:pt idx="4858">
                  <c:v>41892</c:v>
                </c:pt>
                <c:pt idx="4859">
                  <c:v>41893</c:v>
                </c:pt>
                <c:pt idx="4860">
                  <c:v>41894</c:v>
                </c:pt>
                <c:pt idx="4861">
                  <c:v>41897</c:v>
                </c:pt>
                <c:pt idx="4862">
                  <c:v>41898</c:v>
                </c:pt>
                <c:pt idx="4863">
                  <c:v>41899</c:v>
                </c:pt>
                <c:pt idx="4864">
                  <c:v>41900</c:v>
                </c:pt>
                <c:pt idx="4865">
                  <c:v>41901</c:v>
                </c:pt>
                <c:pt idx="4866">
                  <c:v>41904</c:v>
                </c:pt>
                <c:pt idx="4867">
                  <c:v>41905</c:v>
                </c:pt>
                <c:pt idx="4868">
                  <c:v>41906</c:v>
                </c:pt>
                <c:pt idx="4869">
                  <c:v>41907</c:v>
                </c:pt>
                <c:pt idx="4870">
                  <c:v>41908</c:v>
                </c:pt>
                <c:pt idx="4871">
                  <c:v>41911</c:v>
                </c:pt>
                <c:pt idx="4872">
                  <c:v>41912</c:v>
                </c:pt>
                <c:pt idx="4873">
                  <c:v>41913</c:v>
                </c:pt>
                <c:pt idx="4874">
                  <c:v>41914</c:v>
                </c:pt>
                <c:pt idx="4875">
                  <c:v>41915</c:v>
                </c:pt>
                <c:pt idx="4876">
                  <c:v>41918</c:v>
                </c:pt>
                <c:pt idx="4877">
                  <c:v>41919</c:v>
                </c:pt>
                <c:pt idx="4878">
                  <c:v>41920</c:v>
                </c:pt>
                <c:pt idx="4879">
                  <c:v>41921</c:v>
                </c:pt>
                <c:pt idx="4880">
                  <c:v>41922</c:v>
                </c:pt>
                <c:pt idx="4881">
                  <c:v>41925</c:v>
                </c:pt>
                <c:pt idx="4882">
                  <c:v>41926</c:v>
                </c:pt>
                <c:pt idx="4883">
                  <c:v>41927</c:v>
                </c:pt>
                <c:pt idx="4884">
                  <c:v>41928</c:v>
                </c:pt>
                <c:pt idx="4885">
                  <c:v>41929</c:v>
                </c:pt>
                <c:pt idx="4886">
                  <c:v>41932</c:v>
                </c:pt>
                <c:pt idx="4887">
                  <c:v>41933</c:v>
                </c:pt>
                <c:pt idx="4888">
                  <c:v>41934</c:v>
                </c:pt>
                <c:pt idx="4889">
                  <c:v>41935</c:v>
                </c:pt>
                <c:pt idx="4890">
                  <c:v>41936</c:v>
                </c:pt>
                <c:pt idx="4891">
                  <c:v>41939</c:v>
                </c:pt>
                <c:pt idx="4892">
                  <c:v>41940</c:v>
                </c:pt>
                <c:pt idx="4893">
                  <c:v>41941</c:v>
                </c:pt>
                <c:pt idx="4894">
                  <c:v>41942</c:v>
                </c:pt>
                <c:pt idx="4895">
                  <c:v>41943</c:v>
                </c:pt>
                <c:pt idx="4896">
                  <c:v>41946</c:v>
                </c:pt>
                <c:pt idx="4897">
                  <c:v>41947</c:v>
                </c:pt>
                <c:pt idx="4898">
                  <c:v>41948</c:v>
                </c:pt>
                <c:pt idx="4899">
                  <c:v>41949</c:v>
                </c:pt>
                <c:pt idx="4900">
                  <c:v>41950</c:v>
                </c:pt>
                <c:pt idx="4901">
                  <c:v>41953</c:v>
                </c:pt>
                <c:pt idx="4902">
                  <c:v>41954</c:v>
                </c:pt>
                <c:pt idx="4903">
                  <c:v>41955</c:v>
                </c:pt>
                <c:pt idx="4904">
                  <c:v>41956</c:v>
                </c:pt>
                <c:pt idx="4905">
                  <c:v>41957</c:v>
                </c:pt>
                <c:pt idx="4906">
                  <c:v>41960</c:v>
                </c:pt>
                <c:pt idx="4907">
                  <c:v>41961</c:v>
                </c:pt>
                <c:pt idx="4908">
                  <c:v>41962</c:v>
                </c:pt>
                <c:pt idx="4909">
                  <c:v>41963</c:v>
                </c:pt>
                <c:pt idx="4910">
                  <c:v>41964</c:v>
                </c:pt>
                <c:pt idx="4911">
                  <c:v>41967</c:v>
                </c:pt>
                <c:pt idx="4912">
                  <c:v>41968</c:v>
                </c:pt>
                <c:pt idx="4913">
                  <c:v>41969</c:v>
                </c:pt>
                <c:pt idx="4914">
                  <c:v>41970</c:v>
                </c:pt>
                <c:pt idx="4915">
                  <c:v>41971</c:v>
                </c:pt>
                <c:pt idx="4916">
                  <c:v>41974</c:v>
                </c:pt>
                <c:pt idx="4917">
                  <c:v>41975</c:v>
                </c:pt>
                <c:pt idx="4918">
                  <c:v>41976</c:v>
                </c:pt>
                <c:pt idx="4919">
                  <c:v>41977</c:v>
                </c:pt>
                <c:pt idx="4920">
                  <c:v>41978</c:v>
                </c:pt>
                <c:pt idx="4921">
                  <c:v>41981</c:v>
                </c:pt>
                <c:pt idx="4922">
                  <c:v>41982</c:v>
                </c:pt>
                <c:pt idx="4923">
                  <c:v>41983</c:v>
                </c:pt>
                <c:pt idx="4924">
                  <c:v>41984</c:v>
                </c:pt>
                <c:pt idx="4925">
                  <c:v>41985</c:v>
                </c:pt>
                <c:pt idx="4926">
                  <c:v>41988</c:v>
                </c:pt>
                <c:pt idx="4927">
                  <c:v>41989</c:v>
                </c:pt>
                <c:pt idx="4928">
                  <c:v>41990</c:v>
                </c:pt>
                <c:pt idx="4929">
                  <c:v>41991</c:v>
                </c:pt>
                <c:pt idx="4930">
                  <c:v>41992</c:v>
                </c:pt>
                <c:pt idx="4931">
                  <c:v>41995</c:v>
                </c:pt>
                <c:pt idx="4932">
                  <c:v>41996</c:v>
                </c:pt>
                <c:pt idx="4933">
                  <c:v>41997</c:v>
                </c:pt>
                <c:pt idx="4934">
                  <c:v>41998</c:v>
                </c:pt>
                <c:pt idx="4935">
                  <c:v>41999</c:v>
                </c:pt>
                <c:pt idx="4936">
                  <c:v>42002</c:v>
                </c:pt>
                <c:pt idx="4937">
                  <c:v>42003</c:v>
                </c:pt>
                <c:pt idx="4938">
                  <c:v>42004</c:v>
                </c:pt>
                <c:pt idx="4939">
                  <c:v>42006</c:v>
                </c:pt>
                <c:pt idx="4940">
                  <c:v>42009</c:v>
                </c:pt>
                <c:pt idx="4941">
                  <c:v>42010</c:v>
                </c:pt>
                <c:pt idx="4942">
                  <c:v>42011</c:v>
                </c:pt>
                <c:pt idx="4943">
                  <c:v>42012</c:v>
                </c:pt>
                <c:pt idx="4944">
                  <c:v>42013</c:v>
                </c:pt>
                <c:pt idx="4945">
                  <c:v>42016</c:v>
                </c:pt>
                <c:pt idx="4946">
                  <c:v>42017</c:v>
                </c:pt>
                <c:pt idx="4947">
                  <c:v>42018</c:v>
                </c:pt>
                <c:pt idx="4948">
                  <c:v>42019</c:v>
                </c:pt>
                <c:pt idx="4949">
                  <c:v>42020</c:v>
                </c:pt>
                <c:pt idx="4950">
                  <c:v>42023</c:v>
                </c:pt>
                <c:pt idx="4951">
                  <c:v>42024</c:v>
                </c:pt>
                <c:pt idx="4952">
                  <c:v>42025</c:v>
                </c:pt>
                <c:pt idx="4953">
                  <c:v>42026</c:v>
                </c:pt>
                <c:pt idx="4954">
                  <c:v>42027</c:v>
                </c:pt>
                <c:pt idx="4955">
                  <c:v>42030</c:v>
                </c:pt>
                <c:pt idx="4956">
                  <c:v>42031</c:v>
                </c:pt>
                <c:pt idx="4957">
                  <c:v>42032</c:v>
                </c:pt>
                <c:pt idx="4958">
                  <c:v>42033</c:v>
                </c:pt>
                <c:pt idx="4959">
                  <c:v>42034</c:v>
                </c:pt>
                <c:pt idx="4960">
                  <c:v>42037</c:v>
                </c:pt>
                <c:pt idx="4961">
                  <c:v>42038</c:v>
                </c:pt>
                <c:pt idx="4962">
                  <c:v>42039</c:v>
                </c:pt>
                <c:pt idx="4963">
                  <c:v>42040</c:v>
                </c:pt>
                <c:pt idx="4964">
                  <c:v>42041</c:v>
                </c:pt>
                <c:pt idx="4965">
                  <c:v>42044</c:v>
                </c:pt>
                <c:pt idx="4966">
                  <c:v>42045</c:v>
                </c:pt>
                <c:pt idx="4967">
                  <c:v>42046</c:v>
                </c:pt>
                <c:pt idx="4968">
                  <c:v>42047</c:v>
                </c:pt>
                <c:pt idx="4969">
                  <c:v>42048</c:v>
                </c:pt>
                <c:pt idx="4970">
                  <c:v>42051</c:v>
                </c:pt>
                <c:pt idx="4971">
                  <c:v>42052</c:v>
                </c:pt>
                <c:pt idx="4972">
                  <c:v>42053</c:v>
                </c:pt>
                <c:pt idx="4973">
                  <c:v>42054</c:v>
                </c:pt>
                <c:pt idx="4974">
                  <c:v>42055</c:v>
                </c:pt>
                <c:pt idx="4975">
                  <c:v>42058</c:v>
                </c:pt>
                <c:pt idx="4976">
                  <c:v>42059</c:v>
                </c:pt>
                <c:pt idx="4977">
                  <c:v>42060</c:v>
                </c:pt>
                <c:pt idx="4978">
                  <c:v>42061</c:v>
                </c:pt>
                <c:pt idx="4979">
                  <c:v>42062</c:v>
                </c:pt>
                <c:pt idx="4980">
                  <c:v>42065</c:v>
                </c:pt>
                <c:pt idx="4981">
                  <c:v>42066</c:v>
                </c:pt>
                <c:pt idx="4982">
                  <c:v>42067</c:v>
                </c:pt>
                <c:pt idx="4983">
                  <c:v>42068</c:v>
                </c:pt>
                <c:pt idx="4984">
                  <c:v>42069</c:v>
                </c:pt>
                <c:pt idx="4985">
                  <c:v>42072</c:v>
                </c:pt>
                <c:pt idx="4986">
                  <c:v>42073</c:v>
                </c:pt>
                <c:pt idx="4987">
                  <c:v>42074</c:v>
                </c:pt>
                <c:pt idx="4988">
                  <c:v>42075</c:v>
                </c:pt>
                <c:pt idx="4989">
                  <c:v>42076</c:v>
                </c:pt>
                <c:pt idx="4990">
                  <c:v>42079</c:v>
                </c:pt>
                <c:pt idx="4991">
                  <c:v>42080</c:v>
                </c:pt>
                <c:pt idx="4992">
                  <c:v>42081</c:v>
                </c:pt>
                <c:pt idx="4993">
                  <c:v>42082</c:v>
                </c:pt>
                <c:pt idx="4994">
                  <c:v>42083</c:v>
                </c:pt>
                <c:pt idx="4995">
                  <c:v>42086</c:v>
                </c:pt>
                <c:pt idx="4996">
                  <c:v>42087</c:v>
                </c:pt>
                <c:pt idx="4997">
                  <c:v>42088</c:v>
                </c:pt>
                <c:pt idx="4998">
                  <c:v>42089</c:v>
                </c:pt>
                <c:pt idx="4999">
                  <c:v>42090</c:v>
                </c:pt>
                <c:pt idx="5000">
                  <c:v>42093</c:v>
                </c:pt>
                <c:pt idx="5001">
                  <c:v>42094</c:v>
                </c:pt>
                <c:pt idx="5002">
                  <c:v>42095</c:v>
                </c:pt>
                <c:pt idx="5003">
                  <c:v>42096</c:v>
                </c:pt>
                <c:pt idx="5004">
                  <c:v>42097</c:v>
                </c:pt>
                <c:pt idx="5005">
                  <c:v>42100</c:v>
                </c:pt>
                <c:pt idx="5006">
                  <c:v>42101</c:v>
                </c:pt>
                <c:pt idx="5007">
                  <c:v>42102</c:v>
                </c:pt>
                <c:pt idx="5008">
                  <c:v>42103</c:v>
                </c:pt>
                <c:pt idx="5009">
                  <c:v>42104</c:v>
                </c:pt>
                <c:pt idx="5010">
                  <c:v>42107</c:v>
                </c:pt>
                <c:pt idx="5011">
                  <c:v>42108</c:v>
                </c:pt>
                <c:pt idx="5012">
                  <c:v>42109</c:v>
                </c:pt>
                <c:pt idx="5013">
                  <c:v>42110</c:v>
                </c:pt>
                <c:pt idx="5014">
                  <c:v>42111</c:v>
                </c:pt>
                <c:pt idx="5015">
                  <c:v>42114</c:v>
                </c:pt>
                <c:pt idx="5016">
                  <c:v>42115</c:v>
                </c:pt>
                <c:pt idx="5017">
                  <c:v>42116</c:v>
                </c:pt>
                <c:pt idx="5018">
                  <c:v>42117</c:v>
                </c:pt>
                <c:pt idx="5019">
                  <c:v>42118</c:v>
                </c:pt>
                <c:pt idx="5020">
                  <c:v>42121</c:v>
                </c:pt>
                <c:pt idx="5021">
                  <c:v>42122</c:v>
                </c:pt>
                <c:pt idx="5022">
                  <c:v>42123</c:v>
                </c:pt>
                <c:pt idx="5023">
                  <c:v>42124</c:v>
                </c:pt>
                <c:pt idx="5024">
                  <c:v>42125</c:v>
                </c:pt>
                <c:pt idx="5025">
                  <c:v>42128</c:v>
                </c:pt>
                <c:pt idx="5026">
                  <c:v>42129</c:v>
                </c:pt>
                <c:pt idx="5027">
                  <c:v>42130</c:v>
                </c:pt>
                <c:pt idx="5028">
                  <c:v>42131</c:v>
                </c:pt>
                <c:pt idx="5029">
                  <c:v>42132</c:v>
                </c:pt>
                <c:pt idx="5030">
                  <c:v>42135</c:v>
                </c:pt>
                <c:pt idx="5031">
                  <c:v>42136</c:v>
                </c:pt>
                <c:pt idx="5032">
                  <c:v>42137</c:v>
                </c:pt>
                <c:pt idx="5033">
                  <c:v>42138</c:v>
                </c:pt>
                <c:pt idx="5034">
                  <c:v>42139</c:v>
                </c:pt>
                <c:pt idx="5035">
                  <c:v>42142</c:v>
                </c:pt>
                <c:pt idx="5036">
                  <c:v>42143</c:v>
                </c:pt>
                <c:pt idx="5037">
                  <c:v>42144</c:v>
                </c:pt>
                <c:pt idx="5038">
                  <c:v>42145</c:v>
                </c:pt>
                <c:pt idx="5039">
                  <c:v>42146</c:v>
                </c:pt>
                <c:pt idx="5040">
                  <c:v>42149</c:v>
                </c:pt>
                <c:pt idx="5041">
                  <c:v>42150</c:v>
                </c:pt>
                <c:pt idx="5042">
                  <c:v>42151</c:v>
                </c:pt>
                <c:pt idx="5043">
                  <c:v>42152</c:v>
                </c:pt>
                <c:pt idx="5044">
                  <c:v>42153</c:v>
                </c:pt>
                <c:pt idx="5045">
                  <c:v>42156</c:v>
                </c:pt>
                <c:pt idx="5046">
                  <c:v>42157</c:v>
                </c:pt>
                <c:pt idx="5047">
                  <c:v>42158</c:v>
                </c:pt>
                <c:pt idx="5048">
                  <c:v>42159</c:v>
                </c:pt>
                <c:pt idx="5049">
                  <c:v>42160</c:v>
                </c:pt>
                <c:pt idx="5050">
                  <c:v>42163</c:v>
                </c:pt>
                <c:pt idx="5051">
                  <c:v>42164</c:v>
                </c:pt>
                <c:pt idx="5052">
                  <c:v>42165</c:v>
                </c:pt>
                <c:pt idx="5053">
                  <c:v>42166</c:v>
                </c:pt>
                <c:pt idx="5054">
                  <c:v>42167</c:v>
                </c:pt>
                <c:pt idx="5055">
                  <c:v>42170</c:v>
                </c:pt>
                <c:pt idx="5056">
                  <c:v>42171</c:v>
                </c:pt>
                <c:pt idx="5057">
                  <c:v>42172</c:v>
                </c:pt>
                <c:pt idx="5058">
                  <c:v>42173</c:v>
                </c:pt>
                <c:pt idx="5059">
                  <c:v>42174</c:v>
                </c:pt>
                <c:pt idx="5060">
                  <c:v>42177</c:v>
                </c:pt>
                <c:pt idx="5061">
                  <c:v>42178</c:v>
                </c:pt>
                <c:pt idx="5062">
                  <c:v>42179</c:v>
                </c:pt>
                <c:pt idx="5063">
                  <c:v>42180</c:v>
                </c:pt>
                <c:pt idx="5064">
                  <c:v>42181</c:v>
                </c:pt>
                <c:pt idx="5065">
                  <c:v>42184</c:v>
                </c:pt>
                <c:pt idx="5066">
                  <c:v>42185</c:v>
                </c:pt>
                <c:pt idx="5067">
                  <c:v>42186</c:v>
                </c:pt>
                <c:pt idx="5068">
                  <c:v>42187</c:v>
                </c:pt>
                <c:pt idx="5069">
                  <c:v>42188</c:v>
                </c:pt>
                <c:pt idx="5070">
                  <c:v>42191</c:v>
                </c:pt>
                <c:pt idx="5071">
                  <c:v>42192</c:v>
                </c:pt>
                <c:pt idx="5072">
                  <c:v>42193</c:v>
                </c:pt>
                <c:pt idx="5073">
                  <c:v>42194</c:v>
                </c:pt>
                <c:pt idx="5074">
                  <c:v>42195</c:v>
                </c:pt>
                <c:pt idx="5075">
                  <c:v>42198</c:v>
                </c:pt>
                <c:pt idx="5076">
                  <c:v>42199</c:v>
                </c:pt>
                <c:pt idx="5077">
                  <c:v>42200</c:v>
                </c:pt>
                <c:pt idx="5078">
                  <c:v>42201</c:v>
                </c:pt>
                <c:pt idx="5079">
                  <c:v>42202</c:v>
                </c:pt>
                <c:pt idx="5080">
                  <c:v>42205</c:v>
                </c:pt>
                <c:pt idx="5081">
                  <c:v>42206</c:v>
                </c:pt>
                <c:pt idx="5082">
                  <c:v>42207</c:v>
                </c:pt>
                <c:pt idx="5083">
                  <c:v>42208</c:v>
                </c:pt>
                <c:pt idx="5084">
                  <c:v>42209</c:v>
                </c:pt>
                <c:pt idx="5085">
                  <c:v>42212</c:v>
                </c:pt>
                <c:pt idx="5086">
                  <c:v>42213</c:v>
                </c:pt>
                <c:pt idx="5087">
                  <c:v>42214</c:v>
                </c:pt>
                <c:pt idx="5088">
                  <c:v>42215</c:v>
                </c:pt>
                <c:pt idx="5089">
                  <c:v>42216</c:v>
                </c:pt>
                <c:pt idx="5090">
                  <c:v>42219</c:v>
                </c:pt>
                <c:pt idx="5091">
                  <c:v>42220</c:v>
                </c:pt>
                <c:pt idx="5092">
                  <c:v>42221</c:v>
                </c:pt>
                <c:pt idx="5093">
                  <c:v>42222</c:v>
                </c:pt>
                <c:pt idx="5094">
                  <c:v>42223</c:v>
                </c:pt>
                <c:pt idx="5095">
                  <c:v>42226</c:v>
                </c:pt>
                <c:pt idx="5096">
                  <c:v>42227</c:v>
                </c:pt>
                <c:pt idx="5097">
                  <c:v>42228</c:v>
                </c:pt>
                <c:pt idx="5098">
                  <c:v>42229</c:v>
                </c:pt>
                <c:pt idx="5099">
                  <c:v>42230</c:v>
                </c:pt>
                <c:pt idx="5100">
                  <c:v>42233</c:v>
                </c:pt>
                <c:pt idx="5101">
                  <c:v>42234</c:v>
                </c:pt>
                <c:pt idx="5102">
                  <c:v>42235</c:v>
                </c:pt>
                <c:pt idx="5103">
                  <c:v>42236</c:v>
                </c:pt>
                <c:pt idx="5104">
                  <c:v>42237</c:v>
                </c:pt>
                <c:pt idx="5105">
                  <c:v>42240</c:v>
                </c:pt>
                <c:pt idx="5106">
                  <c:v>42241</c:v>
                </c:pt>
                <c:pt idx="5107">
                  <c:v>42242</c:v>
                </c:pt>
                <c:pt idx="5108">
                  <c:v>42243</c:v>
                </c:pt>
                <c:pt idx="5109">
                  <c:v>42244</c:v>
                </c:pt>
                <c:pt idx="5110">
                  <c:v>42247</c:v>
                </c:pt>
                <c:pt idx="5111">
                  <c:v>42248</c:v>
                </c:pt>
                <c:pt idx="5112">
                  <c:v>42249</c:v>
                </c:pt>
                <c:pt idx="5113">
                  <c:v>42250</c:v>
                </c:pt>
                <c:pt idx="5114">
                  <c:v>42251</c:v>
                </c:pt>
                <c:pt idx="5115">
                  <c:v>42254</c:v>
                </c:pt>
                <c:pt idx="5116">
                  <c:v>42255</c:v>
                </c:pt>
                <c:pt idx="5117">
                  <c:v>42256</c:v>
                </c:pt>
                <c:pt idx="5118">
                  <c:v>42257</c:v>
                </c:pt>
                <c:pt idx="5119">
                  <c:v>42258</c:v>
                </c:pt>
                <c:pt idx="5120">
                  <c:v>42261</c:v>
                </c:pt>
                <c:pt idx="5121">
                  <c:v>42262</c:v>
                </c:pt>
                <c:pt idx="5122">
                  <c:v>42263</c:v>
                </c:pt>
                <c:pt idx="5123">
                  <c:v>42264</c:v>
                </c:pt>
                <c:pt idx="5124">
                  <c:v>42265</c:v>
                </c:pt>
                <c:pt idx="5125">
                  <c:v>42268</c:v>
                </c:pt>
                <c:pt idx="5126">
                  <c:v>42269</c:v>
                </c:pt>
                <c:pt idx="5127">
                  <c:v>42270</c:v>
                </c:pt>
                <c:pt idx="5128">
                  <c:v>42271</c:v>
                </c:pt>
                <c:pt idx="5129">
                  <c:v>42272</c:v>
                </c:pt>
              </c:numCache>
            </c:numRef>
          </c:cat>
          <c:val>
            <c:numRef>
              <c:f>Sheet1!$C$788:$C$5917</c:f>
              <c:numCache>
                <c:formatCode>_(* #,##0_);_(* \(#,##0\);_(* "-"??_);_(@_)</c:formatCode>
                <c:ptCount val="5130"/>
                <c:pt idx="0">
                  <c:v>2287</c:v>
                </c:pt>
                <c:pt idx="1">
                  <c:v>2287</c:v>
                </c:pt>
                <c:pt idx="2">
                  <c:v>2284</c:v>
                </c:pt>
                <c:pt idx="3">
                  <c:v>2284</c:v>
                </c:pt>
                <c:pt idx="4">
                  <c:v>2288</c:v>
                </c:pt>
                <c:pt idx="5">
                  <c:v>2287</c:v>
                </c:pt>
                <c:pt idx="6">
                  <c:v>2291</c:v>
                </c:pt>
                <c:pt idx="7">
                  <c:v>2294</c:v>
                </c:pt>
                <c:pt idx="8">
                  <c:v>2292</c:v>
                </c:pt>
                <c:pt idx="9">
                  <c:v>2293</c:v>
                </c:pt>
                <c:pt idx="10">
                  <c:v>2292</c:v>
                </c:pt>
                <c:pt idx="11">
                  <c:v>2290</c:v>
                </c:pt>
                <c:pt idx="12">
                  <c:v>2289</c:v>
                </c:pt>
                <c:pt idx="13">
                  <c:v>2289</c:v>
                </c:pt>
                <c:pt idx="14">
                  <c:v>2289</c:v>
                </c:pt>
                <c:pt idx="15">
                  <c:v>2289</c:v>
                </c:pt>
                <c:pt idx="16">
                  <c:v>2290</c:v>
                </c:pt>
                <c:pt idx="17">
                  <c:v>2291</c:v>
                </c:pt>
                <c:pt idx="18">
                  <c:v>2291</c:v>
                </c:pt>
                <c:pt idx="19">
                  <c:v>2292</c:v>
                </c:pt>
                <c:pt idx="20">
                  <c:v>2293</c:v>
                </c:pt>
                <c:pt idx="21">
                  <c:v>2292</c:v>
                </c:pt>
                <c:pt idx="22">
                  <c:v>2292</c:v>
                </c:pt>
                <c:pt idx="23">
                  <c:v>2291</c:v>
                </c:pt>
                <c:pt idx="24">
                  <c:v>2292</c:v>
                </c:pt>
                <c:pt idx="25">
                  <c:v>2290</c:v>
                </c:pt>
                <c:pt idx="26">
                  <c:v>2292</c:v>
                </c:pt>
                <c:pt idx="27">
                  <c:v>2291</c:v>
                </c:pt>
                <c:pt idx="28">
                  <c:v>2291</c:v>
                </c:pt>
                <c:pt idx="29">
                  <c:v>2292</c:v>
                </c:pt>
                <c:pt idx="30">
                  <c:v>2292</c:v>
                </c:pt>
                <c:pt idx="31">
                  <c:v>2293</c:v>
                </c:pt>
                <c:pt idx="32">
                  <c:v>2293</c:v>
                </c:pt>
                <c:pt idx="33">
                  <c:v>2294</c:v>
                </c:pt>
                <c:pt idx="34">
                  <c:v>2296</c:v>
                </c:pt>
                <c:pt idx="35">
                  <c:v>2295</c:v>
                </c:pt>
                <c:pt idx="36">
                  <c:v>2304</c:v>
                </c:pt>
                <c:pt idx="37">
                  <c:v>2304</c:v>
                </c:pt>
                <c:pt idx="38">
                  <c:v>2312</c:v>
                </c:pt>
                <c:pt idx="39">
                  <c:v>2312</c:v>
                </c:pt>
                <c:pt idx="40">
                  <c:v>2314</c:v>
                </c:pt>
                <c:pt idx="41">
                  <c:v>2320</c:v>
                </c:pt>
                <c:pt idx="42">
                  <c:v>2317</c:v>
                </c:pt>
                <c:pt idx="43">
                  <c:v>2316</c:v>
                </c:pt>
                <c:pt idx="44">
                  <c:v>2316</c:v>
                </c:pt>
                <c:pt idx="45">
                  <c:v>2313</c:v>
                </c:pt>
                <c:pt idx="46">
                  <c:v>2314</c:v>
                </c:pt>
                <c:pt idx="47">
                  <c:v>2314</c:v>
                </c:pt>
                <c:pt idx="48">
                  <c:v>2316</c:v>
                </c:pt>
                <c:pt idx="49">
                  <c:v>2319</c:v>
                </c:pt>
                <c:pt idx="50">
                  <c:v>2319</c:v>
                </c:pt>
                <c:pt idx="51">
                  <c:v>2333</c:v>
                </c:pt>
                <c:pt idx="52">
                  <c:v>2334</c:v>
                </c:pt>
                <c:pt idx="53">
                  <c:v>2334</c:v>
                </c:pt>
                <c:pt idx="54">
                  <c:v>2334</c:v>
                </c:pt>
                <c:pt idx="55">
                  <c:v>2335</c:v>
                </c:pt>
                <c:pt idx="56">
                  <c:v>2334</c:v>
                </c:pt>
                <c:pt idx="57">
                  <c:v>2336</c:v>
                </c:pt>
                <c:pt idx="58">
                  <c:v>2337</c:v>
                </c:pt>
                <c:pt idx="59">
                  <c:v>2336</c:v>
                </c:pt>
                <c:pt idx="60">
                  <c:v>2337</c:v>
                </c:pt>
                <c:pt idx="61">
                  <c:v>2340</c:v>
                </c:pt>
                <c:pt idx="62">
                  <c:v>2334</c:v>
                </c:pt>
                <c:pt idx="63">
                  <c:v>2337</c:v>
                </c:pt>
                <c:pt idx="64">
                  <c:v>2338</c:v>
                </c:pt>
                <c:pt idx="65">
                  <c:v>2339</c:v>
                </c:pt>
                <c:pt idx="66">
                  <c:v>2338</c:v>
                </c:pt>
                <c:pt idx="67">
                  <c:v>2335</c:v>
                </c:pt>
                <c:pt idx="68">
                  <c:v>2330</c:v>
                </c:pt>
                <c:pt idx="69">
                  <c:v>2329</c:v>
                </c:pt>
                <c:pt idx="70">
                  <c:v>2330</c:v>
                </c:pt>
                <c:pt idx="71">
                  <c:v>2332</c:v>
                </c:pt>
                <c:pt idx="72">
                  <c:v>2332</c:v>
                </c:pt>
                <c:pt idx="73">
                  <c:v>2331</c:v>
                </c:pt>
                <c:pt idx="74">
                  <c:v>2332</c:v>
                </c:pt>
                <c:pt idx="75">
                  <c:v>2332</c:v>
                </c:pt>
                <c:pt idx="76">
                  <c:v>2328</c:v>
                </c:pt>
                <c:pt idx="77">
                  <c:v>2326</c:v>
                </c:pt>
                <c:pt idx="78">
                  <c:v>2327</c:v>
                </c:pt>
                <c:pt idx="79">
                  <c:v>2326</c:v>
                </c:pt>
                <c:pt idx="80">
                  <c:v>2327</c:v>
                </c:pt>
                <c:pt idx="81">
                  <c:v>2328</c:v>
                </c:pt>
                <c:pt idx="82">
                  <c:v>2327</c:v>
                </c:pt>
                <c:pt idx="83">
                  <c:v>2326</c:v>
                </c:pt>
                <c:pt idx="84">
                  <c:v>2331</c:v>
                </c:pt>
                <c:pt idx="85">
                  <c:v>2329</c:v>
                </c:pt>
                <c:pt idx="86">
                  <c:v>2337</c:v>
                </c:pt>
                <c:pt idx="87">
                  <c:v>2330</c:v>
                </c:pt>
                <c:pt idx="88">
                  <c:v>2329</c:v>
                </c:pt>
                <c:pt idx="89">
                  <c:v>2330</c:v>
                </c:pt>
                <c:pt idx="90">
                  <c:v>2330</c:v>
                </c:pt>
                <c:pt idx="91">
                  <c:v>2328</c:v>
                </c:pt>
                <c:pt idx="92">
                  <c:v>2326</c:v>
                </c:pt>
                <c:pt idx="93">
                  <c:v>2327</c:v>
                </c:pt>
                <c:pt idx="94">
                  <c:v>2332</c:v>
                </c:pt>
                <c:pt idx="95">
                  <c:v>2332</c:v>
                </c:pt>
                <c:pt idx="96">
                  <c:v>2329</c:v>
                </c:pt>
                <c:pt idx="97">
                  <c:v>2329</c:v>
                </c:pt>
                <c:pt idx="98">
                  <c:v>2330</c:v>
                </c:pt>
                <c:pt idx="99">
                  <c:v>2330</c:v>
                </c:pt>
                <c:pt idx="100">
                  <c:v>2329</c:v>
                </c:pt>
                <c:pt idx="101">
                  <c:v>2329</c:v>
                </c:pt>
                <c:pt idx="102">
                  <c:v>2329</c:v>
                </c:pt>
                <c:pt idx="103">
                  <c:v>2329</c:v>
                </c:pt>
                <c:pt idx="104">
                  <c:v>2331</c:v>
                </c:pt>
                <c:pt idx="105">
                  <c:v>2331</c:v>
                </c:pt>
                <c:pt idx="106">
                  <c:v>2331</c:v>
                </c:pt>
                <c:pt idx="107">
                  <c:v>2332</c:v>
                </c:pt>
                <c:pt idx="108">
                  <c:v>2332</c:v>
                </c:pt>
                <c:pt idx="109">
                  <c:v>2332</c:v>
                </c:pt>
                <c:pt idx="110">
                  <c:v>2332</c:v>
                </c:pt>
                <c:pt idx="111">
                  <c:v>2333</c:v>
                </c:pt>
                <c:pt idx="112">
                  <c:v>2334</c:v>
                </c:pt>
                <c:pt idx="113">
                  <c:v>2333</c:v>
                </c:pt>
                <c:pt idx="114">
                  <c:v>2335</c:v>
                </c:pt>
                <c:pt idx="115">
                  <c:v>2335</c:v>
                </c:pt>
                <c:pt idx="116">
                  <c:v>2335</c:v>
                </c:pt>
                <c:pt idx="117">
                  <c:v>2335</c:v>
                </c:pt>
                <c:pt idx="118">
                  <c:v>2337</c:v>
                </c:pt>
                <c:pt idx="119">
                  <c:v>2328</c:v>
                </c:pt>
                <c:pt idx="120">
                  <c:v>2324</c:v>
                </c:pt>
                <c:pt idx="121">
                  <c:v>2322</c:v>
                </c:pt>
                <c:pt idx="122">
                  <c:v>2323</c:v>
                </c:pt>
                <c:pt idx="123">
                  <c:v>2327</c:v>
                </c:pt>
                <c:pt idx="124">
                  <c:v>2332</c:v>
                </c:pt>
                <c:pt idx="125">
                  <c:v>2330</c:v>
                </c:pt>
                <c:pt idx="126">
                  <c:v>2327</c:v>
                </c:pt>
                <c:pt idx="127">
                  <c:v>2328</c:v>
                </c:pt>
                <c:pt idx="128">
                  <c:v>2329</c:v>
                </c:pt>
                <c:pt idx="129">
                  <c:v>2327</c:v>
                </c:pt>
                <c:pt idx="130">
                  <c:v>2326</c:v>
                </c:pt>
                <c:pt idx="131">
                  <c:v>2327</c:v>
                </c:pt>
                <c:pt idx="132">
                  <c:v>2326</c:v>
                </c:pt>
                <c:pt idx="133">
                  <c:v>2326</c:v>
                </c:pt>
                <c:pt idx="134">
                  <c:v>2342</c:v>
                </c:pt>
                <c:pt idx="135">
                  <c:v>2342</c:v>
                </c:pt>
                <c:pt idx="136">
                  <c:v>2338</c:v>
                </c:pt>
                <c:pt idx="137">
                  <c:v>2339</c:v>
                </c:pt>
                <c:pt idx="138">
                  <c:v>2333</c:v>
                </c:pt>
                <c:pt idx="139">
                  <c:v>2332</c:v>
                </c:pt>
                <c:pt idx="140">
                  <c:v>2333</c:v>
                </c:pt>
                <c:pt idx="141">
                  <c:v>2330</c:v>
                </c:pt>
                <c:pt idx="142">
                  <c:v>2329</c:v>
                </c:pt>
                <c:pt idx="143">
                  <c:v>2329</c:v>
                </c:pt>
                <c:pt idx="144">
                  <c:v>2329</c:v>
                </c:pt>
                <c:pt idx="145">
                  <c:v>2330</c:v>
                </c:pt>
                <c:pt idx="146">
                  <c:v>2329</c:v>
                </c:pt>
                <c:pt idx="147">
                  <c:v>2328</c:v>
                </c:pt>
                <c:pt idx="148">
                  <c:v>2330</c:v>
                </c:pt>
                <c:pt idx="149">
                  <c:v>2330</c:v>
                </c:pt>
                <c:pt idx="150">
                  <c:v>2334</c:v>
                </c:pt>
                <c:pt idx="151">
                  <c:v>2362</c:v>
                </c:pt>
                <c:pt idx="152">
                  <c:v>2354</c:v>
                </c:pt>
                <c:pt idx="153">
                  <c:v>2353</c:v>
                </c:pt>
                <c:pt idx="154">
                  <c:v>2344</c:v>
                </c:pt>
                <c:pt idx="155">
                  <c:v>2345</c:v>
                </c:pt>
                <c:pt idx="156">
                  <c:v>2341</c:v>
                </c:pt>
                <c:pt idx="157">
                  <c:v>2339</c:v>
                </c:pt>
                <c:pt idx="158">
                  <c:v>2343</c:v>
                </c:pt>
                <c:pt idx="159">
                  <c:v>2345</c:v>
                </c:pt>
                <c:pt idx="160">
                  <c:v>2345</c:v>
                </c:pt>
                <c:pt idx="161">
                  <c:v>2340</c:v>
                </c:pt>
                <c:pt idx="162">
                  <c:v>2340</c:v>
                </c:pt>
                <c:pt idx="163">
                  <c:v>2340</c:v>
                </c:pt>
                <c:pt idx="164">
                  <c:v>2343</c:v>
                </c:pt>
                <c:pt idx="165">
                  <c:v>2343</c:v>
                </c:pt>
                <c:pt idx="166">
                  <c:v>2342</c:v>
                </c:pt>
                <c:pt idx="167">
                  <c:v>2342</c:v>
                </c:pt>
                <c:pt idx="168">
                  <c:v>2342</c:v>
                </c:pt>
                <c:pt idx="169">
                  <c:v>2342</c:v>
                </c:pt>
                <c:pt idx="170">
                  <c:v>2342</c:v>
                </c:pt>
                <c:pt idx="171">
                  <c:v>2343</c:v>
                </c:pt>
                <c:pt idx="172">
                  <c:v>2342</c:v>
                </c:pt>
                <c:pt idx="173">
                  <c:v>2342</c:v>
                </c:pt>
                <c:pt idx="174">
                  <c:v>2343</c:v>
                </c:pt>
                <c:pt idx="175">
                  <c:v>2343</c:v>
                </c:pt>
                <c:pt idx="176">
                  <c:v>2343</c:v>
                </c:pt>
                <c:pt idx="177">
                  <c:v>2344</c:v>
                </c:pt>
                <c:pt idx="178">
                  <c:v>2344</c:v>
                </c:pt>
                <c:pt idx="179">
                  <c:v>2346</c:v>
                </c:pt>
                <c:pt idx="180">
                  <c:v>2347</c:v>
                </c:pt>
                <c:pt idx="181">
                  <c:v>2347</c:v>
                </c:pt>
                <c:pt idx="182">
                  <c:v>2349</c:v>
                </c:pt>
                <c:pt idx="183">
                  <c:v>2333</c:v>
                </c:pt>
                <c:pt idx="184">
                  <c:v>2328</c:v>
                </c:pt>
                <c:pt idx="185">
                  <c:v>2324</c:v>
                </c:pt>
                <c:pt idx="186">
                  <c:v>2323</c:v>
                </c:pt>
                <c:pt idx="187">
                  <c:v>2322</c:v>
                </c:pt>
                <c:pt idx="188">
                  <c:v>2318</c:v>
                </c:pt>
                <c:pt idx="189">
                  <c:v>2321</c:v>
                </c:pt>
                <c:pt idx="190">
                  <c:v>2320</c:v>
                </c:pt>
                <c:pt idx="191">
                  <c:v>2319</c:v>
                </c:pt>
                <c:pt idx="192">
                  <c:v>2319</c:v>
                </c:pt>
                <c:pt idx="193">
                  <c:v>2318</c:v>
                </c:pt>
                <c:pt idx="194">
                  <c:v>2318</c:v>
                </c:pt>
                <c:pt idx="195">
                  <c:v>2319</c:v>
                </c:pt>
                <c:pt idx="196">
                  <c:v>2322</c:v>
                </c:pt>
                <c:pt idx="197">
                  <c:v>2326</c:v>
                </c:pt>
                <c:pt idx="198">
                  <c:v>2324</c:v>
                </c:pt>
                <c:pt idx="199">
                  <c:v>2323</c:v>
                </c:pt>
                <c:pt idx="200">
                  <c:v>2324</c:v>
                </c:pt>
                <c:pt idx="201">
                  <c:v>2322</c:v>
                </c:pt>
                <c:pt idx="202">
                  <c:v>2321</c:v>
                </c:pt>
                <c:pt idx="203">
                  <c:v>2319</c:v>
                </c:pt>
                <c:pt idx="204">
                  <c:v>2321</c:v>
                </c:pt>
                <c:pt idx="205">
                  <c:v>2321</c:v>
                </c:pt>
                <c:pt idx="206">
                  <c:v>2321</c:v>
                </c:pt>
                <c:pt idx="207">
                  <c:v>2321</c:v>
                </c:pt>
                <c:pt idx="208">
                  <c:v>2323</c:v>
                </c:pt>
                <c:pt idx="209">
                  <c:v>2323</c:v>
                </c:pt>
                <c:pt idx="210">
                  <c:v>2324</c:v>
                </c:pt>
                <c:pt idx="211">
                  <c:v>2324</c:v>
                </c:pt>
                <c:pt idx="212">
                  <c:v>2324</c:v>
                </c:pt>
                <c:pt idx="213">
                  <c:v>2324</c:v>
                </c:pt>
                <c:pt idx="214">
                  <c:v>2325</c:v>
                </c:pt>
                <c:pt idx="215">
                  <c:v>2327</c:v>
                </c:pt>
                <c:pt idx="216">
                  <c:v>2328</c:v>
                </c:pt>
                <c:pt idx="217">
                  <c:v>2328</c:v>
                </c:pt>
                <c:pt idx="218">
                  <c:v>2328</c:v>
                </c:pt>
                <c:pt idx="219">
                  <c:v>2329</c:v>
                </c:pt>
                <c:pt idx="220">
                  <c:v>2329</c:v>
                </c:pt>
                <c:pt idx="221">
                  <c:v>2330</c:v>
                </c:pt>
                <c:pt idx="222">
                  <c:v>2330</c:v>
                </c:pt>
                <c:pt idx="223">
                  <c:v>2331</c:v>
                </c:pt>
                <c:pt idx="224">
                  <c:v>2333</c:v>
                </c:pt>
                <c:pt idx="225">
                  <c:v>2334</c:v>
                </c:pt>
                <c:pt idx="226">
                  <c:v>2334</c:v>
                </c:pt>
                <c:pt idx="227">
                  <c:v>2335</c:v>
                </c:pt>
                <c:pt idx="228">
                  <c:v>2335</c:v>
                </c:pt>
                <c:pt idx="229">
                  <c:v>2340</c:v>
                </c:pt>
                <c:pt idx="230">
                  <c:v>2337</c:v>
                </c:pt>
                <c:pt idx="231">
                  <c:v>2337</c:v>
                </c:pt>
                <c:pt idx="232">
                  <c:v>2338</c:v>
                </c:pt>
                <c:pt idx="233">
                  <c:v>2338</c:v>
                </c:pt>
                <c:pt idx="234">
                  <c:v>2340</c:v>
                </c:pt>
                <c:pt idx="235">
                  <c:v>2341</c:v>
                </c:pt>
                <c:pt idx="236">
                  <c:v>2345</c:v>
                </c:pt>
                <c:pt idx="237">
                  <c:v>2344</c:v>
                </c:pt>
                <c:pt idx="238">
                  <c:v>2345</c:v>
                </c:pt>
                <c:pt idx="239">
                  <c:v>2344</c:v>
                </c:pt>
                <c:pt idx="240">
                  <c:v>2345</c:v>
                </c:pt>
                <c:pt idx="241">
                  <c:v>2345</c:v>
                </c:pt>
                <c:pt idx="242">
                  <c:v>2346</c:v>
                </c:pt>
                <c:pt idx="243">
                  <c:v>2346</c:v>
                </c:pt>
                <c:pt idx="244">
                  <c:v>2348</c:v>
                </c:pt>
                <c:pt idx="245">
                  <c:v>2352</c:v>
                </c:pt>
                <c:pt idx="246">
                  <c:v>2353</c:v>
                </c:pt>
                <c:pt idx="247">
                  <c:v>2353</c:v>
                </c:pt>
                <c:pt idx="248">
                  <c:v>2352</c:v>
                </c:pt>
                <c:pt idx="249">
                  <c:v>2353</c:v>
                </c:pt>
                <c:pt idx="250">
                  <c:v>2354</c:v>
                </c:pt>
                <c:pt idx="251">
                  <c:v>2354</c:v>
                </c:pt>
                <c:pt idx="252">
                  <c:v>2354</c:v>
                </c:pt>
                <c:pt idx="253">
                  <c:v>2354</c:v>
                </c:pt>
                <c:pt idx="254">
                  <c:v>2358</c:v>
                </c:pt>
                <c:pt idx="255">
                  <c:v>2360</c:v>
                </c:pt>
                <c:pt idx="256">
                  <c:v>2363</c:v>
                </c:pt>
                <c:pt idx="257">
                  <c:v>2363</c:v>
                </c:pt>
                <c:pt idx="258">
                  <c:v>2360</c:v>
                </c:pt>
                <c:pt idx="259">
                  <c:v>2362</c:v>
                </c:pt>
                <c:pt idx="260">
                  <c:v>2363</c:v>
                </c:pt>
                <c:pt idx="261">
                  <c:v>2362</c:v>
                </c:pt>
                <c:pt idx="262">
                  <c:v>2363</c:v>
                </c:pt>
                <c:pt idx="263">
                  <c:v>2363</c:v>
                </c:pt>
                <c:pt idx="264">
                  <c:v>2361</c:v>
                </c:pt>
                <c:pt idx="265">
                  <c:v>2362</c:v>
                </c:pt>
                <c:pt idx="266">
                  <c:v>2362</c:v>
                </c:pt>
                <c:pt idx="267">
                  <c:v>2363</c:v>
                </c:pt>
                <c:pt idx="268">
                  <c:v>2362</c:v>
                </c:pt>
                <c:pt idx="269">
                  <c:v>2363</c:v>
                </c:pt>
                <c:pt idx="270">
                  <c:v>2363</c:v>
                </c:pt>
                <c:pt idx="271">
                  <c:v>2370</c:v>
                </c:pt>
                <c:pt idx="272">
                  <c:v>2379</c:v>
                </c:pt>
                <c:pt idx="273">
                  <c:v>2379</c:v>
                </c:pt>
                <c:pt idx="274">
                  <c:v>2375</c:v>
                </c:pt>
                <c:pt idx="275">
                  <c:v>2372</c:v>
                </c:pt>
                <c:pt idx="276">
                  <c:v>2371</c:v>
                </c:pt>
                <c:pt idx="277">
                  <c:v>2371</c:v>
                </c:pt>
                <c:pt idx="278">
                  <c:v>2372</c:v>
                </c:pt>
                <c:pt idx="279">
                  <c:v>2374</c:v>
                </c:pt>
                <c:pt idx="280">
                  <c:v>2375</c:v>
                </c:pt>
                <c:pt idx="281">
                  <c:v>2372</c:v>
                </c:pt>
                <c:pt idx="282">
                  <c:v>2372</c:v>
                </c:pt>
                <c:pt idx="283">
                  <c:v>2371</c:v>
                </c:pt>
                <c:pt idx="284">
                  <c:v>2374</c:v>
                </c:pt>
                <c:pt idx="285">
                  <c:v>2375</c:v>
                </c:pt>
                <c:pt idx="286">
                  <c:v>2373</c:v>
                </c:pt>
                <c:pt idx="287">
                  <c:v>2374</c:v>
                </c:pt>
                <c:pt idx="288">
                  <c:v>2374</c:v>
                </c:pt>
                <c:pt idx="289">
                  <c:v>2377</c:v>
                </c:pt>
                <c:pt idx="290">
                  <c:v>2377</c:v>
                </c:pt>
                <c:pt idx="291">
                  <c:v>2379</c:v>
                </c:pt>
                <c:pt idx="292">
                  <c:v>2377</c:v>
                </c:pt>
                <c:pt idx="293">
                  <c:v>2377</c:v>
                </c:pt>
                <c:pt idx="294">
                  <c:v>2380</c:v>
                </c:pt>
                <c:pt idx="295">
                  <c:v>2382</c:v>
                </c:pt>
                <c:pt idx="296">
                  <c:v>2384</c:v>
                </c:pt>
                <c:pt idx="297">
                  <c:v>2385</c:v>
                </c:pt>
                <c:pt idx="298">
                  <c:v>2388</c:v>
                </c:pt>
                <c:pt idx="299">
                  <c:v>2388</c:v>
                </c:pt>
                <c:pt idx="300">
                  <c:v>2389</c:v>
                </c:pt>
                <c:pt idx="301">
                  <c:v>2391</c:v>
                </c:pt>
                <c:pt idx="302">
                  <c:v>2387</c:v>
                </c:pt>
                <c:pt idx="303">
                  <c:v>2391</c:v>
                </c:pt>
                <c:pt idx="304">
                  <c:v>2396</c:v>
                </c:pt>
                <c:pt idx="305">
                  <c:v>2396</c:v>
                </c:pt>
                <c:pt idx="306">
                  <c:v>2396</c:v>
                </c:pt>
                <c:pt idx="307">
                  <c:v>2393</c:v>
                </c:pt>
                <c:pt idx="308">
                  <c:v>2392</c:v>
                </c:pt>
                <c:pt idx="309">
                  <c:v>2395</c:v>
                </c:pt>
                <c:pt idx="310">
                  <c:v>2394</c:v>
                </c:pt>
                <c:pt idx="311">
                  <c:v>2396</c:v>
                </c:pt>
                <c:pt idx="312">
                  <c:v>2397</c:v>
                </c:pt>
                <c:pt idx="313">
                  <c:v>2399</c:v>
                </c:pt>
                <c:pt idx="314">
                  <c:v>2401</c:v>
                </c:pt>
                <c:pt idx="315">
                  <c:v>2402</c:v>
                </c:pt>
                <c:pt idx="316">
                  <c:v>2403</c:v>
                </c:pt>
                <c:pt idx="317">
                  <c:v>2405</c:v>
                </c:pt>
                <c:pt idx="318">
                  <c:v>2406</c:v>
                </c:pt>
                <c:pt idx="319">
                  <c:v>2405</c:v>
                </c:pt>
                <c:pt idx="320">
                  <c:v>2406</c:v>
                </c:pt>
                <c:pt idx="321">
                  <c:v>2404</c:v>
                </c:pt>
                <c:pt idx="322">
                  <c:v>2399</c:v>
                </c:pt>
                <c:pt idx="323">
                  <c:v>2401</c:v>
                </c:pt>
                <c:pt idx="324">
                  <c:v>2402</c:v>
                </c:pt>
                <c:pt idx="325">
                  <c:v>2401</c:v>
                </c:pt>
                <c:pt idx="326">
                  <c:v>2401</c:v>
                </c:pt>
                <c:pt idx="327">
                  <c:v>2400</c:v>
                </c:pt>
                <c:pt idx="328">
                  <c:v>2399</c:v>
                </c:pt>
                <c:pt idx="329">
                  <c:v>2404</c:v>
                </c:pt>
                <c:pt idx="330">
                  <c:v>2406</c:v>
                </c:pt>
                <c:pt idx="331">
                  <c:v>2406</c:v>
                </c:pt>
                <c:pt idx="332">
                  <c:v>2406</c:v>
                </c:pt>
                <c:pt idx="333">
                  <c:v>2406</c:v>
                </c:pt>
                <c:pt idx="334">
                  <c:v>2407</c:v>
                </c:pt>
                <c:pt idx="335">
                  <c:v>2406</c:v>
                </c:pt>
                <c:pt idx="336">
                  <c:v>2404</c:v>
                </c:pt>
                <c:pt idx="337">
                  <c:v>2406</c:v>
                </c:pt>
                <c:pt idx="338">
                  <c:v>2407</c:v>
                </c:pt>
                <c:pt idx="339">
                  <c:v>2413</c:v>
                </c:pt>
                <c:pt idx="340">
                  <c:v>2410</c:v>
                </c:pt>
                <c:pt idx="341">
                  <c:v>2415</c:v>
                </c:pt>
                <c:pt idx="342">
                  <c:v>2416</c:v>
                </c:pt>
                <c:pt idx="343">
                  <c:v>2420</c:v>
                </c:pt>
                <c:pt idx="344">
                  <c:v>2433</c:v>
                </c:pt>
                <c:pt idx="345">
                  <c:v>2438</c:v>
                </c:pt>
                <c:pt idx="346">
                  <c:v>2427</c:v>
                </c:pt>
                <c:pt idx="347">
                  <c:v>2426</c:v>
                </c:pt>
                <c:pt idx="348">
                  <c:v>2432</c:v>
                </c:pt>
                <c:pt idx="349">
                  <c:v>2433</c:v>
                </c:pt>
                <c:pt idx="350">
                  <c:v>2433</c:v>
                </c:pt>
                <c:pt idx="351">
                  <c:v>2426</c:v>
                </c:pt>
                <c:pt idx="352">
                  <c:v>2425</c:v>
                </c:pt>
                <c:pt idx="353">
                  <c:v>2430</c:v>
                </c:pt>
                <c:pt idx="354">
                  <c:v>2428</c:v>
                </c:pt>
                <c:pt idx="355">
                  <c:v>2429</c:v>
                </c:pt>
                <c:pt idx="356">
                  <c:v>2427</c:v>
                </c:pt>
                <c:pt idx="357">
                  <c:v>2428</c:v>
                </c:pt>
                <c:pt idx="358">
                  <c:v>2441</c:v>
                </c:pt>
                <c:pt idx="359">
                  <c:v>2440</c:v>
                </c:pt>
                <c:pt idx="360">
                  <c:v>2436</c:v>
                </c:pt>
                <c:pt idx="361">
                  <c:v>2444</c:v>
                </c:pt>
                <c:pt idx="362">
                  <c:v>2443</c:v>
                </c:pt>
                <c:pt idx="363">
                  <c:v>2443</c:v>
                </c:pt>
                <c:pt idx="364">
                  <c:v>2443</c:v>
                </c:pt>
                <c:pt idx="365">
                  <c:v>2443</c:v>
                </c:pt>
                <c:pt idx="366">
                  <c:v>2441</c:v>
                </c:pt>
                <c:pt idx="367">
                  <c:v>2442</c:v>
                </c:pt>
                <c:pt idx="368">
                  <c:v>2444</c:v>
                </c:pt>
                <c:pt idx="369">
                  <c:v>2442</c:v>
                </c:pt>
                <c:pt idx="370">
                  <c:v>2435</c:v>
                </c:pt>
                <c:pt idx="371">
                  <c:v>2431</c:v>
                </c:pt>
                <c:pt idx="372">
                  <c:v>2429</c:v>
                </c:pt>
                <c:pt idx="373">
                  <c:v>2428</c:v>
                </c:pt>
                <c:pt idx="374">
                  <c:v>2429</c:v>
                </c:pt>
                <c:pt idx="375">
                  <c:v>2430</c:v>
                </c:pt>
                <c:pt idx="376">
                  <c:v>2430</c:v>
                </c:pt>
                <c:pt idx="377">
                  <c:v>2429</c:v>
                </c:pt>
                <c:pt idx="378">
                  <c:v>2428</c:v>
                </c:pt>
                <c:pt idx="379">
                  <c:v>2427</c:v>
                </c:pt>
                <c:pt idx="380">
                  <c:v>2428</c:v>
                </c:pt>
                <c:pt idx="381">
                  <c:v>2428</c:v>
                </c:pt>
                <c:pt idx="382">
                  <c:v>2428</c:v>
                </c:pt>
                <c:pt idx="383">
                  <c:v>2427</c:v>
                </c:pt>
                <c:pt idx="384">
                  <c:v>2431</c:v>
                </c:pt>
                <c:pt idx="385">
                  <c:v>2431</c:v>
                </c:pt>
                <c:pt idx="386">
                  <c:v>2431</c:v>
                </c:pt>
                <c:pt idx="387">
                  <c:v>2432</c:v>
                </c:pt>
                <c:pt idx="388">
                  <c:v>2432</c:v>
                </c:pt>
                <c:pt idx="389">
                  <c:v>2432</c:v>
                </c:pt>
                <c:pt idx="390">
                  <c:v>2431</c:v>
                </c:pt>
                <c:pt idx="391">
                  <c:v>2431</c:v>
                </c:pt>
                <c:pt idx="392">
                  <c:v>2433</c:v>
                </c:pt>
                <c:pt idx="393">
                  <c:v>2435</c:v>
                </c:pt>
                <c:pt idx="394">
                  <c:v>2433</c:v>
                </c:pt>
                <c:pt idx="395">
                  <c:v>2431</c:v>
                </c:pt>
                <c:pt idx="396">
                  <c:v>2431</c:v>
                </c:pt>
                <c:pt idx="397">
                  <c:v>2433</c:v>
                </c:pt>
                <c:pt idx="398">
                  <c:v>2432</c:v>
                </c:pt>
                <c:pt idx="399">
                  <c:v>2432</c:v>
                </c:pt>
                <c:pt idx="400">
                  <c:v>2450</c:v>
                </c:pt>
                <c:pt idx="401">
                  <c:v>2458</c:v>
                </c:pt>
                <c:pt idx="402">
                  <c:v>2448</c:v>
                </c:pt>
                <c:pt idx="403">
                  <c:v>2475</c:v>
                </c:pt>
                <c:pt idx="404">
                  <c:v>2477</c:v>
                </c:pt>
                <c:pt idx="405">
                  <c:v>2509</c:v>
                </c:pt>
                <c:pt idx="406">
                  <c:v>2640</c:v>
                </c:pt>
                <c:pt idx="407">
                  <c:v>2577</c:v>
                </c:pt>
                <c:pt idx="408">
                  <c:v>2587</c:v>
                </c:pt>
                <c:pt idx="409">
                  <c:v>2615</c:v>
                </c:pt>
                <c:pt idx="410">
                  <c:v>2613</c:v>
                </c:pt>
                <c:pt idx="411">
                  <c:v>2575</c:v>
                </c:pt>
                <c:pt idx="412">
                  <c:v>2578</c:v>
                </c:pt>
                <c:pt idx="413">
                  <c:v>2578</c:v>
                </c:pt>
                <c:pt idx="414">
                  <c:v>2600</c:v>
                </c:pt>
                <c:pt idx="415">
                  <c:v>2612</c:v>
                </c:pt>
                <c:pt idx="416">
                  <c:v>2603</c:v>
                </c:pt>
                <c:pt idx="417">
                  <c:v>2597</c:v>
                </c:pt>
                <c:pt idx="418">
                  <c:v>2597</c:v>
                </c:pt>
                <c:pt idx="419">
                  <c:v>2591</c:v>
                </c:pt>
                <c:pt idx="420">
                  <c:v>2596</c:v>
                </c:pt>
                <c:pt idx="421">
                  <c:v>2612</c:v>
                </c:pt>
                <c:pt idx="422">
                  <c:v>2640</c:v>
                </c:pt>
                <c:pt idx="423">
                  <c:v>2680</c:v>
                </c:pt>
                <c:pt idx="424">
                  <c:v>2745</c:v>
                </c:pt>
                <c:pt idx="425">
                  <c:v>2905</c:v>
                </c:pt>
                <c:pt idx="426">
                  <c:v>2980</c:v>
                </c:pt>
                <c:pt idx="427">
                  <c:v>2885</c:v>
                </c:pt>
                <c:pt idx="428">
                  <c:v>2735</c:v>
                </c:pt>
                <c:pt idx="429">
                  <c:v>2705</c:v>
                </c:pt>
                <c:pt idx="430">
                  <c:v>2675</c:v>
                </c:pt>
                <c:pt idx="431">
                  <c:v>2715</c:v>
                </c:pt>
                <c:pt idx="432">
                  <c:v>2783</c:v>
                </c:pt>
                <c:pt idx="433">
                  <c:v>2838</c:v>
                </c:pt>
                <c:pt idx="434">
                  <c:v>2928</c:v>
                </c:pt>
                <c:pt idx="435">
                  <c:v>2935</c:v>
                </c:pt>
                <c:pt idx="436">
                  <c:v>2905</c:v>
                </c:pt>
                <c:pt idx="437">
                  <c:v>3035</c:v>
                </c:pt>
                <c:pt idx="438">
                  <c:v>3028</c:v>
                </c:pt>
                <c:pt idx="439">
                  <c:v>3025</c:v>
                </c:pt>
                <c:pt idx="440">
                  <c:v>2948</c:v>
                </c:pt>
                <c:pt idx="441">
                  <c:v>2903</c:v>
                </c:pt>
                <c:pt idx="442">
                  <c:v>2900</c:v>
                </c:pt>
                <c:pt idx="443">
                  <c:v>2935</c:v>
                </c:pt>
                <c:pt idx="444">
                  <c:v>2944</c:v>
                </c:pt>
                <c:pt idx="445">
                  <c:v>2946</c:v>
                </c:pt>
                <c:pt idx="446">
                  <c:v>2943</c:v>
                </c:pt>
                <c:pt idx="447">
                  <c:v>2943</c:v>
                </c:pt>
                <c:pt idx="448">
                  <c:v>2985</c:v>
                </c:pt>
                <c:pt idx="449">
                  <c:v>2968</c:v>
                </c:pt>
                <c:pt idx="450">
                  <c:v>2979</c:v>
                </c:pt>
                <c:pt idx="451">
                  <c:v>3025</c:v>
                </c:pt>
                <c:pt idx="452">
                  <c:v>3000</c:v>
                </c:pt>
                <c:pt idx="453">
                  <c:v>3003</c:v>
                </c:pt>
                <c:pt idx="454">
                  <c:v>3005</c:v>
                </c:pt>
                <c:pt idx="455">
                  <c:v>3113</c:v>
                </c:pt>
                <c:pt idx="456">
                  <c:v>3183</c:v>
                </c:pt>
                <c:pt idx="457">
                  <c:v>3269</c:v>
                </c:pt>
                <c:pt idx="458">
                  <c:v>3368</c:v>
                </c:pt>
                <c:pt idx="459">
                  <c:v>3408</c:v>
                </c:pt>
                <c:pt idx="460">
                  <c:v>3605</c:v>
                </c:pt>
                <c:pt idx="461">
                  <c:v>3705</c:v>
                </c:pt>
                <c:pt idx="462">
                  <c:v>3685</c:v>
                </c:pt>
                <c:pt idx="463">
                  <c:v>3645</c:v>
                </c:pt>
                <c:pt idx="464">
                  <c:v>3555</c:v>
                </c:pt>
                <c:pt idx="465">
                  <c:v>3448</c:v>
                </c:pt>
                <c:pt idx="466">
                  <c:v>3450</c:v>
                </c:pt>
                <c:pt idx="467">
                  <c:v>3491</c:v>
                </c:pt>
                <c:pt idx="468">
                  <c:v>3551</c:v>
                </c:pt>
                <c:pt idx="469">
                  <c:v>3640</c:v>
                </c:pt>
                <c:pt idx="470">
                  <c:v>3553</c:v>
                </c:pt>
                <c:pt idx="471">
                  <c:v>3663</c:v>
                </c:pt>
                <c:pt idx="472">
                  <c:v>3633</c:v>
                </c:pt>
                <c:pt idx="473">
                  <c:v>3690</c:v>
                </c:pt>
                <c:pt idx="474">
                  <c:v>3598</c:v>
                </c:pt>
                <c:pt idx="475">
                  <c:v>3535</c:v>
                </c:pt>
                <c:pt idx="476">
                  <c:v>3570</c:v>
                </c:pt>
                <c:pt idx="477">
                  <c:v>3633</c:v>
                </c:pt>
                <c:pt idx="478">
                  <c:v>3638</c:v>
                </c:pt>
                <c:pt idx="479">
                  <c:v>3638</c:v>
                </c:pt>
                <c:pt idx="480">
                  <c:v>3615</c:v>
                </c:pt>
                <c:pt idx="481">
                  <c:v>3295</c:v>
                </c:pt>
                <c:pt idx="482">
                  <c:v>3255</c:v>
                </c:pt>
                <c:pt idx="483">
                  <c:v>3340</c:v>
                </c:pt>
                <c:pt idx="484">
                  <c:v>3255</c:v>
                </c:pt>
                <c:pt idx="485">
                  <c:v>3290</c:v>
                </c:pt>
                <c:pt idx="486">
                  <c:v>3313</c:v>
                </c:pt>
                <c:pt idx="487">
                  <c:v>3328</c:v>
                </c:pt>
                <c:pt idx="488">
                  <c:v>3370</c:v>
                </c:pt>
                <c:pt idx="489">
                  <c:v>3395</c:v>
                </c:pt>
                <c:pt idx="490">
                  <c:v>3440</c:v>
                </c:pt>
                <c:pt idx="491">
                  <c:v>3492</c:v>
                </c:pt>
                <c:pt idx="492">
                  <c:v>3475</c:v>
                </c:pt>
                <c:pt idx="493">
                  <c:v>3504</c:v>
                </c:pt>
                <c:pt idx="494">
                  <c:v>3565</c:v>
                </c:pt>
                <c:pt idx="495">
                  <c:v>3610</c:v>
                </c:pt>
                <c:pt idx="496">
                  <c:v>3638</c:v>
                </c:pt>
                <c:pt idx="497">
                  <c:v>3658</c:v>
                </c:pt>
                <c:pt idx="498">
                  <c:v>3673</c:v>
                </c:pt>
                <c:pt idx="499">
                  <c:v>3645</c:v>
                </c:pt>
                <c:pt idx="500">
                  <c:v>3645</c:v>
                </c:pt>
                <c:pt idx="501">
                  <c:v>3709</c:v>
                </c:pt>
                <c:pt idx="502">
                  <c:v>3828</c:v>
                </c:pt>
                <c:pt idx="503">
                  <c:v>3940</c:v>
                </c:pt>
                <c:pt idx="504">
                  <c:v>3955</c:v>
                </c:pt>
                <c:pt idx="505">
                  <c:v>3995</c:v>
                </c:pt>
                <c:pt idx="506">
                  <c:v>4120</c:v>
                </c:pt>
                <c:pt idx="507">
                  <c:v>4565</c:v>
                </c:pt>
                <c:pt idx="508">
                  <c:v>4465</c:v>
                </c:pt>
                <c:pt idx="509">
                  <c:v>4505</c:v>
                </c:pt>
                <c:pt idx="510">
                  <c:v>5015</c:v>
                </c:pt>
                <c:pt idx="511">
                  <c:v>5605</c:v>
                </c:pt>
                <c:pt idx="512">
                  <c:v>5578</c:v>
                </c:pt>
                <c:pt idx="513">
                  <c:v>5603</c:v>
                </c:pt>
                <c:pt idx="514">
                  <c:v>5205</c:v>
                </c:pt>
                <c:pt idx="515">
                  <c:v>5005</c:v>
                </c:pt>
                <c:pt idx="516">
                  <c:v>5155</c:v>
                </c:pt>
                <c:pt idx="517">
                  <c:v>5405</c:v>
                </c:pt>
                <c:pt idx="518">
                  <c:v>6005</c:v>
                </c:pt>
                <c:pt idx="519">
                  <c:v>6005</c:v>
                </c:pt>
                <c:pt idx="520">
                  <c:v>5005</c:v>
                </c:pt>
                <c:pt idx="521">
                  <c:v>5350</c:v>
                </c:pt>
                <c:pt idx="522">
                  <c:v>5300</c:v>
                </c:pt>
                <c:pt idx="523">
                  <c:v>5450</c:v>
                </c:pt>
                <c:pt idx="524">
                  <c:v>5450</c:v>
                </c:pt>
                <c:pt idx="525">
                  <c:v>5925</c:v>
                </c:pt>
                <c:pt idx="526">
                  <c:v>6650</c:v>
                </c:pt>
                <c:pt idx="527">
                  <c:v>7400</c:v>
                </c:pt>
                <c:pt idx="528">
                  <c:v>8375</c:v>
                </c:pt>
                <c:pt idx="529">
                  <c:v>9650</c:v>
                </c:pt>
                <c:pt idx="530">
                  <c:v>8150</c:v>
                </c:pt>
                <c:pt idx="531">
                  <c:v>8950</c:v>
                </c:pt>
                <c:pt idx="532">
                  <c:v>8450</c:v>
                </c:pt>
                <c:pt idx="533">
                  <c:v>7250</c:v>
                </c:pt>
                <c:pt idx="534">
                  <c:v>7900</c:v>
                </c:pt>
                <c:pt idx="535">
                  <c:v>8450</c:v>
                </c:pt>
                <c:pt idx="536">
                  <c:v>9700</c:v>
                </c:pt>
                <c:pt idx="537">
                  <c:v>10150</c:v>
                </c:pt>
                <c:pt idx="538">
                  <c:v>11600</c:v>
                </c:pt>
                <c:pt idx="539">
                  <c:v>12150</c:v>
                </c:pt>
                <c:pt idx="540">
                  <c:v>12750</c:v>
                </c:pt>
                <c:pt idx="541">
                  <c:v>12950</c:v>
                </c:pt>
                <c:pt idx="542">
                  <c:v>12500</c:v>
                </c:pt>
                <c:pt idx="543">
                  <c:v>12500</c:v>
                </c:pt>
                <c:pt idx="544">
                  <c:v>12500</c:v>
                </c:pt>
                <c:pt idx="545">
                  <c:v>12500</c:v>
                </c:pt>
                <c:pt idx="546">
                  <c:v>10275</c:v>
                </c:pt>
                <c:pt idx="547">
                  <c:v>10350</c:v>
                </c:pt>
                <c:pt idx="548">
                  <c:v>9375</c:v>
                </c:pt>
                <c:pt idx="549">
                  <c:v>9600</c:v>
                </c:pt>
                <c:pt idx="550">
                  <c:v>9550</c:v>
                </c:pt>
                <c:pt idx="551">
                  <c:v>9800</c:v>
                </c:pt>
                <c:pt idx="552">
                  <c:v>7450</c:v>
                </c:pt>
                <c:pt idx="553">
                  <c:v>7250</c:v>
                </c:pt>
                <c:pt idx="554">
                  <c:v>7300</c:v>
                </c:pt>
                <c:pt idx="555">
                  <c:v>8200</c:v>
                </c:pt>
                <c:pt idx="556">
                  <c:v>9950</c:v>
                </c:pt>
                <c:pt idx="557">
                  <c:v>9400</c:v>
                </c:pt>
                <c:pt idx="558">
                  <c:v>9050</c:v>
                </c:pt>
                <c:pt idx="559">
                  <c:v>8850</c:v>
                </c:pt>
                <c:pt idx="560">
                  <c:v>8900</c:v>
                </c:pt>
                <c:pt idx="561">
                  <c:v>9450</c:v>
                </c:pt>
                <c:pt idx="562">
                  <c:v>9485</c:v>
                </c:pt>
                <c:pt idx="563">
                  <c:v>9400</c:v>
                </c:pt>
                <c:pt idx="564">
                  <c:v>9000</c:v>
                </c:pt>
                <c:pt idx="565">
                  <c:v>8875</c:v>
                </c:pt>
                <c:pt idx="566">
                  <c:v>8750</c:v>
                </c:pt>
                <c:pt idx="567">
                  <c:v>9000</c:v>
                </c:pt>
                <c:pt idx="568">
                  <c:v>9400</c:v>
                </c:pt>
                <c:pt idx="569">
                  <c:v>10300</c:v>
                </c:pt>
                <c:pt idx="570">
                  <c:v>10000</c:v>
                </c:pt>
                <c:pt idx="571">
                  <c:v>10850</c:v>
                </c:pt>
                <c:pt idx="572">
                  <c:v>10525</c:v>
                </c:pt>
                <c:pt idx="573">
                  <c:v>10250</c:v>
                </c:pt>
                <c:pt idx="574">
                  <c:v>10550</c:v>
                </c:pt>
                <c:pt idx="575">
                  <c:v>10550</c:v>
                </c:pt>
                <c:pt idx="576">
                  <c:v>9950</c:v>
                </c:pt>
                <c:pt idx="577">
                  <c:v>10175</c:v>
                </c:pt>
                <c:pt idx="578">
                  <c:v>10300</c:v>
                </c:pt>
                <c:pt idx="579">
                  <c:v>10250</c:v>
                </c:pt>
                <c:pt idx="580">
                  <c:v>9425</c:v>
                </c:pt>
                <c:pt idx="581">
                  <c:v>9250</c:v>
                </c:pt>
                <c:pt idx="582">
                  <c:v>8650</c:v>
                </c:pt>
                <c:pt idx="583">
                  <c:v>8500</c:v>
                </c:pt>
                <c:pt idx="584">
                  <c:v>8550</c:v>
                </c:pt>
                <c:pt idx="585">
                  <c:v>8525</c:v>
                </c:pt>
                <c:pt idx="586">
                  <c:v>8663</c:v>
                </c:pt>
                <c:pt idx="587">
                  <c:v>8600</c:v>
                </c:pt>
                <c:pt idx="588">
                  <c:v>8625</c:v>
                </c:pt>
                <c:pt idx="589">
                  <c:v>8575</c:v>
                </c:pt>
                <c:pt idx="590">
                  <c:v>8550</c:v>
                </c:pt>
                <c:pt idx="591">
                  <c:v>8500</c:v>
                </c:pt>
                <c:pt idx="592">
                  <c:v>8500</c:v>
                </c:pt>
                <c:pt idx="593">
                  <c:v>8550</c:v>
                </c:pt>
                <c:pt idx="594">
                  <c:v>8075</c:v>
                </c:pt>
                <c:pt idx="595">
                  <c:v>8100</c:v>
                </c:pt>
                <c:pt idx="596">
                  <c:v>7550</c:v>
                </c:pt>
                <c:pt idx="597">
                  <c:v>7700</c:v>
                </c:pt>
                <c:pt idx="598">
                  <c:v>7850</c:v>
                </c:pt>
                <c:pt idx="599">
                  <c:v>7985</c:v>
                </c:pt>
                <c:pt idx="600">
                  <c:v>8150</c:v>
                </c:pt>
                <c:pt idx="601">
                  <c:v>8015</c:v>
                </c:pt>
                <c:pt idx="602">
                  <c:v>7850</c:v>
                </c:pt>
                <c:pt idx="603">
                  <c:v>7900</c:v>
                </c:pt>
                <c:pt idx="604">
                  <c:v>7950</c:v>
                </c:pt>
                <c:pt idx="605">
                  <c:v>7950</c:v>
                </c:pt>
                <c:pt idx="606">
                  <c:v>8000</c:v>
                </c:pt>
                <c:pt idx="607">
                  <c:v>7965</c:v>
                </c:pt>
                <c:pt idx="608">
                  <c:v>8150</c:v>
                </c:pt>
                <c:pt idx="609">
                  <c:v>8100</c:v>
                </c:pt>
                <c:pt idx="610">
                  <c:v>8100</c:v>
                </c:pt>
                <c:pt idx="611">
                  <c:v>7975</c:v>
                </c:pt>
                <c:pt idx="612">
                  <c:v>8035</c:v>
                </c:pt>
                <c:pt idx="613">
                  <c:v>8575</c:v>
                </c:pt>
                <c:pt idx="614">
                  <c:v>9500</c:v>
                </c:pt>
                <c:pt idx="615">
                  <c:v>8700</c:v>
                </c:pt>
                <c:pt idx="616">
                  <c:v>8700</c:v>
                </c:pt>
                <c:pt idx="617">
                  <c:v>9270</c:v>
                </c:pt>
                <c:pt idx="618">
                  <c:v>10400</c:v>
                </c:pt>
                <c:pt idx="619">
                  <c:v>11700</c:v>
                </c:pt>
                <c:pt idx="620">
                  <c:v>10700</c:v>
                </c:pt>
                <c:pt idx="621">
                  <c:v>12250</c:v>
                </c:pt>
                <c:pt idx="622">
                  <c:v>12250</c:v>
                </c:pt>
                <c:pt idx="623">
                  <c:v>11200</c:v>
                </c:pt>
                <c:pt idx="624">
                  <c:v>11050</c:v>
                </c:pt>
                <c:pt idx="625">
                  <c:v>10850</c:v>
                </c:pt>
                <c:pt idx="626">
                  <c:v>10750</c:v>
                </c:pt>
                <c:pt idx="627">
                  <c:v>10300</c:v>
                </c:pt>
                <c:pt idx="628">
                  <c:v>10550</c:v>
                </c:pt>
                <c:pt idx="629">
                  <c:v>11450</c:v>
                </c:pt>
                <c:pt idx="630">
                  <c:v>11550</c:v>
                </c:pt>
                <c:pt idx="631">
                  <c:v>11650</c:v>
                </c:pt>
                <c:pt idx="632">
                  <c:v>11575</c:v>
                </c:pt>
                <c:pt idx="633">
                  <c:v>11650</c:v>
                </c:pt>
                <c:pt idx="634">
                  <c:v>11750</c:v>
                </c:pt>
                <c:pt idx="635">
                  <c:v>11575</c:v>
                </c:pt>
                <c:pt idx="636">
                  <c:v>11650</c:v>
                </c:pt>
                <c:pt idx="637">
                  <c:v>11875</c:v>
                </c:pt>
                <c:pt idx="638">
                  <c:v>12950</c:v>
                </c:pt>
                <c:pt idx="639">
                  <c:v>13850</c:v>
                </c:pt>
                <c:pt idx="640">
                  <c:v>13950</c:v>
                </c:pt>
                <c:pt idx="641">
                  <c:v>15018</c:v>
                </c:pt>
                <c:pt idx="642">
                  <c:v>15050</c:v>
                </c:pt>
                <c:pt idx="643">
                  <c:v>16525</c:v>
                </c:pt>
                <c:pt idx="644">
                  <c:v>15750</c:v>
                </c:pt>
                <c:pt idx="645">
                  <c:v>14450</c:v>
                </c:pt>
                <c:pt idx="646">
                  <c:v>14600</c:v>
                </c:pt>
                <c:pt idx="647">
                  <c:v>14705</c:v>
                </c:pt>
                <c:pt idx="648">
                  <c:v>14700</c:v>
                </c:pt>
                <c:pt idx="649">
                  <c:v>14800</c:v>
                </c:pt>
                <c:pt idx="650">
                  <c:v>14950</c:v>
                </c:pt>
                <c:pt idx="651">
                  <c:v>15250</c:v>
                </c:pt>
                <c:pt idx="652">
                  <c:v>14800</c:v>
                </c:pt>
                <c:pt idx="653">
                  <c:v>14750</c:v>
                </c:pt>
                <c:pt idx="654">
                  <c:v>14750</c:v>
                </c:pt>
                <c:pt idx="655">
                  <c:v>14650</c:v>
                </c:pt>
                <c:pt idx="656">
                  <c:v>14550</c:v>
                </c:pt>
                <c:pt idx="657">
                  <c:v>14800</c:v>
                </c:pt>
                <c:pt idx="658">
                  <c:v>15200</c:v>
                </c:pt>
                <c:pt idx="659">
                  <c:v>15150</c:v>
                </c:pt>
                <c:pt idx="660">
                  <c:v>15300</c:v>
                </c:pt>
                <c:pt idx="661">
                  <c:v>15350</c:v>
                </c:pt>
                <c:pt idx="662">
                  <c:v>14650</c:v>
                </c:pt>
                <c:pt idx="663">
                  <c:v>14350</c:v>
                </c:pt>
                <c:pt idx="664">
                  <c:v>13100</c:v>
                </c:pt>
                <c:pt idx="665">
                  <c:v>13250</c:v>
                </c:pt>
                <c:pt idx="666">
                  <c:v>14000</c:v>
                </c:pt>
                <c:pt idx="667">
                  <c:v>14250</c:v>
                </c:pt>
                <c:pt idx="668">
                  <c:v>14100</c:v>
                </c:pt>
                <c:pt idx="669">
                  <c:v>14075</c:v>
                </c:pt>
                <c:pt idx="670">
                  <c:v>14350</c:v>
                </c:pt>
                <c:pt idx="671">
                  <c:v>13925</c:v>
                </c:pt>
                <c:pt idx="672">
                  <c:v>13670</c:v>
                </c:pt>
                <c:pt idx="673">
                  <c:v>13225</c:v>
                </c:pt>
                <c:pt idx="674">
                  <c:v>12950</c:v>
                </c:pt>
                <c:pt idx="675">
                  <c:v>13150</c:v>
                </c:pt>
                <c:pt idx="676">
                  <c:v>13175</c:v>
                </c:pt>
                <c:pt idx="677">
                  <c:v>12950</c:v>
                </c:pt>
                <c:pt idx="678">
                  <c:v>12850</c:v>
                </c:pt>
                <c:pt idx="679">
                  <c:v>12875</c:v>
                </c:pt>
                <c:pt idx="680">
                  <c:v>13050</c:v>
                </c:pt>
                <c:pt idx="681">
                  <c:v>13050</c:v>
                </c:pt>
                <c:pt idx="682">
                  <c:v>13200</c:v>
                </c:pt>
                <c:pt idx="683">
                  <c:v>13375</c:v>
                </c:pt>
                <c:pt idx="684">
                  <c:v>13050</c:v>
                </c:pt>
                <c:pt idx="685">
                  <c:v>12825</c:v>
                </c:pt>
                <c:pt idx="686">
                  <c:v>12900</c:v>
                </c:pt>
                <c:pt idx="687">
                  <c:v>12850</c:v>
                </c:pt>
                <c:pt idx="688">
                  <c:v>12150</c:v>
                </c:pt>
                <c:pt idx="689">
                  <c:v>11925</c:v>
                </c:pt>
                <c:pt idx="690">
                  <c:v>11775</c:v>
                </c:pt>
                <c:pt idx="691">
                  <c:v>11650</c:v>
                </c:pt>
                <c:pt idx="692">
                  <c:v>11400</c:v>
                </c:pt>
                <c:pt idx="693">
                  <c:v>11150</c:v>
                </c:pt>
                <c:pt idx="694">
                  <c:v>11250</c:v>
                </c:pt>
                <c:pt idx="695">
                  <c:v>10888</c:v>
                </c:pt>
                <c:pt idx="696">
                  <c:v>11150</c:v>
                </c:pt>
                <c:pt idx="697">
                  <c:v>11100</c:v>
                </c:pt>
                <c:pt idx="698">
                  <c:v>10900</c:v>
                </c:pt>
                <c:pt idx="699">
                  <c:v>10713</c:v>
                </c:pt>
                <c:pt idx="700">
                  <c:v>10775</c:v>
                </c:pt>
                <c:pt idx="701">
                  <c:v>10930</c:v>
                </c:pt>
                <c:pt idx="702">
                  <c:v>11450</c:v>
                </c:pt>
                <c:pt idx="703">
                  <c:v>12150</c:v>
                </c:pt>
                <c:pt idx="704">
                  <c:v>11775</c:v>
                </c:pt>
                <c:pt idx="705">
                  <c:v>11650</c:v>
                </c:pt>
                <c:pt idx="706">
                  <c:v>11225</c:v>
                </c:pt>
                <c:pt idx="707">
                  <c:v>10813</c:v>
                </c:pt>
                <c:pt idx="708">
                  <c:v>11050</c:v>
                </c:pt>
                <c:pt idx="709">
                  <c:v>11250</c:v>
                </c:pt>
                <c:pt idx="710">
                  <c:v>11150</c:v>
                </c:pt>
                <c:pt idx="711">
                  <c:v>11150</c:v>
                </c:pt>
                <c:pt idx="712">
                  <c:v>10988</c:v>
                </c:pt>
                <c:pt idx="713">
                  <c:v>11000</c:v>
                </c:pt>
                <c:pt idx="714">
                  <c:v>10925</c:v>
                </c:pt>
                <c:pt idx="715">
                  <c:v>10950</c:v>
                </c:pt>
                <c:pt idx="716">
                  <c:v>10900</c:v>
                </c:pt>
                <c:pt idx="717">
                  <c:v>10575</c:v>
                </c:pt>
                <c:pt idx="718">
                  <c:v>10850</c:v>
                </c:pt>
                <c:pt idx="719">
                  <c:v>10725</c:v>
                </c:pt>
                <c:pt idx="720">
                  <c:v>10750</c:v>
                </c:pt>
                <c:pt idx="721">
                  <c:v>10750</c:v>
                </c:pt>
                <c:pt idx="722">
                  <c:v>10250</c:v>
                </c:pt>
                <c:pt idx="723">
                  <c:v>9525</c:v>
                </c:pt>
                <c:pt idx="724">
                  <c:v>8900</c:v>
                </c:pt>
                <c:pt idx="725">
                  <c:v>9050</c:v>
                </c:pt>
                <c:pt idx="726">
                  <c:v>9025</c:v>
                </c:pt>
                <c:pt idx="727">
                  <c:v>9050</c:v>
                </c:pt>
                <c:pt idx="728">
                  <c:v>8800</c:v>
                </c:pt>
                <c:pt idx="729">
                  <c:v>8725</c:v>
                </c:pt>
                <c:pt idx="730">
                  <c:v>8500</c:v>
                </c:pt>
                <c:pt idx="731">
                  <c:v>7825</c:v>
                </c:pt>
                <c:pt idx="732">
                  <c:v>7850</c:v>
                </c:pt>
                <c:pt idx="733">
                  <c:v>7550</c:v>
                </c:pt>
                <c:pt idx="734">
                  <c:v>7650</c:v>
                </c:pt>
                <c:pt idx="735">
                  <c:v>7700</c:v>
                </c:pt>
                <c:pt idx="736">
                  <c:v>7425</c:v>
                </c:pt>
                <c:pt idx="737">
                  <c:v>7350</c:v>
                </c:pt>
                <c:pt idx="738">
                  <c:v>7700</c:v>
                </c:pt>
                <c:pt idx="739">
                  <c:v>7600</c:v>
                </c:pt>
                <c:pt idx="740">
                  <c:v>7700</c:v>
                </c:pt>
                <c:pt idx="741">
                  <c:v>7900</c:v>
                </c:pt>
                <c:pt idx="742">
                  <c:v>8475</c:v>
                </c:pt>
                <c:pt idx="743">
                  <c:v>8700</c:v>
                </c:pt>
                <c:pt idx="744">
                  <c:v>8750</c:v>
                </c:pt>
                <c:pt idx="745">
                  <c:v>8400</c:v>
                </c:pt>
                <c:pt idx="746">
                  <c:v>8450</c:v>
                </c:pt>
                <c:pt idx="747">
                  <c:v>8025</c:v>
                </c:pt>
                <c:pt idx="748">
                  <c:v>7850</c:v>
                </c:pt>
                <c:pt idx="749">
                  <c:v>7950</c:v>
                </c:pt>
                <c:pt idx="750">
                  <c:v>7700</c:v>
                </c:pt>
                <c:pt idx="751">
                  <c:v>7700</c:v>
                </c:pt>
                <c:pt idx="752">
                  <c:v>7500</c:v>
                </c:pt>
                <c:pt idx="753">
                  <c:v>7400</c:v>
                </c:pt>
                <c:pt idx="754">
                  <c:v>7650</c:v>
                </c:pt>
                <c:pt idx="755">
                  <c:v>7650</c:v>
                </c:pt>
                <c:pt idx="756">
                  <c:v>7600</c:v>
                </c:pt>
                <c:pt idx="757">
                  <c:v>7650</c:v>
                </c:pt>
                <c:pt idx="758">
                  <c:v>7650</c:v>
                </c:pt>
                <c:pt idx="759">
                  <c:v>7650</c:v>
                </c:pt>
                <c:pt idx="760">
                  <c:v>7600</c:v>
                </c:pt>
                <c:pt idx="761">
                  <c:v>7435</c:v>
                </c:pt>
                <c:pt idx="762">
                  <c:v>7485</c:v>
                </c:pt>
                <c:pt idx="763">
                  <c:v>7475</c:v>
                </c:pt>
                <c:pt idx="764">
                  <c:v>7650</c:v>
                </c:pt>
                <c:pt idx="765">
                  <c:v>7520</c:v>
                </c:pt>
                <c:pt idx="766">
                  <c:v>7520</c:v>
                </c:pt>
                <c:pt idx="767">
                  <c:v>7500</c:v>
                </c:pt>
                <c:pt idx="768">
                  <c:v>7450</c:v>
                </c:pt>
                <c:pt idx="769">
                  <c:v>7470</c:v>
                </c:pt>
                <c:pt idx="770">
                  <c:v>7550</c:v>
                </c:pt>
                <c:pt idx="771">
                  <c:v>7520</c:v>
                </c:pt>
                <c:pt idx="772">
                  <c:v>7605</c:v>
                </c:pt>
                <c:pt idx="773">
                  <c:v>7625</c:v>
                </c:pt>
                <c:pt idx="774">
                  <c:v>7750</c:v>
                </c:pt>
                <c:pt idx="775">
                  <c:v>7850</c:v>
                </c:pt>
                <c:pt idx="776">
                  <c:v>7700</c:v>
                </c:pt>
                <c:pt idx="777">
                  <c:v>7650</c:v>
                </c:pt>
                <c:pt idx="778">
                  <c:v>7803</c:v>
                </c:pt>
                <c:pt idx="779">
                  <c:v>7750</c:v>
                </c:pt>
                <c:pt idx="780">
                  <c:v>7750</c:v>
                </c:pt>
                <c:pt idx="781">
                  <c:v>7850</c:v>
                </c:pt>
                <c:pt idx="782">
                  <c:v>7750</c:v>
                </c:pt>
                <c:pt idx="783">
                  <c:v>8050</c:v>
                </c:pt>
                <c:pt idx="784">
                  <c:v>8050</c:v>
                </c:pt>
                <c:pt idx="785">
                  <c:v>8000</c:v>
                </c:pt>
                <c:pt idx="786">
                  <c:v>7975</c:v>
                </c:pt>
                <c:pt idx="787">
                  <c:v>7900</c:v>
                </c:pt>
                <c:pt idx="788">
                  <c:v>7965</c:v>
                </c:pt>
                <c:pt idx="789">
                  <c:v>7970</c:v>
                </c:pt>
                <c:pt idx="790">
                  <c:v>8000</c:v>
                </c:pt>
                <c:pt idx="791">
                  <c:v>7990</c:v>
                </c:pt>
                <c:pt idx="792">
                  <c:v>7450</c:v>
                </c:pt>
                <c:pt idx="793">
                  <c:v>8600</c:v>
                </c:pt>
                <c:pt idx="794">
                  <c:v>8700</c:v>
                </c:pt>
                <c:pt idx="795">
                  <c:v>8835</c:v>
                </c:pt>
                <c:pt idx="796">
                  <c:v>8400</c:v>
                </c:pt>
                <c:pt idx="797">
                  <c:v>8550</c:v>
                </c:pt>
                <c:pt idx="798">
                  <c:v>8450</c:v>
                </c:pt>
                <c:pt idx="799">
                  <c:v>8600</c:v>
                </c:pt>
                <c:pt idx="800">
                  <c:v>8900</c:v>
                </c:pt>
                <c:pt idx="801">
                  <c:v>9350</c:v>
                </c:pt>
                <c:pt idx="802">
                  <c:v>9100</c:v>
                </c:pt>
                <c:pt idx="803">
                  <c:v>9175</c:v>
                </c:pt>
                <c:pt idx="804">
                  <c:v>9213</c:v>
                </c:pt>
                <c:pt idx="805">
                  <c:v>9050</c:v>
                </c:pt>
                <c:pt idx="806">
                  <c:v>8925</c:v>
                </c:pt>
                <c:pt idx="807">
                  <c:v>8850</c:v>
                </c:pt>
                <c:pt idx="808">
                  <c:v>8450</c:v>
                </c:pt>
                <c:pt idx="809">
                  <c:v>8700</c:v>
                </c:pt>
                <c:pt idx="810">
                  <c:v>8725</c:v>
                </c:pt>
                <c:pt idx="811">
                  <c:v>8900</c:v>
                </c:pt>
                <c:pt idx="812">
                  <c:v>8800</c:v>
                </c:pt>
                <c:pt idx="813">
                  <c:v>8638</c:v>
                </c:pt>
                <c:pt idx="814">
                  <c:v>8700</c:v>
                </c:pt>
                <c:pt idx="815">
                  <c:v>8725</c:v>
                </c:pt>
                <c:pt idx="816">
                  <c:v>8600</c:v>
                </c:pt>
                <c:pt idx="817">
                  <c:v>8638</c:v>
                </c:pt>
                <c:pt idx="818">
                  <c:v>8700</c:v>
                </c:pt>
                <c:pt idx="819">
                  <c:v>8825</c:v>
                </c:pt>
                <c:pt idx="820">
                  <c:v>8850</c:v>
                </c:pt>
                <c:pt idx="821">
                  <c:v>8900</c:v>
                </c:pt>
                <c:pt idx="822">
                  <c:v>8855</c:v>
                </c:pt>
                <c:pt idx="823">
                  <c:v>8780</c:v>
                </c:pt>
                <c:pt idx="824">
                  <c:v>8810</c:v>
                </c:pt>
                <c:pt idx="825">
                  <c:v>8840</c:v>
                </c:pt>
                <c:pt idx="826">
                  <c:v>8855</c:v>
                </c:pt>
                <c:pt idx="827">
                  <c:v>8885</c:v>
                </c:pt>
                <c:pt idx="828">
                  <c:v>8870</c:v>
                </c:pt>
                <c:pt idx="829">
                  <c:v>8894</c:v>
                </c:pt>
                <c:pt idx="830">
                  <c:v>8883</c:v>
                </c:pt>
                <c:pt idx="831">
                  <c:v>8890</c:v>
                </c:pt>
                <c:pt idx="832">
                  <c:v>8955</c:v>
                </c:pt>
                <c:pt idx="833">
                  <c:v>8958</c:v>
                </c:pt>
                <c:pt idx="834">
                  <c:v>9450</c:v>
                </c:pt>
                <c:pt idx="835">
                  <c:v>9150</c:v>
                </c:pt>
                <c:pt idx="836">
                  <c:v>8760</c:v>
                </c:pt>
                <c:pt idx="837">
                  <c:v>8825</c:v>
                </c:pt>
                <c:pt idx="838">
                  <c:v>9050</c:v>
                </c:pt>
                <c:pt idx="839">
                  <c:v>8925</c:v>
                </c:pt>
                <c:pt idx="840">
                  <c:v>8885</c:v>
                </c:pt>
                <c:pt idx="841">
                  <c:v>8850</c:v>
                </c:pt>
                <c:pt idx="842">
                  <c:v>8925</c:v>
                </c:pt>
                <c:pt idx="843">
                  <c:v>8845</c:v>
                </c:pt>
                <c:pt idx="844">
                  <c:v>8850</c:v>
                </c:pt>
                <c:pt idx="845">
                  <c:v>8855</c:v>
                </c:pt>
                <c:pt idx="846">
                  <c:v>8794</c:v>
                </c:pt>
                <c:pt idx="847">
                  <c:v>8700</c:v>
                </c:pt>
                <c:pt idx="848">
                  <c:v>8700</c:v>
                </c:pt>
                <c:pt idx="849">
                  <c:v>8613</c:v>
                </c:pt>
                <c:pt idx="850">
                  <c:v>8525</c:v>
                </c:pt>
                <c:pt idx="851">
                  <c:v>8665</c:v>
                </c:pt>
                <c:pt idx="852">
                  <c:v>8780</c:v>
                </c:pt>
                <c:pt idx="853">
                  <c:v>8750</c:v>
                </c:pt>
                <c:pt idx="854">
                  <c:v>8748</c:v>
                </c:pt>
                <c:pt idx="855">
                  <c:v>8665</c:v>
                </c:pt>
                <c:pt idx="856">
                  <c:v>8715</c:v>
                </c:pt>
                <c:pt idx="857">
                  <c:v>8720</c:v>
                </c:pt>
                <c:pt idx="858">
                  <c:v>8700</c:v>
                </c:pt>
                <c:pt idx="859">
                  <c:v>8650</c:v>
                </c:pt>
                <c:pt idx="860">
                  <c:v>8655</c:v>
                </c:pt>
                <c:pt idx="861">
                  <c:v>8595</c:v>
                </c:pt>
                <c:pt idx="862">
                  <c:v>8630</c:v>
                </c:pt>
                <c:pt idx="863">
                  <c:v>8610</c:v>
                </c:pt>
                <c:pt idx="864">
                  <c:v>8648</c:v>
                </c:pt>
                <c:pt idx="865">
                  <c:v>8573</c:v>
                </c:pt>
                <c:pt idx="866">
                  <c:v>8618</c:v>
                </c:pt>
                <c:pt idx="867">
                  <c:v>8610</c:v>
                </c:pt>
                <c:pt idx="868">
                  <c:v>8548</c:v>
                </c:pt>
                <c:pt idx="869">
                  <c:v>8378</c:v>
                </c:pt>
                <c:pt idx="870">
                  <c:v>8215</c:v>
                </c:pt>
                <c:pt idx="871">
                  <c:v>7940</c:v>
                </c:pt>
                <c:pt idx="872">
                  <c:v>8120</c:v>
                </c:pt>
                <c:pt idx="873">
                  <c:v>8065</c:v>
                </c:pt>
                <c:pt idx="874">
                  <c:v>8070</c:v>
                </c:pt>
                <c:pt idx="875">
                  <c:v>7905</c:v>
                </c:pt>
                <c:pt idx="876">
                  <c:v>7790</c:v>
                </c:pt>
                <c:pt idx="877">
                  <c:v>7815</c:v>
                </c:pt>
                <c:pt idx="878">
                  <c:v>7875</c:v>
                </c:pt>
                <c:pt idx="879">
                  <c:v>7855</c:v>
                </c:pt>
                <c:pt idx="880">
                  <c:v>7850</c:v>
                </c:pt>
                <c:pt idx="881">
                  <c:v>7970</c:v>
                </c:pt>
                <c:pt idx="882">
                  <c:v>7890</c:v>
                </c:pt>
                <c:pt idx="883">
                  <c:v>8015</c:v>
                </c:pt>
                <c:pt idx="884">
                  <c:v>8140</c:v>
                </c:pt>
                <c:pt idx="885">
                  <c:v>8045</c:v>
                </c:pt>
                <c:pt idx="886">
                  <c:v>8100</c:v>
                </c:pt>
                <c:pt idx="887">
                  <c:v>7990</c:v>
                </c:pt>
                <c:pt idx="888">
                  <c:v>8075</c:v>
                </c:pt>
                <c:pt idx="889">
                  <c:v>8115</c:v>
                </c:pt>
                <c:pt idx="890">
                  <c:v>8070</c:v>
                </c:pt>
                <c:pt idx="891">
                  <c:v>8110</c:v>
                </c:pt>
                <c:pt idx="892">
                  <c:v>8120</c:v>
                </c:pt>
                <c:pt idx="893">
                  <c:v>8145</c:v>
                </c:pt>
                <c:pt idx="894">
                  <c:v>8185</c:v>
                </c:pt>
                <c:pt idx="895">
                  <c:v>8085</c:v>
                </c:pt>
                <c:pt idx="896">
                  <c:v>7800</c:v>
                </c:pt>
                <c:pt idx="897">
                  <c:v>7665</c:v>
                </c:pt>
                <c:pt idx="898">
                  <c:v>7850</c:v>
                </c:pt>
                <c:pt idx="899">
                  <c:v>7750</c:v>
                </c:pt>
                <c:pt idx="900">
                  <c:v>7685</c:v>
                </c:pt>
                <c:pt idx="901">
                  <c:v>7575</c:v>
                </c:pt>
                <c:pt idx="902">
                  <c:v>7230</c:v>
                </c:pt>
                <c:pt idx="903">
                  <c:v>7290</c:v>
                </c:pt>
                <c:pt idx="904">
                  <c:v>7278</c:v>
                </c:pt>
                <c:pt idx="905">
                  <c:v>7275</c:v>
                </c:pt>
                <c:pt idx="906">
                  <c:v>7100</c:v>
                </c:pt>
                <c:pt idx="907">
                  <c:v>6810</c:v>
                </c:pt>
                <c:pt idx="908">
                  <c:v>6750</c:v>
                </c:pt>
                <c:pt idx="909">
                  <c:v>6766</c:v>
                </c:pt>
                <c:pt idx="910">
                  <c:v>6925</c:v>
                </c:pt>
                <c:pt idx="911">
                  <c:v>6698</c:v>
                </c:pt>
                <c:pt idx="912">
                  <c:v>6655</c:v>
                </c:pt>
                <c:pt idx="913">
                  <c:v>6685</c:v>
                </c:pt>
                <c:pt idx="914">
                  <c:v>6835</c:v>
                </c:pt>
                <c:pt idx="915">
                  <c:v>6765</c:v>
                </c:pt>
                <c:pt idx="916">
                  <c:v>6715</c:v>
                </c:pt>
                <c:pt idx="917">
                  <c:v>6715</c:v>
                </c:pt>
                <c:pt idx="918">
                  <c:v>6758</c:v>
                </c:pt>
                <c:pt idx="919">
                  <c:v>6558</c:v>
                </c:pt>
                <c:pt idx="920">
                  <c:v>6685</c:v>
                </c:pt>
                <c:pt idx="921">
                  <c:v>6625</c:v>
                </c:pt>
                <c:pt idx="922">
                  <c:v>6640</c:v>
                </c:pt>
                <c:pt idx="923">
                  <c:v>6690</c:v>
                </c:pt>
                <c:pt idx="924">
                  <c:v>6700</c:v>
                </c:pt>
                <c:pt idx="925">
                  <c:v>6725</c:v>
                </c:pt>
                <c:pt idx="926">
                  <c:v>6710</c:v>
                </c:pt>
                <c:pt idx="927">
                  <c:v>6695</c:v>
                </c:pt>
                <c:pt idx="928">
                  <c:v>6723</c:v>
                </c:pt>
                <c:pt idx="929">
                  <c:v>6768</c:v>
                </c:pt>
                <c:pt idx="930">
                  <c:v>6870</c:v>
                </c:pt>
                <c:pt idx="931">
                  <c:v>6980</c:v>
                </c:pt>
                <c:pt idx="932">
                  <c:v>6975</c:v>
                </c:pt>
                <c:pt idx="933">
                  <c:v>6875</c:v>
                </c:pt>
                <c:pt idx="934">
                  <c:v>6823</c:v>
                </c:pt>
                <c:pt idx="935">
                  <c:v>6850</c:v>
                </c:pt>
                <c:pt idx="936">
                  <c:v>6875</c:v>
                </c:pt>
                <c:pt idx="937">
                  <c:v>6890</c:v>
                </c:pt>
                <c:pt idx="938">
                  <c:v>6940</c:v>
                </c:pt>
                <c:pt idx="939">
                  <c:v>6998</c:v>
                </c:pt>
                <c:pt idx="940">
                  <c:v>7025</c:v>
                </c:pt>
                <c:pt idx="941">
                  <c:v>7020</c:v>
                </c:pt>
                <c:pt idx="942">
                  <c:v>7350</c:v>
                </c:pt>
                <c:pt idx="943">
                  <c:v>7750</c:v>
                </c:pt>
                <c:pt idx="944">
                  <c:v>7860</c:v>
                </c:pt>
                <c:pt idx="945">
                  <c:v>7925</c:v>
                </c:pt>
                <c:pt idx="946">
                  <c:v>7570</c:v>
                </c:pt>
                <c:pt idx="947">
                  <c:v>7650</c:v>
                </c:pt>
                <c:pt idx="948">
                  <c:v>7360</c:v>
                </c:pt>
                <c:pt idx="949">
                  <c:v>7250</c:v>
                </c:pt>
                <c:pt idx="950">
                  <c:v>7435</c:v>
                </c:pt>
                <c:pt idx="951">
                  <c:v>7575</c:v>
                </c:pt>
                <c:pt idx="952">
                  <c:v>7700</c:v>
                </c:pt>
                <c:pt idx="953">
                  <c:v>7625</c:v>
                </c:pt>
                <c:pt idx="954">
                  <c:v>7740</c:v>
                </c:pt>
                <c:pt idx="955">
                  <c:v>7605</c:v>
                </c:pt>
                <c:pt idx="956">
                  <c:v>7668</c:v>
                </c:pt>
                <c:pt idx="957">
                  <c:v>7698</c:v>
                </c:pt>
                <c:pt idx="958">
                  <c:v>7725</c:v>
                </c:pt>
                <c:pt idx="959">
                  <c:v>7735</c:v>
                </c:pt>
                <c:pt idx="960">
                  <c:v>7815</c:v>
                </c:pt>
                <c:pt idx="961">
                  <c:v>8090</c:v>
                </c:pt>
                <c:pt idx="962">
                  <c:v>8270</c:v>
                </c:pt>
                <c:pt idx="963">
                  <c:v>8610</c:v>
                </c:pt>
                <c:pt idx="964">
                  <c:v>8700</c:v>
                </c:pt>
                <c:pt idx="965">
                  <c:v>8275</c:v>
                </c:pt>
                <c:pt idx="966">
                  <c:v>7875</c:v>
                </c:pt>
                <c:pt idx="967">
                  <c:v>7950</c:v>
                </c:pt>
                <c:pt idx="968">
                  <c:v>8065</c:v>
                </c:pt>
                <c:pt idx="969">
                  <c:v>8135</c:v>
                </c:pt>
                <c:pt idx="970">
                  <c:v>8200</c:v>
                </c:pt>
                <c:pt idx="971">
                  <c:v>8360</c:v>
                </c:pt>
                <c:pt idx="972">
                  <c:v>8360</c:v>
                </c:pt>
                <c:pt idx="973">
                  <c:v>8380</c:v>
                </c:pt>
                <c:pt idx="974">
                  <c:v>8730</c:v>
                </c:pt>
                <c:pt idx="975">
                  <c:v>8745</c:v>
                </c:pt>
                <c:pt idx="976">
                  <c:v>8385</c:v>
                </c:pt>
                <c:pt idx="977">
                  <c:v>8480</c:v>
                </c:pt>
                <c:pt idx="978">
                  <c:v>8450</c:v>
                </c:pt>
                <c:pt idx="979">
                  <c:v>8405</c:v>
                </c:pt>
                <c:pt idx="980">
                  <c:v>7955</c:v>
                </c:pt>
                <c:pt idx="981">
                  <c:v>7853</c:v>
                </c:pt>
                <c:pt idx="982">
                  <c:v>7780</c:v>
                </c:pt>
                <c:pt idx="983">
                  <c:v>7745</c:v>
                </c:pt>
                <c:pt idx="984">
                  <c:v>7800</c:v>
                </c:pt>
                <c:pt idx="985">
                  <c:v>7830</c:v>
                </c:pt>
                <c:pt idx="986">
                  <c:v>7813</c:v>
                </c:pt>
                <c:pt idx="987">
                  <c:v>7825</c:v>
                </c:pt>
                <c:pt idx="988">
                  <c:v>8145</c:v>
                </c:pt>
                <c:pt idx="989">
                  <c:v>8125</c:v>
                </c:pt>
                <c:pt idx="990">
                  <c:v>8030</c:v>
                </c:pt>
                <c:pt idx="991">
                  <c:v>7890</c:v>
                </c:pt>
                <c:pt idx="992">
                  <c:v>7605</c:v>
                </c:pt>
                <c:pt idx="993">
                  <c:v>7500</c:v>
                </c:pt>
                <c:pt idx="994">
                  <c:v>7025</c:v>
                </c:pt>
                <c:pt idx="995">
                  <c:v>6900</c:v>
                </c:pt>
                <c:pt idx="996">
                  <c:v>6855</c:v>
                </c:pt>
                <c:pt idx="997">
                  <c:v>6795</c:v>
                </c:pt>
                <c:pt idx="998">
                  <c:v>6885</c:v>
                </c:pt>
                <c:pt idx="999">
                  <c:v>6930</c:v>
                </c:pt>
                <c:pt idx="1000">
                  <c:v>6925</c:v>
                </c:pt>
                <c:pt idx="1001">
                  <c:v>6765</c:v>
                </c:pt>
                <c:pt idx="1002">
                  <c:v>6725</c:v>
                </c:pt>
                <c:pt idx="1003">
                  <c:v>6740</c:v>
                </c:pt>
                <c:pt idx="1004">
                  <c:v>6740</c:v>
                </c:pt>
                <c:pt idx="1005">
                  <c:v>6830</c:v>
                </c:pt>
                <c:pt idx="1006">
                  <c:v>6820</c:v>
                </c:pt>
                <c:pt idx="1007">
                  <c:v>6845</c:v>
                </c:pt>
                <c:pt idx="1008">
                  <c:v>6905</c:v>
                </c:pt>
                <c:pt idx="1009">
                  <c:v>7115</c:v>
                </c:pt>
                <c:pt idx="1010">
                  <c:v>7093</c:v>
                </c:pt>
                <c:pt idx="1011">
                  <c:v>6970</c:v>
                </c:pt>
                <c:pt idx="1012">
                  <c:v>7005</c:v>
                </c:pt>
                <c:pt idx="1013">
                  <c:v>7005</c:v>
                </c:pt>
                <c:pt idx="1014">
                  <c:v>7008</c:v>
                </c:pt>
                <c:pt idx="1015">
                  <c:v>7022</c:v>
                </c:pt>
                <c:pt idx="1016">
                  <c:v>7068</c:v>
                </c:pt>
                <c:pt idx="1017">
                  <c:v>7055</c:v>
                </c:pt>
                <c:pt idx="1018">
                  <c:v>7100</c:v>
                </c:pt>
                <c:pt idx="1019">
                  <c:v>7175</c:v>
                </c:pt>
                <c:pt idx="1020">
                  <c:v>7200</c:v>
                </c:pt>
                <c:pt idx="1021">
                  <c:v>7320</c:v>
                </c:pt>
                <c:pt idx="1022">
                  <c:v>7300</c:v>
                </c:pt>
                <c:pt idx="1023">
                  <c:v>7255</c:v>
                </c:pt>
                <c:pt idx="1024">
                  <c:v>7275</c:v>
                </c:pt>
                <c:pt idx="1025">
                  <c:v>7328</c:v>
                </c:pt>
                <c:pt idx="1026">
                  <c:v>7220</c:v>
                </c:pt>
                <c:pt idx="1027">
                  <c:v>7125</c:v>
                </c:pt>
                <c:pt idx="1028">
                  <c:v>7225</c:v>
                </c:pt>
                <c:pt idx="1029">
                  <c:v>7235</c:v>
                </c:pt>
                <c:pt idx="1030">
                  <c:v>7244</c:v>
                </c:pt>
                <c:pt idx="1031">
                  <c:v>7263</c:v>
                </c:pt>
                <c:pt idx="1032">
                  <c:v>7235</c:v>
                </c:pt>
                <c:pt idx="1033">
                  <c:v>7190</c:v>
                </c:pt>
                <c:pt idx="1034">
                  <c:v>7065</c:v>
                </c:pt>
                <c:pt idx="1035">
                  <c:v>7168</c:v>
                </c:pt>
                <c:pt idx="1036">
                  <c:v>7090</c:v>
                </c:pt>
                <c:pt idx="1037">
                  <c:v>7095</c:v>
                </c:pt>
                <c:pt idx="1038">
                  <c:v>7115</c:v>
                </c:pt>
                <c:pt idx="1039">
                  <c:v>7070</c:v>
                </c:pt>
                <c:pt idx="1040">
                  <c:v>7028</c:v>
                </c:pt>
                <c:pt idx="1041">
                  <c:v>6985</c:v>
                </c:pt>
                <c:pt idx="1042">
                  <c:v>7008</c:v>
                </c:pt>
                <c:pt idx="1043">
                  <c:v>7075</c:v>
                </c:pt>
                <c:pt idx="1044">
                  <c:v>7038</c:v>
                </c:pt>
                <c:pt idx="1045">
                  <c:v>7100</c:v>
                </c:pt>
                <c:pt idx="1046">
                  <c:v>7025</c:v>
                </c:pt>
                <c:pt idx="1047">
                  <c:v>7045</c:v>
                </c:pt>
                <c:pt idx="1048">
                  <c:v>7155</c:v>
                </c:pt>
                <c:pt idx="1049">
                  <c:v>7215</c:v>
                </c:pt>
                <c:pt idx="1050">
                  <c:v>7190</c:v>
                </c:pt>
                <c:pt idx="1051">
                  <c:v>7175</c:v>
                </c:pt>
                <c:pt idx="1052">
                  <c:v>7275</c:v>
                </c:pt>
                <c:pt idx="1053">
                  <c:v>7240</c:v>
                </c:pt>
                <c:pt idx="1054">
                  <c:v>7188</c:v>
                </c:pt>
                <c:pt idx="1055">
                  <c:v>7190</c:v>
                </c:pt>
                <c:pt idx="1056">
                  <c:v>7218</c:v>
                </c:pt>
                <c:pt idx="1057">
                  <c:v>7275</c:v>
                </c:pt>
                <c:pt idx="1058">
                  <c:v>7350</c:v>
                </c:pt>
                <c:pt idx="1059">
                  <c:v>7305</c:v>
                </c:pt>
                <c:pt idx="1060">
                  <c:v>7275</c:v>
                </c:pt>
                <c:pt idx="1061">
                  <c:v>7290</c:v>
                </c:pt>
                <c:pt idx="1062">
                  <c:v>7320</c:v>
                </c:pt>
                <c:pt idx="1063">
                  <c:v>7385</c:v>
                </c:pt>
                <c:pt idx="1064">
                  <c:v>7405</c:v>
                </c:pt>
                <c:pt idx="1065">
                  <c:v>7400</c:v>
                </c:pt>
                <c:pt idx="1066">
                  <c:v>7450</c:v>
                </c:pt>
                <c:pt idx="1067">
                  <c:v>7435</c:v>
                </c:pt>
                <c:pt idx="1068">
                  <c:v>7590</c:v>
                </c:pt>
                <c:pt idx="1069">
                  <c:v>7613</c:v>
                </c:pt>
                <c:pt idx="1070">
                  <c:v>7525</c:v>
                </c:pt>
                <c:pt idx="1071">
                  <c:v>7500</c:v>
                </c:pt>
                <c:pt idx="1072">
                  <c:v>7418</c:v>
                </c:pt>
                <c:pt idx="1073">
                  <c:v>7243</c:v>
                </c:pt>
                <c:pt idx="1074">
                  <c:v>7300</c:v>
                </c:pt>
                <c:pt idx="1075">
                  <c:v>7285</c:v>
                </c:pt>
                <c:pt idx="1076">
                  <c:v>7255</c:v>
                </c:pt>
                <c:pt idx="1077">
                  <c:v>7318</c:v>
                </c:pt>
                <c:pt idx="1078">
                  <c:v>7405</c:v>
                </c:pt>
                <c:pt idx="1079">
                  <c:v>7435</c:v>
                </c:pt>
                <c:pt idx="1080">
                  <c:v>7415</c:v>
                </c:pt>
                <c:pt idx="1081">
                  <c:v>7425</c:v>
                </c:pt>
                <c:pt idx="1082">
                  <c:v>7455</c:v>
                </c:pt>
                <c:pt idx="1083">
                  <c:v>7425</c:v>
                </c:pt>
                <c:pt idx="1084">
                  <c:v>7473</c:v>
                </c:pt>
                <c:pt idx="1085">
                  <c:v>7425</c:v>
                </c:pt>
                <c:pt idx="1086">
                  <c:v>7450</c:v>
                </c:pt>
                <c:pt idx="1087">
                  <c:v>7415</c:v>
                </c:pt>
                <c:pt idx="1088">
                  <c:v>7370</c:v>
                </c:pt>
                <c:pt idx="1089">
                  <c:v>7433</c:v>
                </c:pt>
                <c:pt idx="1090">
                  <c:v>7452</c:v>
                </c:pt>
                <c:pt idx="1091">
                  <c:v>7450</c:v>
                </c:pt>
                <c:pt idx="1092">
                  <c:v>7460</c:v>
                </c:pt>
                <c:pt idx="1093">
                  <c:v>7453</c:v>
                </c:pt>
                <c:pt idx="1094">
                  <c:v>7365</c:v>
                </c:pt>
                <c:pt idx="1095">
                  <c:v>7373</c:v>
                </c:pt>
                <c:pt idx="1096">
                  <c:v>7430</c:v>
                </c:pt>
                <c:pt idx="1097">
                  <c:v>7428</c:v>
                </c:pt>
                <c:pt idx="1098">
                  <c:v>7445</c:v>
                </c:pt>
                <c:pt idx="1099">
                  <c:v>7450</c:v>
                </c:pt>
                <c:pt idx="1100">
                  <c:v>7450</c:v>
                </c:pt>
                <c:pt idx="1101">
                  <c:v>7450</c:v>
                </c:pt>
                <c:pt idx="1102">
                  <c:v>7470</c:v>
                </c:pt>
                <c:pt idx="1103">
                  <c:v>7450</c:v>
                </c:pt>
                <c:pt idx="1104">
                  <c:v>7458</c:v>
                </c:pt>
                <c:pt idx="1105">
                  <c:v>7445</c:v>
                </c:pt>
                <c:pt idx="1106">
                  <c:v>7483</c:v>
                </c:pt>
                <c:pt idx="1107">
                  <c:v>7543</c:v>
                </c:pt>
                <c:pt idx="1108">
                  <c:v>7570</c:v>
                </c:pt>
                <c:pt idx="1109">
                  <c:v>7585</c:v>
                </c:pt>
                <c:pt idx="1110">
                  <c:v>7613</c:v>
                </c:pt>
                <c:pt idx="1111">
                  <c:v>7650</c:v>
                </c:pt>
                <c:pt idx="1112">
                  <c:v>7675</c:v>
                </c:pt>
                <c:pt idx="1113">
                  <c:v>7750</c:v>
                </c:pt>
                <c:pt idx="1114">
                  <c:v>7795</c:v>
                </c:pt>
                <c:pt idx="1115">
                  <c:v>7655</c:v>
                </c:pt>
                <c:pt idx="1116">
                  <c:v>7635</c:v>
                </c:pt>
                <c:pt idx="1117">
                  <c:v>7622</c:v>
                </c:pt>
                <c:pt idx="1118">
                  <c:v>7635</c:v>
                </c:pt>
                <c:pt idx="1119">
                  <c:v>7608</c:v>
                </c:pt>
                <c:pt idx="1120">
                  <c:v>7570</c:v>
                </c:pt>
                <c:pt idx="1121">
                  <c:v>7672</c:v>
                </c:pt>
                <c:pt idx="1122">
                  <c:v>7730</c:v>
                </c:pt>
                <c:pt idx="1123">
                  <c:v>7820</c:v>
                </c:pt>
                <c:pt idx="1124">
                  <c:v>7960</c:v>
                </c:pt>
                <c:pt idx="1125">
                  <c:v>7995</c:v>
                </c:pt>
                <c:pt idx="1126">
                  <c:v>7850</c:v>
                </c:pt>
                <c:pt idx="1127">
                  <c:v>7965</c:v>
                </c:pt>
                <c:pt idx="1128">
                  <c:v>8010</c:v>
                </c:pt>
                <c:pt idx="1129">
                  <c:v>7930</c:v>
                </c:pt>
                <c:pt idx="1130">
                  <c:v>7935</c:v>
                </c:pt>
                <c:pt idx="1131">
                  <c:v>8010</c:v>
                </c:pt>
                <c:pt idx="1132">
                  <c:v>8020</c:v>
                </c:pt>
                <c:pt idx="1133">
                  <c:v>8020</c:v>
                </c:pt>
                <c:pt idx="1134">
                  <c:v>7990</c:v>
                </c:pt>
                <c:pt idx="1135">
                  <c:v>7965</c:v>
                </c:pt>
                <c:pt idx="1136">
                  <c:v>8017</c:v>
                </c:pt>
                <c:pt idx="1137">
                  <c:v>8090</c:v>
                </c:pt>
                <c:pt idx="1138">
                  <c:v>8175</c:v>
                </c:pt>
                <c:pt idx="1139">
                  <c:v>8385</c:v>
                </c:pt>
                <c:pt idx="1140">
                  <c:v>8355</c:v>
                </c:pt>
                <c:pt idx="1141">
                  <c:v>8575</c:v>
                </c:pt>
                <c:pt idx="1142">
                  <c:v>8525</c:v>
                </c:pt>
                <c:pt idx="1143">
                  <c:v>8505</c:v>
                </c:pt>
                <c:pt idx="1144">
                  <c:v>8615</c:v>
                </c:pt>
                <c:pt idx="1145">
                  <c:v>8335</c:v>
                </c:pt>
                <c:pt idx="1146">
                  <c:v>8325</c:v>
                </c:pt>
                <c:pt idx="1147">
                  <c:v>8445</c:v>
                </c:pt>
                <c:pt idx="1148">
                  <c:v>8495</c:v>
                </c:pt>
                <c:pt idx="1149">
                  <c:v>8445</c:v>
                </c:pt>
                <c:pt idx="1150">
                  <c:v>8495</c:v>
                </c:pt>
                <c:pt idx="1151">
                  <c:v>8610</c:v>
                </c:pt>
                <c:pt idx="1152">
                  <c:v>8650</c:v>
                </c:pt>
                <c:pt idx="1153">
                  <c:v>8645</c:v>
                </c:pt>
                <c:pt idx="1154">
                  <c:v>8475</c:v>
                </c:pt>
                <c:pt idx="1155">
                  <c:v>8395</c:v>
                </c:pt>
                <c:pt idx="1156">
                  <c:v>8485</c:v>
                </c:pt>
                <c:pt idx="1157">
                  <c:v>8560</c:v>
                </c:pt>
                <c:pt idx="1158">
                  <c:v>8630</c:v>
                </c:pt>
                <c:pt idx="1159">
                  <c:v>8625</c:v>
                </c:pt>
                <c:pt idx="1160">
                  <c:v>8608</c:v>
                </c:pt>
                <c:pt idx="1161">
                  <c:v>8613</c:v>
                </c:pt>
                <c:pt idx="1162">
                  <c:v>8583</c:v>
                </c:pt>
                <c:pt idx="1163">
                  <c:v>8530</c:v>
                </c:pt>
                <c:pt idx="1164">
                  <c:v>8520</c:v>
                </c:pt>
                <c:pt idx="1165">
                  <c:v>8570</c:v>
                </c:pt>
                <c:pt idx="1166">
                  <c:v>8615</c:v>
                </c:pt>
                <c:pt idx="1167">
                  <c:v>8637</c:v>
                </c:pt>
                <c:pt idx="1168">
                  <c:v>8627</c:v>
                </c:pt>
                <c:pt idx="1169">
                  <c:v>8695</c:v>
                </c:pt>
                <c:pt idx="1170">
                  <c:v>8660</c:v>
                </c:pt>
                <c:pt idx="1171">
                  <c:v>8648</c:v>
                </c:pt>
                <c:pt idx="1172">
                  <c:v>8685</c:v>
                </c:pt>
                <c:pt idx="1173">
                  <c:v>8685</c:v>
                </c:pt>
                <c:pt idx="1174">
                  <c:v>8718</c:v>
                </c:pt>
                <c:pt idx="1175">
                  <c:v>8750</c:v>
                </c:pt>
                <c:pt idx="1176">
                  <c:v>8975</c:v>
                </c:pt>
                <c:pt idx="1177">
                  <c:v>8950</c:v>
                </c:pt>
                <c:pt idx="1178">
                  <c:v>9353</c:v>
                </c:pt>
                <c:pt idx="1179">
                  <c:v>9253</c:v>
                </c:pt>
                <c:pt idx="1180">
                  <c:v>9298</c:v>
                </c:pt>
                <c:pt idx="1181">
                  <c:v>9295</c:v>
                </c:pt>
                <c:pt idx="1182">
                  <c:v>9300</c:v>
                </c:pt>
                <c:pt idx="1183">
                  <c:v>9425</c:v>
                </c:pt>
                <c:pt idx="1184">
                  <c:v>9435</c:v>
                </c:pt>
                <c:pt idx="1185">
                  <c:v>9443</c:v>
                </c:pt>
                <c:pt idx="1186">
                  <c:v>9505</c:v>
                </c:pt>
                <c:pt idx="1187">
                  <c:v>9250</c:v>
                </c:pt>
                <c:pt idx="1188">
                  <c:v>8993</c:v>
                </c:pt>
                <c:pt idx="1189">
                  <c:v>8900</c:v>
                </c:pt>
                <c:pt idx="1190">
                  <c:v>8990</c:v>
                </c:pt>
                <c:pt idx="1191">
                  <c:v>8900</c:v>
                </c:pt>
                <c:pt idx="1192">
                  <c:v>9045</c:v>
                </c:pt>
                <c:pt idx="1193">
                  <c:v>9080</c:v>
                </c:pt>
                <c:pt idx="1194">
                  <c:v>8960</c:v>
                </c:pt>
                <c:pt idx="1195">
                  <c:v>8930</c:v>
                </c:pt>
                <c:pt idx="1196">
                  <c:v>8925</c:v>
                </c:pt>
                <c:pt idx="1197">
                  <c:v>8945</c:v>
                </c:pt>
                <c:pt idx="1198">
                  <c:v>8825</c:v>
                </c:pt>
                <c:pt idx="1199">
                  <c:v>8625</c:v>
                </c:pt>
                <c:pt idx="1200">
                  <c:v>8625</c:v>
                </c:pt>
                <c:pt idx="1201">
                  <c:v>8588</c:v>
                </c:pt>
                <c:pt idx="1202">
                  <c:v>8625</c:v>
                </c:pt>
                <c:pt idx="1203">
                  <c:v>8630</c:v>
                </c:pt>
                <c:pt idx="1204">
                  <c:v>8445</c:v>
                </c:pt>
                <c:pt idx="1205">
                  <c:v>8348</c:v>
                </c:pt>
                <c:pt idx="1206">
                  <c:v>8218</c:v>
                </c:pt>
                <c:pt idx="1207">
                  <c:v>8375</c:v>
                </c:pt>
                <c:pt idx="1208">
                  <c:v>8350</c:v>
                </c:pt>
                <c:pt idx="1209">
                  <c:v>8335</c:v>
                </c:pt>
                <c:pt idx="1210">
                  <c:v>8345</c:v>
                </c:pt>
                <c:pt idx="1211">
                  <c:v>8225</c:v>
                </c:pt>
                <c:pt idx="1212">
                  <c:v>8145</c:v>
                </c:pt>
                <c:pt idx="1213">
                  <c:v>8395</c:v>
                </c:pt>
                <c:pt idx="1214">
                  <c:v>8425</c:v>
                </c:pt>
                <c:pt idx="1215">
                  <c:v>8395</c:v>
                </c:pt>
                <c:pt idx="1216">
                  <c:v>8240</c:v>
                </c:pt>
                <c:pt idx="1217">
                  <c:v>8390</c:v>
                </c:pt>
                <c:pt idx="1218">
                  <c:v>8355</c:v>
                </c:pt>
                <c:pt idx="1219">
                  <c:v>8265</c:v>
                </c:pt>
                <c:pt idx="1220">
                  <c:v>8290</c:v>
                </c:pt>
                <c:pt idx="1221">
                  <c:v>8288</c:v>
                </c:pt>
                <c:pt idx="1222">
                  <c:v>8340</c:v>
                </c:pt>
                <c:pt idx="1223">
                  <c:v>8380</c:v>
                </c:pt>
                <c:pt idx="1224">
                  <c:v>8405</c:v>
                </c:pt>
                <c:pt idx="1225">
                  <c:v>8402</c:v>
                </c:pt>
                <c:pt idx="1226">
                  <c:v>8465</c:v>
                </c:pt>
                <c:pt idx="1227">
                  <c:v>8570</c:v>
                </c:pt>
                <c:pt idx="1228">
                  <c:v>8803</c:v>
                </c:pt>
                <c:pt idx="1229">
                  <c:v>8540</c:v>
                </c:pt>
                <c:pt idx="1230">
                  <c:v>8633</c:v>
                </c:pt>
                <c:pt idx="1231">
                  <c:v>8670</c:v>
                </c:pt>
                <c:pt idx="1232">
                  <c:v>8653</c:v>
                </c:pt>
                <c:pt idx="1233">
                  <c:v>8800</c:v>
                </c:pt>
                <c:pt idx="1234">
                  <c:v>8785</c:v>
                </c:pt>
                <c:pt idx="1235">
                  <c:v>8793</c:v>
                </c:pt>
                <c:pt idx="1236">
                  <c:v>8840</c:v>
                </c:pt>
                <c:pt idx="1237">
                  <c:v>8805</c:v>
                </c:pt>
                <c:pt idx="1238">
                  <c:v>8835</c:v>
                </c:pt>
                <c:pt idx="1239">
                  <c:v>8850</c:v>
                </c:pt>
                <c:pt idx="1240">
                  <c:v>8775</c:v>
                </c:pt>
                <c:pt idx="1241">
                  <c:v>8785</c:v>
                </c:pt>
                <c:pt idx="1242">
                  <c:v>8745</c:v>
                </c:pt>
                <c:pt idx="1243">
                  <c:v>8815</c:v>
                </c:pt>
                <c:pt idx="1244">
                  <c:v>8790</c:v>
                </c:pt>
                <c:pt idx="1245">
                  <c:v>8805</c:v>
                </c:pt>
                <c:pt idx="1246">
                  <c:v>8810</c:v>
                </c:pt>
                <c:pt idx="1247">
                  <c:v>8825</c:v>
                </c:pt>
                <c:pt idx="1248">
                  <c:v>8840</c:v>
                </c:pt>
                <c:pt idx="1249">
                  <c:v>8908</c:v>
                </c:pt>
                <c:pt idx="1250">
                  <c:v>8900</c:v>
                </c:pt>
                <c:pt idx="1251">
                  <c:v>8875</c:v>
                </c:pt>
                <c:pt idx="1252">
                  <c:v>8885</c:v>
                </c:pt>
                <c:pt idx="1253">
                  <c:v>8890</c:v>
                </c:pt>
                <c:pt idx="1254">
                  <c:v>8880</c:v>
                </c:pt>
                <c:pt idx="1255">
                  <c:v>8895</c:v>
                </c:pt>
                <c:pt idx="1256">
                  <c:v>8933</c:v>
                </c:pt>
                <c:pt idx="1257">
                  <c:v>8960</c:v>
                </c:pt>
                <c:pt idx="1258">
                  <c:v>8945</c:v>
                </c:pt>
                <c:pt idx="1259">
                  <c:v>9027</c:v>
                </c:pt>
                <c:pt idx="1260">
                  <c:v>9080</c:v>
                </c:pt>
                <c:pt idx="1261">
                  <c:v>9350</c:v>
                </c:pt>
                <c:pt idx="1262">
                  <c:v>9445</c:v>
                </c:pt>
                <c:pt idx="1263">
                  <c:v>9130</c:v>
                </c:pt>
                <c:pt idx="1264">
                  <c:v>9175</c:v>
                </c:pt>
                <c:pt idx="1265">
                  <c:v>9170</c:v>
                </c:pt>
                <c:pt idx="1266">
                  <c:v>9160</c:v>
                </c:pt>
                <c:pt idx="1267">
                  <c:v>9260</c:v>
                </c:pt>
                <c:pt idx="1268">
                  <c:v>9205</c:v>
                </c:pt>
                <c:pt idx="1269">
                  <c:v>9245</c:v>
                </c:pt>
                <c:pt idx="1270">
                  <c:v>9235</c:v>
                </c:pt>
                <c:pt idx="1271">
                  <c:v>9265</c:v>
                </c:pt>
                <c:pt idx="1272">
                  <c:v>9300</c:v>
                </c:pt>
                <c:pt idx="1273">
                  <c:v>9380</c:v>
                </c:pt>
                <c:pt idx="1274">
                  <c:v>9340</c:v>
                </c:pt>
                <c:pt idx="1275">
                  <c:v>9368</c:v>
                </c:pt>
                <c:pt idx="1276">
                  <c:v>9435</c:v>
                </c:pt>
                <c:pt idx="1277">
                  <c:v>9453</c:v>
                </c:pt>
                <c:pt idx="1278">
                  <c:v>9440</c:v>
                </c:pt>
                <c:pt idx="1279">
                  <c:v>9433</c:v>
                </c:pt>
                <c:pt idx="1280">
                  <c:v>9450</c:v>
                </c:pt>
                <c:pt idx="1281">
                  <c:v>9455</c:v>
                </c:pt>
                <c:pt idx="1282">
                  <c:v>9440</c:v>
                </c:pt>
                <c:pt idx="1283">
                  <c:v>9485</c:v>
                </c:pt>
                <c:pt idx="1284">
                  <c:v>9540</c:v>
                </c:pt>
                <c:pt idx="1285">
                  <c:v>9535</c:v>
                </c:pt>
                <c:pt idx="1286">
                  <c:v>9515</c:v>
                </c:pt>
                <c:pt idx="1287">
                  <c:v>9522</c:v>
                </c:pt>
                <c:pt idx="1288">
                  <c:v>9522</c:v>
                </c:pt>
                <c:pt idx="1289">
                  <c:v>9580</c:v>
                </c:pt>
                <c:pt idx="1290">
                  <c:v>9563</c:v>
                </c:pt>
                <c:pt idx="1291">
                  <c:v>9305</c:v>
                </c:pt>
                <c:pt idx="1292">
                  <c:v>9510</c:v>
                </c:pt>
                <c:pt idx="1293">
                  <c:v>9485</c:v>
                </c:pt>
                <c:pt idx="1294">
                  <c:v>9420</c:v>
                </c:pt>
                <c:pt idx="1295">
                  <c:v>9415</c:v>
                </c:pt>
                <c:pt idx="1296">
                  <c:v>9368</c:v>
                </c:pt>
                <c:pt idx="1297">
                  <c:v>9265</c:v>
                </c:pt>
                <c:pt idx="1298">
                  <c:v>9228</c:v>
                </c:pt>
                <c:pt idx="1299">
                  <c:v>9288</c:v>
                </c:pt>
                <c:pt idx="1300">
                  <c:v>9368</c:v>
                </c:pt>
                <c:pt idx="1301">
                  <c:v>9295</c:v>
                </c:pt>
                <c:pt idx="1302">
                  <c:v>9295</c:v>
                </c:pt>
                <c:pt idx="1303">
                  <c:v>9490</c:v>
                </c:pt>
                <c:pt idx="1304">
                  <c:v>9515</c:v>
                </c:pt>
                <c:pt idx="1305">
                  <c:v>9600</c:v>
                </c:pt>
                <c:pt idx="1306">
                  <c:v>9750</c:v>
                </c:pt>
                <c:pt idx="1307">
                  <c:v>9435</c:v>
                </c:pt>
                <c:pt idx="1308">
                  <c:v>9528</c:v>
                </c:pt>
                <c:pt idx="1309">
                  <c:v>9508</c:v>
                </c:pt>
                <c:pt idx="1310">
                  <c:v>9523</c:v>
                </c:pt>
                <c:pt idx="1311">
                  <c:v>9510</c:v>
                </c:pt>
                <c:pt idx="1312">
                  <c:v>9496</c:v>
                </c:pt>
                <c:pt idx="1313">
                  <c:v>9535</c:v>
                </c:pt>
                <c:pt idx="1314">
                  <c:v>9595</c:v>
                </c:pt>
                <c:pt idx="1315">
                  <c:v>9605</c:v>
                </c:pt>
                <c:pt idx="1316">
                  <c:v>9455</c:v>
                </c:pt>
                <c:pt idx="1317">
                  <c:v>9505</c:v>
                </c:pt>
                <c:pt idx="1318">
                  <c:v>9468</c:v>
                </c:pt>
                <c:pt idx="1319">
                  <c:v>9475</c:v>
                </c:pt>
                <c:pt idx="1320">
                  <c:v>9440</c:v>
                </c:pt>
                <c:pt idx="1321">
                  <c:v>9400</c:v>
                </c:pt>
                <c:pt idx="1322">
                  <c:v>9365</c:v>
                </c:pt>
                <c:pt idx="1323">
                  <c:v>9400</c:v>
                </c:pt>
                <c:pt idx="1324">
                  <c:v>9345</c:v>
                </c:pt>
                <c:pt idx="1325">
                  <c:v>9440</c:v>
                </c:pt>
                <c:pt idx="1326">
                  <c:v>9478</c:v>
                </c:pt>
                <c:pt idx="1327">
                  <c:v>9450</c:v>
                </c:pt>
                <c:pt idx="1328">
                  <c:v>9480</c:v>
                </c:pt>
                <c:pt idx="1329">
                  <c:v>9480</c:v>
                </c:pt>
                <c:pt idx="1330">
                  <c:v>9505</c:v>
                </c:pt>
                <c:pt idx="1331">
                  <c:v>9600</c:v>
                </c:pt>
                <c:pt idx="1332">
                  <c:v>9600</c:v>
                </c:pt>
                <c:pt idx="1333">
                  <c:v>9605</c:v>
                </c:pt>
                <c:pt idx="1334">
                  <c:v>9635</c:v>
                </c:pt>
                <c:pt idx="1335">
                  <c:v>9588</c:v>
                </c:pt>
                <c:pt idx="1336">
                  <c:v>9613</c:v>
                </c:pt>
                <c:pt idx="1337">
                  <c:v>9615</c:v>
                </c:pt>
                <c:pt idx="1338">
                  <c:v>9610</c:v>
                </c:pt>
                <c:pt idx="1339">
                  <c:v>9600</c:v>
                </c:pt>
                <c:pt idx="1340">
                  <c:v>9595</c:v>
                </c:pt>
                <c:pt idx="1341">
                  <c:v>9610</c:v>
                </c:pt>
                <c:pt idx="1342">
                  <c:v>9600</c:v>
                </c:pt>
                <c:pt idx="1343">
                  <c:v>9618</c:v>
                </c:pt>
                <c:pt idx="1344">
                  <c:v>9600</c:v>
                </c:pt>
                <c:pt idx="1345">
                  <c:v>9635</c:v>
                </c:pt>
                <c:pt idx="1346">
                  <c:v>9813</c:v>
                </c:pt>
                <c:pt idx="1347">
                  <c:v>9827</c:v>
                </c:pt>
                <c:pt idx="1348">
                  <c:v>9833</c:v>
                </c:pt>
                <c:pt idx="1349">
                  <c:v>9860</c:v>
                </c:pt>
                <c:pt idx="1350">
                  <c:v>9875</c:v>
                </c:pt>
                <c:pt idx="1351">
                  <c:v>9875</c:v>
                </c:pt>
                <c:pt idx="1352">
                  <c:v>9878</c:v>
                </c:pt>
                <c:pt idx="1353">
                  <c:v>9890</c:v>
                </c:pt>
                <c:pt idx="1354">
                  <c:v>9893</c:v>
                </c:pt>
                <c:pt idx="1355">
                  <c:v>10155</c:v>
                </c:pt>
                <c:pt idx="1356">
                  <c:v>10450</c:v>
                </c:pt>
                <c:pt idx="1357">
                  <c:v>10300</c:v>
                </c:pt>
                <c:pt idx="1358">
                  <c:v>10110</c:v>
                </c:pt>
                <c:pt idx="1359">
                  <c:v>10100</c:v>
                </c:pt>
                <c:pt idx="1360">
                  <c:v>10300</c:v>
                </c:pt>
                <c:pt idx="1361">
                  <c:v>10428</c:v>
                </c:pt>
                <c:pt idx="1362">
                  <c:v>10415</c:v>
                </c:pt>
                <c:pt idx="1363">
                  <c:v>10435</c:v>
                </c:pt>
                <c:pt idx="1364">
                  <c:v>10398</c:v>
                </c:pt>
                <c:pt idx="1365">
                  <c:v>10385</c:v>
                </c:pt>
                <c:pt idx="1366">
                  <c:v>10400</c:v>
                </c:pt>
                <c:pt idx="1367">
                  <c:v>10425</c:v>
                </c:pt>
                <c:pt idx="1368">
                  <c:v>10378</c:v>
                </c:pt>
                <c:pt idx="1369">
                  <c:v>10375</c:v>
                </c:pt>
                <c:pt idx="1370">
                  <c:v>10425</c:v>
                </c:pt>
                <c:pt idx="1371">
                  <c:v>10433</c:v>
                </c:pt>
                <c:pt idx="1372">
                  <c:v>10438</c:v>
                </c:pt>
                <c:pt idx="1373">
                  <c:v>10610</c:v>
                </c:pt>
                <c:pt idx="1374">
                  <c:v>10730</c:v>
                </c:pt>
                <c:pt idx="1375">
                  <c:v>10863</c:v>
                </c:pt>
                <c:pt idx="1376">
                  <c:v>10845</c:v>
                </c:pt>
                <c:pt idx="1377">
                  <c:v>10653</c:v>
                </c:pt>
                <c:pt idx="1378">
                  <c:v>10600</c:v>
                </c:pt>
                <c:pt idx="1379">
                  <c:v>10613</c:v>
                </c:pt>
                <c:pt idx="1380">
                  <c:v>10613</c:v>
                </c:pt>
                <c:pt idx="1381">
                  <c:v>10825</c:v>
                </c:pt>
                <c:pt idx="1382">
                  <c:v>10880</c:v>
                </c:pt>
                <c:pt idx="1383">
                  <c:v>10970</c:v>
                </c:pt>
                <c:pt idx="1384">
                  <c:v>11095</c:v>
                </c:pt>
                <c:pt idx="1385">
                  <c:v>11850</c:v>
                </c:pt>
                <c:pt idx="1386">
                  <c:v>11950</c:v>
                </c:pt>
                <c:pt idx="1387">
                  <c:v>11840</c:v>
                </c:pt>
                <c:pt idx="1388">
                  <c:v>11985</c:v>
                </c:pt>
                <c:pt idx="1389">
                  <c:v>12079</c:v>
                </c:pt>
                <c:pt idx="1390">
                  <c:v>11700</c:v>
                </c:pt>
                <c:pt idx="1391">
                  <c:v>11550</c:v>
                </c:pt>
                <c:pt idx="1392">
                  <c:v>11150</c:v>
                </c:pt>
                <c:pt idx="1393">
                  <c:v>11230</c:v>
                </c:pt>
                <c:pt idx="1394">
                  <c:v>11075</c:v>
                </c:pt>
                <c:pt idx="1395">
                  <c:v>10925</c:v>
                </c:pt>
                <c:pt idx="1396">
                  <c:v>10950</c:v>
                </c:pt>
                <c:pt idx="1397">
                  <c:v>10945</c:v>
                </c:pt>
                <c:pt idx="1398">
                  <c:v>11088</c:v>
                </c:pt>
                <c:pt idx="1399">
                  <c:v>11200</c:v>
                </c:pt>
                <c:pt idx="1400">
                  <c:v>11275</c:v>
                </c:pt>
                <c:pt idx="1401">
                  <c:v>11405</c:v>
                </c:pt>
                <c:pt idx="1402">
                  <c:v>11445</c:v>
                </c:pt>
                <c:pt idx="1403">
                  <c:v>11413</c:v>
                </c:pt>
                <c:pt idx="1404">
                  <c:v>11335</c:v>
                </c:pt>
                <c:pt idx="1405">
                  <c:v>11408</c:v>
                </c:pt>
                <c:pt idx="1406">
                  <c:v>11445</c:v>
                </c:pt>
                <c:pt idx="1407">
                  <c:v>11425</c:v>
                </c:pt>
                <c:pt idx="1408">
                  <c:v>11421</c:v>
                </c:pt>
                <c:pt idx="1409">
                  <c:v>11400</c:v>
                </c:pt>
                <c:pt idx="1410">
                  <c:v>11455</c:v>
                </c:pt>
                <c:pt idx="1411">
                  <c:v>11575</c:v>
                </c:pt>
                <c:pt idx="1412">
                  <c:v>11225</c:v>
                </c:pt>
                <c:pt idx="1413">
                  <c:v>11355</c:v>
                </c:pt>
                <c:pt idx="1414">
                  <c:v>11125</c:v>
                </c:pt>
                <c:pt idx="1415">
                  <c:v>11435</c:v>
                </c:pt>
                <c:pt idx="1416">
                  <c:v>11375</c:v>
                </c:pt>
                <c:pt idx="1417">
                  <c:v>11225</c:v>
                </c:pt>
                <c:pt idx="1418">
                  <c:v>11195</c:v>
                </c:pt>
                <c:pt idx="1419">
                  <c:v>11200</c:v>
                </c:pt>
                <c:pt idx="1420">
                  <c:v>11195</c:v>
                </c:pt>
                <c:pt idx="1421">
                  <c:v>11260</c:v>
                </c:pt>
                <c:pt idx="1422">
                  <c:v>11245</c:v>
                </c:pt>
                <c:pt idx="1423">
                  <c:v>11229</c:v>
                </c:pt>
                <c:pt idx="1424">
                  <c:v>11250</c:v>
                </c:pt>
                <c:pt idx="1425">
                  <c:v>11230</c:v>
                </c:pt>
                <c:pt idx="1426">
                  <c:v>11285</c:v>
                </c:pt>
                <c:pt idx="1427">
                  <c:v>11375</c:v>
                </c:pt>
                <c:pt idx="1428">
                  <c:v>11290</c:v>
                </c:pt>
                <c:pt idx="1429">
                  <c:v>11335</c:v>
                </c:pt>
                <c:pt idx="1430">
                  <c:v>11358</c:v>
                </c:pt>
                <c:pt idx="1431">
                  <c:v>11365</c:v>
                </c:pt>
                <c:pt idx="1432">
                  <c:v>11369</c:v>
                </c:pt>
                <c:pt idx="1433">
                  <c:v>11395</c:v>
                </c:pt>
                <c:pt idx="1434">
                  <c:v>11438</c:v>
                </c:pt>
                <c:pt idx="1435">
                  <c:v>11410</c:v>
                </c:pt>
                <c:pt idx="1436">
                  <c:v>11320</c:v>
                </c:pt>
                <c:pt idx="1437">
                  <c:v>11322</c:v>
                </c:pt>
                <c:pt idx="1438">
                  <c:v>11365</c:v>
                </c:pt>
                <c:pt idx="1439">
                  <c:v>11360</c:v>
                </c:pt>
                <c:pt idx="1440">
                  <c:v>11338</c:v>
                </c:pt>
                <c:pt idx="1441">
                  <c:v>11330</c:v>
                </c:pt>
                <c:pt idx="1442">
                  <c:v>11352</c:v>
                </c:pt>
                <c:pt idx="1443">
                  <c:v>11357</c:v>
                </c:pt>
                <c:pt idx="1444">
                  <c:v>11370</c:v>
                </c:pt>
                <c:pt idx="1445">
                  <c:v>11330</c:v>
                </c:pt>
                <c:pt idx="1446">
                  <c:v>11340</c:v>
                </c:pt>
                <c:pt idx="1447">
                  <c:v>11340</c:v>
                </c:pt>
                <c:pt idx="1448">
                  <c:v>11275</c:v>
                </c:pt>
                <c:pt idx="1449">
                  <c:v>11249</c:v>
                </c:pt>
                <c:pt idx="1450">
                  <c:v>11120</c:v>
                </c:pt>
                <c:pt idx="1451">
                  <c:v>10188</c:v>
                </c:pt>
                <c:pt idx="1452">
                  <c:v>9800</c:v>
                </c:pt>
                <c:pt idx="1453">
                  <c:v>10015</c:v>
                </c:pt>
                <c:pt idx="1454">
                  <c:v>9950</c:v>
                </c:pt>
                <c:pt idx="1455">
                  <c:v>9963</c:v>
                </c:pt>
                <c:pt idx="1456">
                  <c:v>9710</c:v>
                </c:pt>
                <c:pt idx="1457">
                  <c:v>9500</c:v>
                </c:pt>
                <c:pt idx="1458">
                  <c:v>9625</c:v>
                </c:pt>
                <c:pt idx="1459">
                  <c:v>9625</c:v>
                </c:pt>
                <c:pt idx="1460">
                  <c:v>9495</c:v>
                </c:pt>
                <c:pt idx="1461">
                  <c:v>9395</c:v>
                </c:pt>
                <c:pt idx="1462">
                  <c:v>9350</c:v>
                </c:pt>
                <c:pt idx="1463">
                  <c:v>9325</c:v>
                </c:pt>
                <c:pt idx="1464">
                  <c:v>9205</c:v>
                </c:pt>
                <c:pt idx="1465">
                  <c:v>9110</c:v>
                </c:pt>
                <c:pt idx="1466">
                  <c:v>8560</c:v>
                </c:pt>
                <c:pt idx="1467">
                  <c:v>8455</c:v>
                </c:pt>
                <c:pt idx="1468">
                  <c:v>8800</c:v>
                </c:pt>
                <c:pt idx="1469">
                  <c:v>8770</c:v>
                </c:pt>
                <c:pt idx="1470">
                  <c:v>8750</c:v>
                </c:pt>
                <c:pt idx="1471">
                  <c:v>8515</c:v>
                </c:pt>
                <c:pt idx="1472">
                  <c:v>8555</c:v>
                </c:pt>
                <c:pt idx="1473">
                  <c:v>8615</c:v>
                </c:pt>
                <c:pt idx="1474">
                  <c:v>8725</c:v>
                </c:pt>
                <c:pt idx="1475">
                  <c:v>8693</c:v>
                </c:pt>
                <c:pt idx="1476">
                  <c:v>8745</c:v>
                </c:pt>
                <c:pt idx="1477">
                  <c:v>9030</c:v>
                </c:pt>
                <c:pt idx="1478">
                  <c:v>9150</c:v>
                </c:pt>
                <c:pt idx="1479">
                  <c:v>8920</c:v>
                </c:pt>
                <c:pt idx="1480">
                  <c:v>8863</c:v>
                </c:pt>
                <c:pt idx="1481">
                  <c:v>8975</c:v>
                </c:pt>
                <c:pt idx="1482">
                  <c:v>8990</c:v>
                </c:pt>
                <c:pt idx="1483">
                  <c:v>9045</c:v>
                </c:pt>
                <c:pt idx="1484">
                  <c:v>9080</c:v>
                </c:pt>
                <c:pt idx="1485">
                  <c:v>9160</c:v>
                </c:pt>
                <c:pt idx="1486">
                  <c:v>9060</c:v>
                </c:pt>
                <c:pt idx="1487">
                  <c:v>9090</c:v>
                </c:pt>
                <c:pt idx="1488">
                  <c:v>9065</c:v>
                </c:pt>
                <c:pt idx="1489">
                  <c:v>9103</c:v>
                </c:pt>
                <c:pt idx="1490">
                  <c:v>9108</c:v>
                </c:pt>
                <c:pt idx="1491">
                  <c:v>9330</c:v>
                </c:pt>
                <c:pt idx="1492">
                  <c:v>9575</c:v>
                </c:pt>
                <c:pt idx="1493">
                  <c:v>9605</c:v>
                </c:pt>
                <c:pt idx="1494">
                  <c:v>9445</c:v>
                </c:pt>
                <c:pt idx="1495">
                  <c:v>9425</c:v>
                </c:pt>
                <c:pt idx="1496">
                  <c:v>9490</c:v>
                </c:pt>
                <c:pt idx="1497">
                  <c:v>9518</c:v>
                </c:pt>
                <c:pt idx="1498">
                  <c:v>9635</c:v>
                </c:pt>
                <c:pt idx="1499">
                  <c:v>9690</c:v>
                </c:pt>
                <c:pt idx="1500">
                  <c:v>9720</c:v>
                </c:pt>
                <c:pt idx="1501">
                  <c:v>9875</c:v>
                </c:pt>
                <c:pt idx="1502">
                  <c:v>10025</c:v>
                </c:pt>
                <c:pt idx="1503">
                  <c:v>9910</c:v>
                </c:pt>
                <c:pt idx="1504">
                  <c:v>9738</c:v>
                </c:pt>
                <c:pt idx="1505">
                  <c:v>9865</c:v>
                </c:pt>
                <c:pt idx="1506">
                  <c:v>10163</c:v>
                </c:pt>
                <c:pt idx="1507">
                  <c:v>10050</c:v>
                </c:pt>
                <c:pt idx="1508">
                  <c:v>9990</c:v>
                </c:pt>
                <c:pt idx="1509">
                  <c:v>9938</c:v>
                </c:pt>
                <c:pt idx="1510">
                  <c:v>9970</c:v>
                </c:pt>
                <c:pt idx="1511">
                  <c:v>9965</c:v>
                </c:pt>
                <c:pt idx="1512">
                  <c:v>10008</c:v>
                </c:pt>
                <c:pt idx="1513">
                  <c:v>10013</c:v>
                </c:pt>
                <c:pt idx="1514">
                  <c:v>10035</c:v>
                </c:pt>
                <c:pt idx="1515">
                  <c:v>10085</c:v>
                </c:pt>
                <c:pt idx="1516">
                  <c:v>10113</c:v>
                </c:pt>
                <c:pt idx="1517">
                  <c:v>10185</c:v>
                </c:pt>
                <c:pt idx="1518">
                  <c:v>10230</c:v>
                </c:pt>
                <c:pt idx="1519">
                  <c:v>10265</c:v>
                </c:pt>
                <c:pt idx="1520">
                  <c:v>10260</c:v>
                </c:pt>
                <c:pt idx="1521">
                  <c:v>10270</c:v>
                </c:pt>
                <c:pt idx="1522">
                  <c:v>10400</c:v>
                </c:pt>
                <c:pt idx="1523">
                  <c:v>10475</c:v>
                </c:pt>
                <c:pt idx="1524">
                  <c:v>10525</c:v>
                </c:pt>
                <c:pt idx="1525">
                  <c:v>10685</c:v>
                </c:pt>
                <c:pt idx="1526">
                  <c:v>10925</c:v>
                </c:pt>
                <c:pt idx="1527">
                  <c:v>10815</c:v>
                </c:pt>
                <c:pt idx="1528">
                  <c:v>10638</c:v>
                </c:pt>
                <c:pt idx="1529">
                  <c:v>10470</c:v>
                </c:pt>
                <c:pt idx="1530">
                  <c:v>10410</c:v>
                </c:pt>
                <c:pt idx="1531">
                  <c:v>10685</c:v>
                </c:pt>
                <c:pt idx="1532">
                  <c:v>10678</c:v>
                </c:pt>
                <c:pt idx="1533">
                  <c:v>10645</c:v>
                </c:pt>
                <c:pt idx="1534">
                  <c:v>10625</c:v>
                </c:pt>
                <c:pt idx="1535">
                  <c:v>10608</c:v>
                </c:pt>
                <c:pt idx="1536">
                  <c:v>10565</c:v>
                </c:pt>
                <c:pt idx="1537">
                  <c:v>10535</c:v>
                </c:pt>
                <c:pt idx="1538">
                  <c:v>10425</c:v>
                </c:pt>
                <c:pt idx="1539">
                  <c:v>10550</c:v>
                </c:pt>
                <c:pt idx="1540">
                  <c:v>10495</c:v>
                </c:pt>
                <c:pt idx="1541">
                  <c:v>10375</c:v>
                </c:pt>
                <c:pt idx="1542">
                  <c:v>10393</c:v>
                </c:pt>
                <c:pt idx="1543">
                  <c:v>10410</c:v>
                </c:pt>
                <c:pt idx="1544">
                  <c:v>10412</c:v>
                </c:pt>
                <c:pt idx="1545">
                  <c:v>10450</c:v>
                </c:pt>
                <c:pt idx="1546">
                  <c:v>10455</c:v>
                </c:pt>
                <c:pt idx="1547">
                  <c:v>10470</c:v>
                </c:pt>
                <c:pt idx="1548">
                  <c:v>10483</c:v>
                </c:pt>
                <c:pt idx="1549">
                  <c:v>10400</c:v>
                </c:pt>
                <c:pt idx="1550">
                  <c:v>10380</c:v>
                </c:pt>
                <c:pt idx="1551">
                  <c:v>10235</c:v>
                </c:pt>
                <c:pt idx="1552">
                  <c:v>10165</c:v>
                </c:pt>
                <c:pt idx="1553">
                  <c:v>10150</c:v>
                </c:pt>
                <c:pt idx="1554">
                  <c:v>10100</c:v>
                </c:pt>
                <c:pt idx="1555">
                  <c:v>10195</c:v>
                </c:pt>
                <c:pt idx="1556">
                  <c:v>10195</c:v>
                </c:pt>
                <c:pt idx="1557">
                  <c:v>10158</c:v>
                </c:pt>
                <c:pt idx="1558">
                  <c:v>10125</c:v>
                </c:pt>
                <c:pt idx="1559">
                  <c:v>10113</c:v>
                </c:pt>
                <c:pt idx="1560">
                  <c:v>10183</c:v>
                </c:pt>
                <c:pt idx="1561">
                  <c:v>10178</c:v>
                </c:pt>
                <c:pt idx="1562">
                  <c:v>10190</c:v>
                </c:pt>
                <c:pt idx="1563">
                  <c:v>10195</c:v>
                </c:pt>
                <c:pt idx="1564">
                  <c:v>10375</c:v>
                </c:pt>
                <c:pt idx="1565">
                  <c:v>10475</c:v>
                </c:pt>
                <c:pt idx="1566">
                  <c:v>10425</c:v>
                </c:pt>
                <c:pt idx="1567">
                  <c:v>10400</c:v>
                </c:pt>
                <c:pt idx="1568">
                  <c:v>10400</c:v>
                </c:pt>
                <c:pt idx="1569">
                  <c:v>10378</c:v>
                </c:pt>
                <c:pt idx="1570">
                  <c:v>10430</c:v>
                </c:pt>
                <c:pt idx="1571">
                  <c:v>10385</c:v>
                </c:pt>
                <c:pt idx="1572">
                  <c:v>10420</c:v>
                </c:pt>
                <c:pt idx="1573">
                  <c:v>10450</c:v>
                </c:pt>
                <c:pt idx="1574">
                  <c:v>10438</c:v>
                </c:pt>
                <c:pt idx="1575">
                  <c:v>10429</c:v>
                </c:pt>
                <c:pt idx="1576">
                  <c:v>10408</c:v>
                </c:pt>
                <c:pt idx="1577">
                  <c:v>10385</c:v>
                </c:pt>
                <c:pt idx="1578">
                  <c:v>10375</c:v>
                </c:pt>
                <c:pt idx="1579">
                  <c:v>10403</c:v>
                </c:pt>
                <c:pt idx="1580">
                  <c:v>10386</c:v>
                </c:pt>
                <c:pt idx="1581">
                  <c:v>10385</c:v>
                </c:pt>
                <c:pt idx="1582">
                  <c:v>10380</c:v>
                </c:pt>
                <c:pt idx="1583">
                  <c:v>10396</c:v>
                </c:pt>
                <c:pt idx="1584">
                  <c:v>10465</c:v>
                </c:pt>
                <c:pt idx="1585">
                  <c:v>10454</c:v>
                </c:pt>
                <c:pt idx="1586">
                  <c:v>10415</c:v>
                </c:pt>
                <c:pt idx="1587">
                  <c:v>10315</c:v>
                </c:pt>
                <c:pt idx="1588">
                  <c:v>10305</c:v>
                </c:pt>
                <c:pt idx="1589">
                  <c:v>10318</c:v>
                </c:pt>
                <c:pt idx="1590">
                  <c:v>10320</c:v>
                </c:pt>
                <c:pt idx="1591">
                  <c:v>10310</c:v>
                </c:pt>
                <c:pt idx="1592">
                  <c:v>10303</c:v>
                </c:pt>
                <c:pt idx="1593">
                  <c:v>10300</c:v>
                </c:pt>
                <c:pt idx="1594">
                  <c:v>10270</c:v>
                </c:pt>
                <c:pt idx="1595">
                  <c:v>10270</c:v>
                </c:pt>
                <c:pt idx="1596">
                  <c:v>10198</c:v>
                </c:pt>
                <c:pt idx="1597">
                  <c:v>10170</c:v>
                </c:pt>
                <c:pt idx="1598">
                  <c:v>10175</c:v>
                </c:pt>
                <c:pt idx="1599">
                  <c:v>10213</c:v>
                </c:pt>
                <c:pt idx="1600">
                  <c:v>10240</c:v>
                </c:pt>
                <c:pt idx="1601">
                  <c:v>10240</c:v>
                </c:pt>
                <c:pt idx="1602">
                  <c:v>10190</c:v>
                </c:pt>
                <c:pt idx="1603">
                  <c:v>10185</c:v>
                </c:pt>
                <c:pt idx="1604">
                  <c:v>10180</c:v>
                </c:pt>
                <c:pt idx="1605">
                  <c:v>10205</c:v>
                </c:pt>
                <c:pt idx="1606">
                  <c:v>10191</c:v>
                </c:pt>
                <c:pt idx="1607">
                  <c:v>10171</c:v>
                </c:pt>
                <c:pt idx="1608">
                  <c:v>10183</c:v>
                </c:pt>
                <c:pt idx="1609">
                  <c:v>10151</c:v>
                </c:pt>
                <c:pt idx="1610">
                  <c:v>10090</c:v>
                </c:pt>
                <c:pt idx="1611">
                  <c:v>10070</c:v>
                </c:pt>
                <c:pt idx="1612">
                  <c:v>9985</c:v>
                </c:pt>
                <c:pt idx="1613">
                  <c:v>9915</c:v>
                </c:pt>
                <c:pt idx="1614">
                  <c:v>9945</c:v>
                </c:pt>
                <c:pt idx="1615">
                  <c:v>10020</c:v>
                </c:pt>
                <c:pt idx="1616">
                  <c:v>9955</c:v>
                </c:pt>
                <c:pt idx="1617">
                  <c:v>9970</c:v>
                </c:pt>
                <c:pt idx="1618">
                  <c:v>9980</c:v>
                </c:pt>
                <c:pt idx="1619">
                  <c:v>9955</c:v>
                </c:pt>
                <c:pt idx="1620">
                  <c:v>9970</c:v>
                </c:pt>
                <c:pt idx="1621">
                  <c:v>9975</c:v>
                </c:pt>
                <c:pt idx="1622">
                  <c:v>9960</c:v>
                </c:pt>
                <c:pt idx="1623">
                  <c:v>9925</c:v>
                </c:pt>
                <c:pt idx="1624">
                  <c:v>9850</c:v>
                </c:pt>
                <c:pt idx="1625">
                  <c:v>9825</c:v>
                </c:pt>
                <c:pt idx="1626">
                  <c:v>9701</c:v>
                </c:pt>
                <c:pt idx="1627">
                  <c:v>9575</c:v>
                </c:pt>
                <c:pt idx="1628">
                  <c:v>9662</c:v>
                </c:pt>
                <c:pt idx="1629">
                  <c:v>9815</c:v>
                </c:pt>
                <c:pt idx="1630">
                  <c:v>9825</c:v>
                </c:pt>
                <c:pt idx="1631">
                  <c:v>9747</c:v>
                </c:pt>
                <c:pt idx="1632">
                  <c:v>9806</c:v>
                </c:pt>
                <c:pt idx="1633">
                  <c:v>9803</c:v>
                </c:pt>
                <c:pt idx="1634">
                  <c:v>9655</c:v>
                </c:pt>
                <c:pt idx="1635">
                  <c:v>9585</c:v>
                </c:pt>
                <c:pt idx="1636">
                  <c:v>9547</c:v>
                </c:pt>
                <c:pt idx="1637">
                  <c:v>9665</c:v>
                </c:pt>
                <c:pt idx="1638">
                  <c:v>9580</c:v>
                </c:pt>
                <c:pt idx="1639">
                  <c:v>9554</c:v>
                </c:pt>
                <c:pt idx="1640">
                  <c:v>9510</c:v>
                </c:pt>
                <c:pt idx="1641">
                  <c:v>9392</c:v>
                </c:pt>
                <c:pt idx="1642">
                  <c:v>9450</c:v>
                </c:pt>
                <c:pt idx="1643">
                  <c:v>9428</c:v>
                </c:pt>
                <c:pt idx="1644">
                  <c:v>9390</c:v>
                </c:pt>
                <c:pt idx="1645">
                  <c:v>9338</c:v>
                </c:pt>
                <c:pt idx="1646">
                  <c:v>9265</c:v>
                </c:pt>
                <c:pt idx="1647">
                  <c:v>9430</c:v>
                </c:pt>
                <c:pt idx="1648">
                  <c:v>9325</c:v>
                </c:pt>
                <c:pt idx="1649">
                  <c:v>9370</c:v>
                </c:pt>
                <c:pt idx="1650">
                  <c:v>9305</c:v>
                </c:pt>
                <c:pt idx="1651">
                  <c:v>9325</c:v>
                </c:pt>
                <c:pt idx="1652">
                  <c:v>9330</c:v>
                </c:pt>
                <c:pt idx="1653">
                  <c:v>9328</c:v>
                </c:pt>
                <c:pt idx="1654">
                  <c:v>9340</c:v>
                </c:pt>
                <c:pt idx="1655">
                  <c:v>9311</c:v>
                </c:pt>
                <c:pt idx="1656">
                  <c:v>9289</c:v>
                </c:pt>
                <c:pt idx="1657">
                  <c:v>9290</c:v>
                </c:pt>
                <c:pt idx="1658">
                  <c:v>9300</c:v>
                </c:pt>
                <c:pt idx="1659">
                  <c:v>9285</c:v>
                </c:pt>
                <c:pt idx="1660">
                  <c:v>9285</c:v>
                </c:pt>
                <c:pt idx="1661">
                  <c:v>9279</c:v>
                </c:pt>
                <c:pt idx="1662">
                  <c:v>9270</c:v>
                </c:pt>
                <c:pt idx="1663">
                  <c:v>9240</c:v>
                </c:pt>
                <c:pt idx="1664">
                  <c:v>9150</c:v>
                </c:pt>
                <c:pt idx="1665">
                  <c:v>9090</c:v>
                </c:pt>
                <c:pt idx="1666">
                  <c:v>9036</c:v>
                </c:pt>
                <c:pt idx="1667">
                  <c:v>9035</c:v>
                </c:pt>
                <c:pt idx="1668">
                  <c:v>9064</c:v>
                </c:pt>
                <c:pt idx="1669">
                  <c:v>8945</c:v>
                </c:pt>
                <c:pt idx="1670">
                  <c:v>8960</c:v>
                </c:pt>
                <c:pt idx="1671">
                  <c:v>8905</c:v>
                </c:pt>
                <c:pt idx="1672">
                  <c:v>8868</c:v>
                </c:pt>
                <c:pt idx="1673">
                  <c:v>8851</c:v>
                </c:pt>
                <c:pt idx="1674">
                  <c:v>8843</c:v>
                </c:pt>
                <c:pt idx="1675">
                  <c:v>8698</c:v>
                </c:pt>
                <c:pt idx="1676">
                  <c:v>8545</c:v>
                </c:pt>
                <c:pt idx="1677">
                  <c:v>8650</c:v>
                </c:pt>
                <c:pt idx="1678">
                  <c:v>8913</c:v>
                </c:pt>
                <c:pt idx="1679">
                  <c:v>9045</c:v>
                </c:pt>
                <c:pt idx="1680">
                  <c:v>8895</c:v>
                </c:pt>
                <c:pt idx="1681">
                  <c:v>8727</c:v>
                </c:pt>
                <c:pt idx="1682">
                  <c:v>8775</c:v>
                </c:pt>
                <c:pt idx="1683">
                  <c:v>8736</c:v>
                </c:pt>
                <c:pt idx="1684">
                  <c:v>8750</c:v>
                </c:pt>
                <c:pt idx="1685">
                  <c:v>8730</c:v>
                </c:pt>
                <c:pt idx="1686">
                  <c:v>8688</c:v>
                </c:pt>
                <c:pt idx="1687">
                  <c:v>8654</c:v>
                </c:pt>
                <c:pt idx="1688">
                  <c:v>8625</c:v>
                </c:pt>
                <c:pt idx="1689">
                  <c:v>8600</c:v>
                </c:pt>
                <c:pt idx="1690">
                  <c:v>8630</c:v>
                </c:pt>
                <c:pt idx="1691">
                  <c:v>8585</c:v>
                </c:pt>
                <c:pt idx="1692">
                  <c:v>8658</c:v>
                </c:pt>
                <c:pt idx="1693">
                  <c:v>8680</c:v>
                </c:pt>
                <c:pt idx="1694">
                  <c:v>8725</c:v>
                </c:pt>
                <c:pt idx="1695">
                  <c:v>8713</c:v>
                </c:pt>
                <c:pt idx="1696">
                  <c:v>8710</c:v>
                </c:pt>
                <c:pt idx="1697">
                  <c:v>8805</c:v>
                </c:pt>
                <c:pt idx="1698">
                  <c:v>8965</c:v>
                </c:pt>
                <c:pt idx="1699">
                  <c:v>8855</c:v>
                </c:pt>
                <c:pt idx="1700">
                  <c:v>8860</c:v>
                </c:pt>
                <c:pt idx="1701">
                  <c:v>8900</c:v>
                </c:pt>
                <c:pt idx="1702">
                  <c:v>8910</c:v>
                </c:pt>
                <c:pt idx="1703">
                  <c:v>8908</c:v>
                </c:pt>
                <c:pt idx="1704">
                  <c:v>9135</c:v>
                </c:pt>
                <c:pt idx="1705">
                  <c:v>9075</c:v>
                </c:pt>
                <c:pt idx="1706">
                  <c:v>9048</c:v>
                </c:pt>
                <c:pt idx="1707">
                  <c:v>9040</c:v>
                </c:pt>
                <c:pt idx="1708">
                  <c:v>8930</c:v>
                </c:pt>
                <c:pt idx="1709">
                  <c:v>8883</c:v>
                </c:pt>
                <c:pt idx="1710">
                  <c:v>8790</c:v>
                </c:pt>
                <c:pt idx="1711">
                  <c:v>8818</c:v>
                </c:pt>
                <c:pt idx="1712">
                  <c:v>9000</c:v>
                </c:pt>
                <c:pt idx="1713">
                  <c:v>9043</c:v>
                </c:pt>
                <c:pt idx="1714">
                  <c:v>9005</c:v>
                </c:pt>
                <c:pt idx="1715">
                  <c:v>9150</c:v>
                </c:pt>
                <c:pt idx="1716">
                  <c:v>9250</c:v>
                </c:pt>
                <c:pt idx="1717">
                  <c:v>9105</c:v>
                </c:pt>
                <c:pt idx="1718">
                  <c:v>9065</c:v>
                </c:pt>
                <c:pt idx="1719">
                  <c:v>9143</c:v>
                </c:pt>
                <c:pt idx="1720">
                  <c:v>9075</c:v>
                </c:pt>
                <c:pt idx="1721">
                  <c:v>9088</c:v>
                </c:pt>
                <c:pt idx="1722">
                  <c:v>9088</c:v>
                </c:pt>
                <c:pt idx="1723">
                  <c:v>9060</c:v>
                </c:pt>
                <c:pt idx="1724">
                  <c:v>8970</c:v>
                </c:pt>
                <c:pt idx="1725">
                  <c:v>8955</c:v>
                </c:pt>
                <c:pt idx="1726">
                  <c:v>8850</c:v>
                </c:pt>
                <c:pt idx="1727">
                  <c:v>8880</c:v>
                </c:pt>
                <c:pt idx="1728">
                  <c:v>8850</c:v>
                </c:pt>
                <c:pt idx="1729">
                  <c:v>8858</c:v>
                </c:pt>
                <c:pt idx="1730">
                  <c:v>8815</c:v>
                </c:pt>
                <c:pt idx="1731">
                  <c:v>8845</c:v>
                </c:pt>
                <c:pt idx="1732">
                  <c:v>8870</c:v>
                </c:pt>
                <c:pt idx="1733">
                  <c:v>8830</c:v>
                </c:pt>
                <c:pt idx="1734">
                  <c:v>8845</c:v>
                </c:pt>
                <c:pt idx="1735">
                  <c:v>8870</c:v>
                </c:pt>
                <c:pt idx="1736">
                  <c:v>8920</c:v>
                </c:pt>
                <c:pt idx="1737">
                  <c:v>8900</c:v>
                </c:pt>
                <c:pt idx="1738">
                  <c:v>8886</c:v>
                </c:pt>
                <c:pt idx="1739">
                  <c:v>8868</c:v>
                </c:pt>
                <c:pt idx="1740">
                  <c:v>8851</c:v>
                </c:pt>
                <c:pt idx="1741">
                  <c:v>8848</c:v>
                </c:pt>
                <c:pt idx="1742">
                  <c:v>8843</c:v>
                </c:pt>
                <c:pt idx="1743">
                  <c:v>8870</c:v>
                </c:pt>
                <c:pt idx="1744">
                  <c:v>8863</c:v>
                </c:pt>
                <c:pt idx="1745">
                  <c:v>8870</c:v>
                </c:pt>
                <c:pt idx="1746">
                  <c:v>8863</c:v>
                </c:pt>
                <c:pt idx="1747">
                  <c:v>8867</c:v>
                </c:pt>
                <c:pt idx="1748">
                  <c:v>8893</c:v>
                </c:pt>
                <c:pt idx="1749">
                  <c:v>8920</c:v>
                </c:pt>
                <c:pt idx="1750">
                  <c:v>8975</c:v>
                </c:pt>
                <c:pt idx="1751">
                  <c:v>9068</c:v>
                </c:pt>
                <c:pt idx="1752">
                  <c:v>9060</c:v>
                </c:pt>
                <c:pt idx="1753">
                  <c:v>9000</c:v>
                </c:pt>
                <c:pt idx="1754">
                  <c:v>9008</c:v>
                </c:pt>
                <c:pt idx="1755">
                  <c:v>9033</c:v>
                </c:pt>
                <c:pt idx="1756">
                  <c:v>9085</c:v>
                </c:pt>
                <c:pt idx="1757">
                  <c:v>9038</c:v>
                </c:pt>
                <c:pt idx="1758">
                  <c:v>9000</c:v>
                </c:pt>
                <c:pt idx="1759">
                  <c:v>9010</c:v>
                </c:pt>
                <c:pt idx="1760">
                  <c:v>9014</c:v>
                </c:pt>
                <c:pt idx="1761">
                  <c:v>8994</c:v>
                </c:pt>
                <c:pt idx="1762">
                  <c:v>9000</c:v>
                </c:pt>
                <c:pt idx="1763">
                  <c:v>9014</c:v>
                </c:pt>
                <c:pt idx="1764">
                  <c:v>9010</c:v>
                </c:pt>
                <c:pt idx="1765">
                  <c:v>9015</c:v>
                </c:pt>
                <c:pt idx="1766">
                  <c:v>9015</c:v>
                </c:pt>
                <c:pt idx="1767">
                  <c:v>9005</c:v>
                </c:pt>
                <c:pt idx="1768">
                  <c:v>9004</c:v>
                </c:pt>
                <c:pt idx="1769">
                  <c:v>9010</c:v>
                </c:pt>
                <c:pt idx="1770">
                  <c:v>9007</c:v>
                </c:pt>
                <c:pt idx="1771">
                  <c:v>9345</c:v>
                </c:pt>
                <c:pt idx="1772">
                  <c:v>9290</c:v>
                </c:pt>
                <c:pt idx="1773">
                  <c:v>9203</c:v>
                </c:pt>
                <c:pt idx="1774">
                  <c:v>9220</c:v>
                </c:pt>
                <c:pt idx="1775">
                  <c:v>9205</c:v>
                </c:pt>
                <c:pt idx="1776">
                  <c:v>9197</c:v>
                </c:pt>
                <c:pt idx="1777">
                  <c:v>9185</c:v>
                </c:pt>
                <c:pt idx="1778">
                  <c:v>9210</c:v>
                </c:pt>
                <c:pt idx="1779">
                  <c:v>9215</c:v>
                </c:pt>
                <c:pt idx="1780">
                  <c:v>9245</c:v>
                </c:pt>
                <c:pt idx="1781">
                  <c:v>9230</c:v>
                </c:pt>
                <c:pt idx="1782">
                  <c:v>9220</c:v>
                </c:pt>
                <c:pt idx="1783">
                  <c:v>9225</c:v>
                </c:pt>
                <c:pt idx="1784">
                  <c:v>9230</c:v>
                </c:pt>
                <c:pt idx="1785">
                  <c:v>9228</c:v>
                </c:pt>
                <c:pt idx="1786">
                  <c:v>9215</c:v>
                </c:pt>
                <c:pt idx="1787">
                  <c:v>9183</c:v>
                </c:pt>
                <c:pt idx="1788">
                  <c:v>9210</c:v>
                </c:pt>
                <c:pt idx="1789">
                  <c:v>9213</c:v>
                </c:pt>
                <c:pt idx="1790">
                  <c:v>9188</c:v>
                </c:pt>
                <c:pt idx="1791">
                  <c:v>9145</c:v>
                </c:pt>
                <c:pt idx="1792">
                  <c:v>9068</c:v>
                </c:pt>
                <c:pt idx="1793">
                  <c:v>9053</c:v>
                </c:pt>
                <c:pt idx="1794">
                  <c:v>9030</c:v>
                </c:pt>
                <c:pt idx="1795">
                  <c:v>9033</c:v>
                </c:pt>
                <c:pt idx="1796">
                  <c:v>8995</c:v>
                </c:pt>
                <c:pt idx="1797">
                  <c:v>8973</c:v>
                </c:pt>
                <c:pt idx="1798">
                  <c:v>8949</c:v>
                </c:pt>
                <c:pt idx="1799">
                  <c:v>9025</c:v>
                </c:pt>
                <c:pt idx="1800">
                  <c:v>9023</c:v>
                </c:pt>
                <c:pt idx="1801">
                  <c:v>8980</c:v>
                </c:pt>
                <c:pt idx="1802">
                  <c:v>8985</c:v>
                </c:pt>
                <c:pt idx="1803">
                  <c:v>8984</c:v>
                </c:pt>
                <c:pt idx="1804">
                  <c:v>8978</c:v>
                </c:pt>
                <c:pt idx="1805">
                  <c:v>8975</c:v>
                </c:pt>
                <c:pt idx="1806">
                  <c:v>8960</c:v>
                </c:pt>
                <c:pt idx="1807">
                  <c:v>8975</c:v>
                </c:pt>
                <c:pt idx="1808">
                  <c:v>8993</c:v>
                </c:pt>
                <c:pt idx="1809">
                  <c:v>8995</c:v>
                </c:pt>
                <c:pt idx="1810">
                  <c:v>8990</c:v>
                </c:pt>
                <c:pt idx="1811">
                  <c:v>9005</c:v>
                </c:pt>
                <c:pt idx="1812">
                  <c:v>9005</c:v>
                </c:pt>
                <c:pt idx="1813">
                  <c:v>8905</c:v>
                </c:pt>
                <c:pt idx="1814">
                  <c:v>8873</c:v>
                </c:pt>
                <c:pt idx="1815">
                  <c:v>8870</c:v>
                </c:pt>
                <c:pt idx="1816">
                  <c:v>8815</c:v>
                </c:pt>
                <c:pt idx="1817">
                  <c:v>8883</c:v>
                </c:pt>
                <c:pt idx="1818">
                  <c:v>8900</c:v>
                </c:pt>
                <c:pt idx="1819">
                  <c:v>8890</c:v>
                </c:pt>
                <c:pt idx="1820">
                  <c:v>8881</c:v>
                </c:pt>
                <c:pt idx="1821">
                  <c:v>8878</c:v>
                </c:pt>
                <c:pt idx="1822">
                  <c:v>8899</c:v>
                </c:pt>
                <c:pt idx="1823">
                  <c:v>8890</c:v>
                </c:pt>
                <c:pt idx="1824">
                  <c:v>8895</c:v>
                </c:pt>
                <c:pt idx="1825">
                  <c:v>8917</c:v>
                </c:pt>
                <c:pt idx="1826">
                  <c:v>8950</c:v>
                </c:pt>
                <c:pt idx="1827">
                  <c:v>8955</c:v>
                </c:pt>
                <c:pt idx="1828">
                  <c:v>8950</c:v>
                </c:pt>
                <c:pt idx="1829">
                  <c:v>8915</c:v>
                </c:pt>
                <c:pt idx="1830">
                  <c:v>8915</c:v>
                </c:pt>
                <c:pt idx="1831">
                  <c:v>8935</c:v>
                </c:pt>
                <c:pt idx="1832">
                  <c:v>8925</c:v>
                </c:pt>
                <c:pt idx="1833">
                  <c:v>8928</c:v>
                </c:pt>
                <c:pt idx="1834">
                  <c:v>8937</c:v>
                </c:pt>
                <c:pt idx="1835">
                  <c:v>8920</c:v>
                </c:pt>
                <c:pt idx="1836">
                  <c:v>8880</c:v>
                </c:pt>
                <c:pt idx="1837">
                  <c:v>8873</c:v>
                </c:pt>
                <c:pt idx="1838">
                  <c:v>8875</c:v>
                </c:pt>
                <c:pt idx="1839">
                  <c:v>8880</c:v>
                </c:pt>
                <c:pt idx="1840">
                  <c:v>8868</c:v>
                </c:pt>
                <c:pt idx="1841">
                  <c:v>8880</c:v>
                </c:pt>
                <c:pt idx="1842">
                  <c:v>8886</c:v>
                </c:pt>
                <c:pt idx="1843">
                  <c:v>8885</c:v>
                </c:pt>
                <c:pt idx="1844">
                  <c:v>8895</c:v>
                </c:pt>
                <c:pt idx="1845">
                  <c:v>8894</c:v>
                </c:pt>
                <c:pt idx="1846">
                  <c:v>8890</c:v>
                </c:pt>
                <c:pt idx="1847">
                  <c:v>8855</c:v>
                </c:pt>
                <c:pt idx="1848">
                  <c:v>8855</c:v>
                </c:pt>
                <c:pt idx="1849">
                  <c:v>8865</c:v>
                </c:pt>
                <c:pt idx="1850">
                  <c:v>8872</c:v>
                </c:pt>
                <c:pt idx="1851">
                  <c:v>8877</c:v>
                </c:pt>
                <c:pt idx="1852">
                  <c:v>8870</c:v>
                </c:pt>
                <c:pt idx="1853">
                  <c:v>8867</c:v>
                </c:pt>
                <c:pt idx="1854">
                  <c:v>8872</c:v>
                </c:pt>
                <c:pt idx="1855">
                  <c:v>8871</c:v>
                </c:pt>
                <c:pt idx="1856">
                  <c:v>8882</c:v>
                </c:pt>
                <c:pt idx="1857">
                  <c:v>8985</c:v>
                </c:pt>
                <c:pt idx="1858">
                  <c:v>8985</c:v>
                </c:pt>
                <c:pt idx="1859">
                  <c:v>8945</c:v>
                </c:pt>
                <c:pt idx="1860">
                  <c:v>8928</c:v>
                </c:pt>
                <c:pt idx="1861">
                  <c:v>8910</c:v>
                </c:pt>
                <c:pt idx="1862">
                  <c:v>8883</c:v>
                </c:pt>
                <c:pt idx="1863">
                  <c:v>8889</c:v>
                </c:pt>
                <c:pt idx="1864">
                  <c:v>8875</c:v>
                </c:pt>
                <c:pt idx="1865">
                  <c:v>8913</c:v>
                </c:pt>
                <c:pt idx="1866">
                  <c:v>8905</c:v>
                </c:pt>
                <c:pt idx="1867">
                  <c:v>8888</c:v>
                </c:pt>
                <c:pt idx="1868">
                  <c:v>8875</c:v>
                </c:pt>
                <c:pt idx="1869">
                  <c:v>8898</c:v>
                </c:pt>
                <c:pt idx="1870">
                  <c:v>8887</c:v>
                </c:pt>
                <c:pt idx="1871">
                  <c:v>8885</c:v>
                </c:pt>
                <c:pt idx="1872">
                  <c:v>8856</c:v>
                </c:pt>
                <c:pt idx="1873">
                  <c:v>8868</c:v>
                </c:pt>
                <c:pt idx="1874">
                  <c:v>8870</c:v>
                </c:pt>
                <c:pt idx="1875">
                  <c:v>8886</c:v>
                </c:pt>
                <c:pt idx="1876">
                  <c:v>8882</c:v>
                </c:pt>
                <c:pt idx="1877">
                  <c:v>8883</c:v>
                </c:pt>
                <c:pt idx="1878">
                  <c:v>8893</c:v>
                </c:pt>
                <c:pt idx="1879">
                  <c:v>8903</c:v>
                </c:pt>
                <c:pt idx="1880">
                  <c:v>8910</c:v>
                </c:pt>
                <c:pt idx="1881">
                  <c:v>8968</c:v>
                </c:pt>
                <c:pt idx="1882">
                  <c:v>9035</c:v>
                </c:pt>
                <c:pt idx="1883">
                  <c:v>9088</c:v>
                </c:pt>
                <c:pt idx="1884">
                  <c:v>9025</c:v>
                </c:pt>
                <c:pt idx="1885">
                  <c:v>8965</c:v>
                </c:pt>
                <c:pt idx="1886">
                  <c:v>8945</c:v>
                </c:pt>
                <c:pt idx="1887">
                  <c:v>8915</c:v>
                </c:pt>
                <c:pt idx="1888">
                  <c:v>8925</c:v>
                </c:pt>
                <c:pt idx="1889">
                  <c:v>8903</c:v>
                </c:pt>
                <c:pt idx="1890">
                  <c:v>8908</c:v>
                </c:pt>
                <c:pt idx="1891">
                  <c:v>8903</c:v>
                </c:pt>
                <c:pt idx="1892">
                  <c:v>8885</c:v>
                </c:pt>
                <c:pt idx="1893">
                  <c:v>8883</c:v>
                </c:pt>
                <c:pt idx="1894">
                  <c:v>8890</c:v>
                </c:pt>
                <c:pt idx="1895">
                  <c:v>8891</c:v>
                </c:pt>
                <c:pt idx="1896">
                  <c:v>8887</c:v>
                </c:pt>
                <c:pt idx="1897">
                  <c:v>8871</c:v>
                </c:pt>
                <c:pt idx="1898">
                  <c:v>8871</c:v>
                </c:pt>
                <c:pt idx="1899">
                  <c:v>8853</c:v>
                </c:pt>
                <c:pt idx="1900">
                  <c:v>8876</c:v>
                </c:pt>
                <c:pt idx="1901">
                  <c:v>8851</c:v>
                </c:pt>
                <c:pt idx="1902">
                  <c:v>8845</c:v>
                </c:pt>
                <c:pt idx="1903">
                  <c:v>8810</c:v>
                </c:pt>
                <c:pt idx="1904">
                  <c:v>8722</c:v>
                </c:pt>
                <c:pt idx="1905">
                  <c:v>8720</c:v>
                </c:pt>
                <c:pt idx="1906">
                  <c:v>8675</c:v>
                </c:pt>
                <c:pt idx="1907">
                  <c:v>8735</c:v>
                </c:pt>
                <c:pt idx="1908">
                  <c:v>8740</c:v>
                </c:pt>
                <c:pt idx="1909">
                  <c:v>8730</c:v>
                </c:pt>
                <c:pt idx="1910">
                  <c:v>8745</c:v>
                </c:pt>
                <c:pt idx="1911">
                  <c:v>8735</c:v>
                </c:pt>
                <c:pt idx="1912">
                  <c:v>8700</c:v>
                </c:pt>
                <c:pt idx="1913">
                  <c:v>8675</c:v>
                </c:pt>
                <c:pt idx="1914">
                  <c:v>8670</c:v>
                </c:pt>
                <c:pt idx="1915">
                  <c:v>8664</c:v>
                </c:pt>
                <c:pt idx="1916">
                  <c:v>8587</c:v>
                </c:pt>
                <c:pt idx="1917">
                  <c:v>8610</c:v>
                </c:pt>
                <c:pt idx="1918">
                  <c:v>8525</c:v>
                </c:pt>
                <c:pt idx="1919">
                  <c:v>8552</c:v>
                </c:pt>
                <c:pt idx="1920">
                  <c:v>8493</c:v>
                </c:pt>
                <c:pt idx="1921">
                  <c:v>8425</c:v>
                </c:pt>
                <c:pt idx="1922">
                  <c:v>8440</c:v>
                </c:pt>
                <c:pt idx="1923">
                  <c:v>8448</c:v>
                </c:pt>
                <c:pt idx="1924">
                  <c:v>8453</c:v>
                </c:pt>
                <c:pt idx="1925">
                  <c:v>8451</c:v>
                </c:pt>
                <c:pt idx="1926">
                  <c:v>8420</c:v>
                </c:pt>
                <c:pt idx="1927">
                  <c:v>8395</c:v>
                </c:pt>
                <c:pt idx="1928">
                  <c:v>8310</c:v>
                </c:pt>
                <c:pt idx="1929">
                  <c:v>8340</c:v>
                </c:pt>
                <c:pt idx="1930">
                  <c:v>8275</c:v>
                </c:pt>
                <c:pt idx="1931">
                  <c:v>8175</c:v>
                </c:pt>
                <c:pt idx="1932">
                  <c:v>8185</c:v>
                </c:pt>
                <c:pt idx="1933">
                  <c:v>8230</c:v>
                </c:pt>
                <c:pt idx="1934">
                  <c:v>8210</c:v>
                </c:pt>
                <c:pt idx="1935">
                  <c:v>8310</c:v>
                </c:pt>
                <c:pt idx="1936">
                  <c:v>8260</c:v>
                </c:pt>
                <c:pt idx="1937">
                  <c:v>8235</c:v>
                </c:pt>
                <c:pt idx="1938">
                  <c:v>8175</c:v>
                </c:pt>
                <c:pt idx="1939">
                  <c:v>8233</c:v>
                </c:pt>
                <c:pt idx="1940">
                  <c:v>8180</c:v>
                </c:pt>
                <c:pt idx="1941">
                  <c:v>8195</c:v>
                </c:pt>
                <c:pt idx="1942">
                  <c:v>8215</c:v>
                </c:pt>
                <c:pt idx="1943">
                  <c:v>8232</c:v>
                </c:pt>
                <c:pt idx="1944">
                  <c:v>8255</c:v>
                </c:pt>
                <c:pt idx="1945">
                  <c:v>8225</c:v>
                </c:pt>
                <c:pt idx="1946">
                  <c:v>8195</c:v>
                </c:pt>
                <c:pt idx="1947">
                  <c:v>8205</c:v>
                </c:pt>
                <c:pt idx="1948">
                  <c:v>8225</c:v>
                </c:pt>
                <c:pt idx="1949">
                  <c:v>8243</c:v>
                </c:pt>
                <c:pt idx="1950">
                  <c:v>8238</c:v>
                </c:pt>
                <c:pt idx="1951">
                  <c:v>8248</c:v>
                </c:pt>
                <c:pt idx="1952">
                  <c:v>8228</c:v>
                </c:pt>
                <c:pt idx="1953">
                  <c:v>8228</c:v>
                </c:pt>
                <c:pt idx="1954">
                  <c:v>8245</c:v>
                </c:pt>
                <c:pt idx="1955">
                  <c:v>8285</c:v>
                </c:pt>
                <c:pt idx="1956">
                  <c:v>8275</c:v>
                </c:pt>
                <c:pt idx="1957">
                  <c:v>8242</c:v>
                </c:pt>
                <c:pt idx="1958">
                  <c:v>8227</c:v>
                </c:pt>
                <c:pt idx="1959">
                  <c:v>8222</c:v>
                </c:pt>
                <c:pt idx="1960">
                  <c:v>8188</c:v>
                </c:pt>
                <c:pt idx="1961">
                  <c:v>8173</c:v>
                </c:pt>
                <c:pt idx="1962">
                  <c:v>8225</c:v>
                </c:pt>
                <c:pt idx="1963">
                  <c:v>8198</c:v>
                </c:pt>
                <c:pt idx="1964">
                  <c:v>8218</c:v>
                </c:pt>
                <c:pt idx="1965">
                  <c:v>8218</c:v>
                </c:pt>
                <c:pt idx="1966">
                  <c:v>8225</c:v>
                </c:pt>
                <c:pt idx="1967">
                  <c:v>8225</c:v>
                </c:pt>
                <c:pt idx="1968">
                  <c:v>8234</c:v>
                </c:pt>
                <c:pt idx="1969">
                  <c:v>8260</c:v>
                </c:pt>
                <c:pt idx="1970">
                  <c:v>8330</c:v>
                </c:pt>
                <c:pt idx="1971">
                  <c:v>8322</c:v>
                </c:pt>
                <c:pt idx="1972">
                  <c:v>8425</c:v>
                </c:pt>
                <c:pt idx="1973">
                  <c:v>8550</c:v>
                </c:pt>
                <c:pt idx="1974">
                  <c:v>8580</c:v>
                </c:pt>
                <c:pt idx="1975">
                  <c:v>8513</c:v>
                </c:pt>
                <c:pt idx="1976">
                  <c:v>8530</c:v>
                </c:pt>
                <c:pt idx="1977">
                  <c:v>8614</c:v>
                </c:pt>
                <c:pt idx="1978">
                  <c:v>8509</c:v>
                </c:pt>
                <c:pt idx="1979">
                  <c:v>8500</c:v>
                </c:pt>
                <c:pt idx="1980">
                  <c:v>8535</c:v>
                </c:pt>
                <c:pt idx="1981">
                  <c:v>8490</c:v>
                </c:pt>
                <c:pt idx="1982">
                  <c:v>8650</c:v>
                </c:pt>
                <c:pt idx="1983">
                  <c:v>8600</c:v>
                </c:pt>
                <c:pt idx="1984">
                  <c:v>8590</c:v>
                </c:pt>
                <c:pt idx="1985">
                  <c:v>8565</c:v>
                </c:pt>
                <c:pt idx="1986">
                  <c:v>8538</c:v>
                </c:pt>
                <c:pt idx="1987">
                  <c:v>8536</c:v>
                </c:pt>
                <c:pt idx="1988">
                  <c:v>8545</c:v>
                </c:pt>
                <c:pt idx="1989">
                  <c:v>8550</c:v>
                </c:pt>
                <c:pt idx="1990">
                  <c:v>8535</c:v>
                </c:pt>
                <c:pt idx="1991">
                  <c:v>8494</c:v>
                </c:pt>
                <c:pt idx="1992">
                  <c:v>8478</c:v>
                </c:pt>
                <c:pt idx="1993">
                  <c:v>8415</c:v>
                </c:pt>
                <c:pt idx="1994">
                  <c:v>8395</c:v>
                </c:pt>
                <c:pt idx="1995">
                  <c:v>8430</c:v>
                </c:pt>
                <c:pt idx="1996">
                  <c:v>8440</c:v>
                </c:pt>
                <c:pt idx="1997">
                  <c:v>8465</c:v>
                </c:pt>
                <c:pt idx="1998">
                  <c:v>8470</c:v>
                </c:pt>
                <c:pt idx="1999">
                  <c:v>8505</c:v>
                </c:pt>
                <c:pt idx="2000">
                  <c:v>8480</c:v>
                </c:pt>
                <c:pt idx="2001">
                  <c:v>8470</c:v>
                </c:pt>
                <c:pt idx="2002">
                  <c:v>8483</c:v>
                </c:pt>
                <c:pt idx="2003">
                  <c:v>8468</c:v>
                </c:pt>
                <c:pt idx="2004">
                  <c:v>8485</c:v>
                </c:pt>
                <c:pt idx="2005">
                  <c:v>8485</c:v>
                </c:pt>
                <c:pt idx="2006">
                  <c:v>8486</c:v>
                </c:pt>
                <c:pt idx="2007">
                  <c:v>8400</c:v>
                </c:pt>
                <c:pt idx="2008">
                  <c:v>8460</c:v>
                </c:pt>
                <c:pt idx="2009">
                  <c:v>8460</c:v>
                </c:pt>
                <c:pt idx="2010">
                  <c:v>8460</c:v>
                </c:pt>
                <c:pt idx="2011">
                  <c:v>8460</c:v>
                </c:pt>
                <c:pt idx="2012">
                  <c:v>8458</c:v>
                </c:pt>
                <c:pt idx="2013">
                  <c:v>8460</c:v>
                </c:pt>
                <c:pt idx="2014">
                  <c:v>8488</c:v>
                </c:pt>
                <c:pt idx="2015">
                  <c:v>8465</c:v>
                </c:pt>
                <c:pt idx="2016">
                  <c:v>8440</c:v>
                </c:pt>
                <c:pt idx="2017">
                  <c:v>8422</c:v>
                </c:pt>
                <c:pt idx="2018">
                  <c:v>8439</c:v>
                </c:pt>
                <c:pt idx="2019">
                  <c:v>8445</c:v>
                </c:pt>
                <c:pt idx="2020">
                  <c:v>8439</c:v>
                </c:pt>
                <c:pt idx="2021">
                  <c:v>8415</c:v>
                </c:pt>
                <c:pt idx="2022">
                  <c:v>8400</c:v>
                </c:pt>
                <c:pt idx="2023">
                  <c:v>8381</c:v>
                </c:pt>
                <c:pt idx="2024">
                  <c:v>8375</c:v>
                </c:pt>
                <c:pt idx="2025">
                  <c:v>8370</c:v>
                </c:pt>
                <c:pt idx="2026">
                  <c:v>8385</c:v>
                </c:pt>
                <c:pt idx="2027">
                  <c:v>8388</c:v>
                </c:pt>
                <c:pt idx="2028">
                  <c:v>8368</c:v>
                </c:pt>
                <c:pt idx="2029">
                  <c:v>8378</c:v>
                </c:pt>
                <c:pt idx="2030">
                  <c:v>8378</c:v>
                </c:pt>
                <c:pt idx="2031">
                  <c:v>8375</c:v>
                </c:pt>
                <c:pt idx="2032">
                  <c:v>8450</c:v>
                </c:pt>
                <c:pt idx="2033">
                  <c:v>8431</c:v>
                </c:pt>
                <c:pt idx="2034">
                  <c:v>8445</c:v>
                </c:pt>
                <c:pt idx="2035">
                  <c:v>8440</c:v>
                </c:pt>
                <c:pt idx="2036">
                  <c:v>8430</c:v>
                </c:pt>
                <c:pt idx="2037">
                  <c:v>8444</c:v>
                </c:pt>
                <c:pt idx="2038">
                  <c:v>8464</c:v>
                </c:pt>
                <c:pt idx="2039">
                  <c:v>8480</c:v>
                </c:pt>
                <c:pt idx="2040">
                  <c:v>8500</c:v>
                </c:pt>
                <c:pt idx="2041">
                  <c:v>8556</c:v>
                </c:pt>
                <c:pt idx="2042">
                  <c:v>8585</c:v>
                </c:pt>
                <c:pt idx="2043">
                  <c:v>8538</c:v>
                </c:pt>
                <c:pt idx="2044">
                  <c:v>8480</c:v>
                </c:pt>
                <c:pt idx="2045">
                  <c:v>8497</c:v>
                </c:pt>
                <c:pt idx="2046">
                  <c:v>8518</c:v>
                </c:pt>
                <c:pt idx="2047">
                  <c:v>8515</c:v>
                </c:pt>
                <c:pt idx="2048">
                  <c:v>8475</c:v>
                </c:pt>
                <c:pt idx="2049">
                  <c:v>8495</c:v>
                </c:pt>
                <c:pt idx="2050">
                  <c:v>8487</c:v>
                </c:pt>
                <c:pt idx="2051">
                  <c:v>8480</c:v>
                </c:pt>
                <c:pt idx="2052">
                  <c:v>8481</c:v>
                </c:pt>
                <c:pt idx="2053">
                  <c:v>8478</c:v>
                </c:pt>
                <c:pt idx="2054">
                  <c:v>8525</c:v>
                </c:pt>
                <c:pt idx="2055">
                  <c:v>8495</c:v>
                </c:pt>
                <c:pt idx="2056">
                  <c:v>8487</c:v>
                </c:pt>
                <c:pt idx="2057">
                  <c:v>8483</c:v>
                </c:pt>
                <c:pt idx="2058">
                  <c:v>8474</c:v>
                </c:pt>
                <c:pt idx="2059">
                  <c:v>8550</c:v>
                </c:pt>
                <c:pt idx="2060">
                  <c:v>8510</c:v>
                </c:pt>
                <c:pt idx="2061">
                  <c:v>8518</c:v>
                </c:pt>
                <c:pt idx="2062">
                  <c:v>8518</c:v>
                </c:pt>
                <c:pt idx="2063">
                  <c:v>8515</c:v>
                </c:pt>
                <c:pt idx="2064">
                  <c:v>8518</c:v>
                </c:pt>
                <c:pt idx="2065">
                  <c:v>8505</c:v>
                </c:pt>
                <c:pt idx="2066">
                  <c:v>8506</c:v>
                </c:pt>
                <c:pt idx="2067">
                  <c:v>8500</c:v>
                </c:pt>
                <c:pt idx="2068">
                  <c:v>8488</c:v>
                </c:pt>
                <c:pt idx="2069">
                  <c:v>8498</c:v>
                </c:pt>
                <c:pt idx="2070">
                  <c:v>8495</c:v>
                </c:pt>
                <c:pt idx="2071">
                  <c:v>8498</c:v>
                </c:pt>
                <c:pt idx="2072">
                  <c:v>8494</c:v>
                </c:pt>
                <c:pt idx="2073">
                  <c:v>8494</c:v>
                </c:pt>
                <c:pt idx="2074">
                  <c:v>8490</c:v>
                </c:pt>
                <c:pt idx="2075">
                  <c:v>8475</c:v>
                </c:pt>
                <c:pt idx="2076">
                  <c:v>8479</c:v>
                </c:pt>
                <c:pt idx="2077">
                  <c:v>8480</c:v>
                </c:pt>
                <c:pt idx="2078">
                  <c:v>8493</c:v>
                </c:pt>
                <c:pt idx="2079">
                  <c:v>8490</c:v>
                </c:pt>
                <c:pt idx="2080">
                  <c:v>8493</c:v>
                </c:pt>
                <c:pt idx="2081">
                  <c:v>8491</c:v>
                </c:pt>
                <c:pt idx="2082">
                  <c:v>8499</c:v>
                </c:pt>
                <c:pt idx="2083">
                  <c:v>8495</c:v>
                </c:pt>
                <c:pt idx="2084">
                  <c:v>8495</c:v>
                </c:pt>
                <c:pt idx="2085">
                  <c:v>8495</c:v>
                </c:pt>
                <c:pt idx="2086">
                  <c:v>8465</c:v>
                </c:pt>
                <c:pt idx="2087">
                  <c:v>8478</c:v>
                </c:pt>
                <c:pt idx="2088">
                  <c:v>8423</c:v>
                </c:pt>
                <c:pt idx="2089">
                  <c:v>8420</c:v>
                </c:pt>
                <c:pt idx="2090">
                  <c:v>8462</c:v>
                </c:pt>
                <c:pt idx="2091">
                  <c:v>8385</c:v>
                </c:pt>
                <c:pt idx="2092">
                  <c:v>8333</c:v>
                </c:pt>
                <c:pt idx="2093">
                  <c:v>8355</c:v>
                </c:pt>
                <c:pt idx="2094">
                  <c:v>8344</c:v>
                </c:pt>
                <c:pt idx="2095">
                  <c:v>8340</c:v>
                </c:pt>
                <c:pt idx="2096">
                  <c:v>8305</c:v>
                </c:pt>
                <c:pt idx="2097">
                  <c:v>8330</c:v>
                </c:pt>
                <c:pt idx="2098">
                  <c:v>8343</c:v>
                </c:pt>
                <c:pt idx="2099">
                  <c:v>8365</c:v>
                </c:pt>
                <c:pt idx="2100">
                  <c:v>8351</c:v>
                </c:pt>
                <c:pt idx="2101">
                  <c:v>8378</c:v>
                </c:pt>
                <c:pt idx="2102">
                  <c:v>8400</c:v>
                </c:pt>
                <c:pt idx="2103">
                  <c:v>8399</c:v>
                </c:pt>
                <c:pt idx="2104">
                  <c:v>8400</c:v>
                </c:pt>
                <c:pt idx="2105">
                  <c:v>8405</c:v>
                </c:pt>
                <c:pt idx="2106">
                  <c:v>8459</c:v>
                </c:pt>
                <c:pt idx="2107">
                  <c:v>8427</c:v>
                </c:pt>
                <c:pt idx="2108">
                  <c:v>8420</c:v>
                </c:pt>
                <c:pt idx="2109">
                  <c:v>8431</c:v>
                </c:pt>
                <c:pt idx="2110">
                  <c:v>8459</c:v>
                </c:pt>
                <c:pt idx="2111">
                  <c:v>8455</c:v>
                </c:pt>
                <c:pt idx="2112">
                  <c:v>8447</c:v>
                </c:pt>
                <c:pt idx="2113">
                  <c:v>8440</c:v>
                </c:pt>
                <c:pt idx="2114">
                  <c:v>8450</c:v>
                </c:pt>
                <c:pt idx="2115">
                  <c:v>8461</c:v>
                </c:pt>
                <c:pt idx="2116">
                  <c:v>8440</c:v>
                </c:pt>
                <c:pt idx="2117">
                  <c:v>8398</c:v>
                </c:pt>
                <c:pt idx="2118">
                  <c:v>8411</c:v>
                </c:pt>
                <c:pt idx="2119">
                  <c:v>8409</c:v>
                </c:pt>
                <c:pt idx="2120">
                  <c:v>8408</c:v>
                </c:pt>
                <c:pt idx="2121">
                  <c:v>8387</c:v>
                </c:pt>
                <c:pt idx="2122">
                  <c:v>8395</c:v>
                </c:pt>
                <c:pt idx="2123">
                  <c:v>8406</c:v>
                </c:pt>
                <c:pt idx="2124">
                  <c:v>8433</c:v>
                </c:pt>
                <c:pt idx="2125">
                  <c:v>8440</c:v>
                </c:pt>
                <c:pt idx="2126">
                  <c:v>8440</c:v>
                </c:pt>
                <c:pt idx="2127">
                  <c:v>8453</c:v>
                </c:pt>
                <c:pt idx="2128">
                  <c:v>8440</c:v>
                </c:pt>
                <c:pt idx="2129">
                  <c:v>8465</c:v>
                </c:pt>
                <c:pt idx="2130">
                  <c:v>8455</c:v>
                </c:pt>
                <c:pt idx="2131">
                  <c:v>8463</c:v>
                </c:pt>
                <c:pt idx="2132">
                  <c:v>8490</c:v>
                </c:pt>
                <c:pt idx="2133">
                  <c:v>8565</c:v>
                </c:pt>
                <c:pt idx="2134">
                  <c:v>8555</c:v>
                </c:pt>
                <c:pt idx="2135">
                  <c:v>8594</c:v>
                </c:pt>
                <c:pt idx="2136">
                  <c:v>8585</c:v>
                </c:pt>
                <c:pt idx="2137">
                  <c:v>8550</c:v>
                </c:pt>
                <c:pt idx="2138">
                  <c:v>8585</c:v>
                </c:pt>
                <c:pt idx="2139">
                  <c:v>8630</c:v>
                </c:pt>
                <c:pt idx="2140">
                  <c:v>8650</c:v>
                </c:pt>
                <c:pt idx="2141">
                  <c:v>8635</c:v>
                </c:pt>
                <c:pt idx="2142">
                  <c:v>8608</c:v>
                </c:pt>
                <c:pt idx="2143">
                  <c:v>8563</c:v>
                </c:pt>
                <c:pt idx="2144">
                  <c:v>8537</c:v>
                </c:pt>
                <c:pt idx="2145">
                  <c:v>8563</c:v>
                </c:pt>
                <c:pt idx="2146">
                  <c:v>8563</c:v>
                </c:pt>
                <c:pt idx="2147">
                  <c:v>8587</c:v>
                </c:pt>
                <c:pt idx="2148">
                  <c:v>8575</c:v>
                </c:pt>
                <c:pt idx="2149">
                  <c:v>8617</c:v>
                </c:pt>
                <c:pt idx="2150">
                  <c:v>8616</c:v>
                </c:pt>
                <c:pt idx="2151">
                  <c:v>8603</c:v>
                </c:pt>
                <c:pt idx="2152">
                  <c:v>8608</c:v>
                </c:pt>
                <c:pt idx="2153">
                  <c:v>8564</c:v>
                </c:pt>
                <c:pt idx="2154">
                  <c:v>8585</c:v>
                </c:pt>
                <c:pt idx="2155">
                  <c:v>8580</c:v>
                </c:pt>
                <c:pt idx="2156">
                  <c:v>8590</c:v>
                </c:pt>
                <c:pt idx="2157">
                  <c:v>8578</c:v>
                </c:pt>
                <c:pt idx="2158">
                  <c:v>8581</c:v>
                </c:pt>
                <c:pt idx="2159">
                  <c:v>8586</c:v>
                </c:pt>
                <c:pt idx="2160">
                  <c:v>8586</c:v>
                </c:pt>
                <c:pt idx="2161">
                  <c:v>8591</c:v>
                </c:pt>
                <c:pt idx="2162">
                  <c:v>8593</c:v>
                </c:pt>
                <c:pt idx="2163">
                  <c:v>8604</c:v>
                </c:pt>
                <c:pt idx="2164">
                  <c:v>8636</c:v>
                </c:pt>
                <c:pt idx="2165">
                  <c:v>8620</c:v>
                </c:pt>
                <c:pt idx="2166">
                  <c:v>8603</c:v>
                </c:pt>
                <c:pt idx="2167">
                  <c:v>8619</c:v>
                </c:pt>
                <c:pt idx="2168">
                  <c:v>8651</c:v>
                </c:pt>
                <c:pt idx="2169">
                  <c:v>8653</c:v>
                </c:pt>
                <c:pt idx="2170">
                  <c:v>8621</c:v>
                </c:pt>
                <c:pt idx="2171">
                  <c:v>8626</c:v>
                </c:pt>
                <c:pt idx="2172">
                  <c:v>8623</c:v>
                </c:pt>
                <c:pt idx="2173">
                  <c:v>8641</c:v>
                </c:pt>
                <c:pt idx="2174">
                  <c:v>8702</c:v>
                </c:pt>
                <c:pt idx="2175">
                  <c:v>8705</c:v>
                </c:pt>
                <c:pt idx="2176">
                  <c:v>8705</c:v>
                </c:pt>
                <c:pt idx="2177">
                  <c:v>8719</c:v>
                </c:pt>
                <c:pt idx="2178">
                  <c:v>8696</c:v>
                </c:pt>
                <c:pt idx="2179">
                  <c:v>8705</c:v>
                </c:pt>
                <c:pt idx="2180">
                  <c:v>8735</c:v>
                </c:pt>
                <c:pt idx="2181">
                  <c:v>8975</c:v>
                </c:pt>
                <c:pt idx="2182">
                  <c:v>8995</c:v>
                </c:pt>
                <c:pt idx="2183">
                  <c:v>8960</c:v>
                </c:pt>
                <c:pt idx="2184">
                  <c:v>8996</c:v>
                </c:pt>
                <c:pt idx="2185">
                  <c:v>9030</c:v>
                </c:pt>
                <c:pt idx="2186">
                  <c:v>9015</c:v>
                </c:pt>
                <c:pt idx="2187">
                  <c:v>9070</c:v>
                </c:pt>
                <c:pt idx="2188">
                  <c:v>9060</c:v>
                </c:pt>
                <c:pt idx="2189">
                  <c:v>9049</c:v>
                </c:pt>
                <c:pt idx="2190">
                  <c:v>9060</c:v>
                </c:pt>
                <c:pt idx="2191">
                  <c:v>9120</c:v>
                </c:pt>
                <c:pt idx="2192">
                  <c:v>9265</c:v>
                </c:pt>
                <c:pt idx="2193">
                  <c:v>9258</c:v>
                </c:pt>
                <c:pt idx="2194">
                  <c:v>9320</c:v>
                </c:pt>
                <c:pt idx="2195">
                  <c:v>9285</c:v>
                </c:pt>
                <c:pt idx="2196">
                  <c:v>9268</c:v>
                </c:pt>
                <c:pt idx="2197">
                  <c:v>9365</c:v>
                </c:pt>
                <c:pt idx="2198">
                  <c:v>9445</c:v>
                </c:pt>
                <c:pt idx="2199">
                  <c:v>9445</c:v>
                </c:pt>
                <c:pt idx="2200">
                  <c:v>9498</c:v>
                </c:pt>
                <c:pt idx="2201">
                  <c:v>9295</c:v>
                </c:pt>
                <c:pt idx="2202">
                  <c:v>9278</c:v>
                </c:pt>
                <c:pt idx="2203">
                  <c:v>9285</c:v>
                </c:pt>
                <c:pt idx="2204">
                  <c:v>9370</c:v>
                </c:pt>
                <c:pt idx="2205">
                  <c:v>9388</c:v>
                </c:pt>
                <c:pt idx="2206">
                  <c:v>9385</c:v>
                </c:pt>
                <c:pt idx="2207">
                  <c:v>9415</c:v>
                </c:pt>
                <c:pt idx="2208">
                  <c:v>9405</c:v>
                </c:pt>
                <c:pt idx="2209">
                  <c:v>9395</c:v>
                </c:pt>
                <c:pt idx="2210">
                  <c:v>9408</c:v>
                </c:pt>
                <c:pt idx="2211">
                  <c:v>9398</c:v>
                </c:pt>
                <c:pt idx="2212">
                  <c:v>9410</c:v>
                </c:pt>
                <c:pt idx="2213">
                  <c:v>9423</c:v>
                </c:pt>
                <c:pt idx="2214">
                  <c:v>9420</c:v>
                </c:pt>
                <c:pt idx="2215">
                  <c:v>9418</c:v>
                </c:pt>
                <c:pt idx="2216">
                  <c:v>9420</c:v>
                </c:pt>
                <c:pt idx="2217">
                  <c:v>9406</c:v>
                </c:pt>
                <c:pt idx="2218">
                  <c:v>9401</c:v>
                </c:pt>
                <c:pt idx="2219">
                  <c:v>9390</c:v>
                </c:pt>
                <c:pt idx="2220">
                  <c:v>9148</c:v>
                </c:pt>
                <c:pt idx="2221">
                  <c:v>9130</c:v>
                </c:pt>
                <c:pt idx="2222">
                  <c:v>8990</c:v>
                </c:pt>
                <c:pt idx="2223">
                  <c:v>8998</c:v>
                </c:pt>
                <c:pt idx="2224">
                  <c:v>9013</c:v>
                </c:pt>
                <c:pt idx="2225">
                  <c:v>9013</c:v>
                </c:pt>
                <c:pt idx="2226">
                  <c:v>8826</c:v>
                </c:pt>
                <c:pt idx="2227">
                  <c:v>8935</c:v>
                </c:pt>
                <c:pt idx="2228">
                  <c:v>8955</c:v>
                </c:pt>
                <c:pt idx="2229">
                  <c:v>8968</c:v>
                </c:pt>
                <c:pt idx="2230">
                  <c:v>8925</c:v>
                </c:pt>
                <c:pt idx="2231">
                  <c:v>8975</c:v>
                </c:pt>
                <c:pt idx="2232">
                  <c:v>8973</c:v>
                </c:pt>
                <c:pt idx="2233">
                  <c:v>8990</c:v>
                </c:pt>
                <c:pt idx="2234">
                  <c:v>9058</c:v>
                </c:pt>
                <c:pt idx="2235">
                  <c:v>9080</c:v>
                </c:pt>
                <c:pt idx="2236">
                  <c:v>9148</c:v>
                </c:pt>
                <c:pt idx="2237">
                  <c:v>9148</c:v>
                </c:pt>
                <c:pt idx="2238">
                  <c:v>9075</c:v>
                </c:pt>
                <c:pt idx="2239">
                  <c:v>9175</c:v>
                </c:pt>
                <c:pt idx="2240">
                  <c:v>9158</c:v>
                </c:pt>
                <c:pt idx="2241">
                  <c:v>9138</c:v>
                </c:pt>
                <c:pt idx="2242">
                  <c:v>9178</c:v>
                </c:pt>
                <c:pt idx="2243">
                  <c:v>9228</c:v>
                </c:pt>
                <c:pt idx="2244">
                  <c:v>9178</c:v>
                </c:pt>
                <c:pt idx="2245">
                  <c:v>9190</c:v>
                </c:pt>
                <c:pt idx="2246">
                  <c:v>9185</c:v>
                </c:pt>
                <c:pt idx="2247">
                  <c:v>9215</c:v>
                </c:pt>
                <c:pt idx="2248">
                  <c:v>9248</c:v>
                </c:pt>
                <c:pt idx="2249">
                  <c:v>9248</c:v>
                </c:pt>
                <c:pt idx="2250">
                  <c:v>9255</c:v>
                </c:pt>
                <c:pt idx="2251">
                  <c:v>9263</c:v>
                </c:pt>
                <c:pt idx="2252">
                  <c:v>9285</c:v>
                </c:pt>
                <c:pt idx="2253">
                  <c:v>9278</c:v>
                </c:pt>
                <c:pt idx="2254">
                  <c:v>9255</c:v>
                </c:pt>
                <c:pt idx="2255">
                  <c:v>9278</c:v>
                </c:pt>
                <c:pt idx="2256">
                  <c:v>9275</c:v>
                </c:pt>
                <c:pt idx="2257">
                  <c:v>9270</c:v>
                </c:pt>
                <c:pt idx="2258">
                  <c:v>9278</c:v>
                </c:pt>
                <c:pt idx="2259">
                  <c:v>9298</c:v>
                </c:pt>
                <c:pt idx="2260">
                  <c:v>9308</c:v>
                </c:pt>
                <c:pt idx="2261">
                  <c:v>9363</c:v>
                </c:pt>
                <c:pt idx="2262">
                  <c:v>9368</c:v>
                </c:pt>
                <c:pt idx="2263">
                  <c:v>9368</c:v>
                </c:pt>
                <c:pt idx="2264">
                  <c:v>9270</c:v>
                </c:pt>
                <c:pt idx="2265">
                  <c:v>9278</c:v>
                </c:pt>
                <c:pt idx="2266">
                  <c:v>9283</c:v>
                </c:pt>
                <c:pt idx="2267">
                  <c:v>9275</c:v>
                </c:pt>
                <c:pt idx="2268">
                  <c:v>9305</c:v>
                </c:pt>
                <c:pt idx="2269">
                  <c:v>9348</c:v>
                </c:pt>
                <c:pt idx="2270">
                  <c:v>9278</c:v>
                </c:pt>
                <c:pt idx="2271">
                  <c:v>9250</c:v>
                </c:pt>
                <c:pt idx="2272">
                  <c:v>9111</c:v>
                </c:pt>
                <c:pt idx="2273">
                  <c:v>9100</c:v>
                </c:pt>
                <c:pt idx="2274">
                  <c:v>9005</c:v>
                </c:pt>
                <c:pt idx="2275">
                  <c:v>9036</c:v>
                </c:pt>
                <c:pt idx="2276">
                  <c:v>8965</c:v>
                </c:pt>
                <c:pt idx="2277">
                  <c:v>9026</c:v>
                </c:pt>
                <c:pt idx="2278">
                  <c:v>9163</c:v>
                </c:pt>
                <c:pt idx="2279">
                  <c:v>9125</c:v>
                </c:pt>
                <c:pt idx="2280">
                  <c:v>9114</c:v>
                </c:pt>
                <c:pt idx="2281">
                  <c:v>9193</c:v>
                </c:pt>
                <c:pt idx="2282">
                  <c:v>9229</c:v>
                </c:pt>
                <c:pt idx="2283">
                  <c:v>9183</c:v>
                </c:pt>
                <c:pt idx="2284">
                  <c:v>9173</c:v>
                </c:pt>
                <c:pt idx="2285">
                  <c:v>9149</c:v>
                </c:pt>
                <c:pt idx="2286">
                  <c:v>9085</c:v>
                </c:pt>
                <c:pt idx="2287">
                  <c:v>9101</c:v>
                </c:pt>
                <c:pt idx="2288">
                  <c:v>9105</c:v>
                </c:pt>
                <c:pt idx="2289">
                  <c:v>9095</c:v>
                </c:pt>
                <c:pt idx="2290">
                  <c:v>9098</c:v>
                </c:pt>
                <c:pt idx="2291">
                  <c:v>9073</c:v>
                </c:pt>
                <c:pt idx="2292">
                  <c:v>9120</c:v>
                </c:pt>
                <c:pt idx="2293">
                  <c:v>9140</c:v>
                </c:pt>
                <c:pt idx="2294">
                  <c:v>9098</c:v>
                </c:pt>
                <c:pt idx="2295">
                  <c:v>9095</c:v>
                </c:pt>
                <c:pt idx="2296">
                  <c:v>9090</c:v>
                </c:pt>
                <c:pt idx="2297">
                  <c:v>9080</c:v>
                </c:pt>
                <c:pt idx="2298">
                  <c:v>9085</c:v>
                </c:pt>
                <c:pt idx="2299">
                  <c:v>9108</c:v>
                </c:pt>
                <c:pt idx="2300">
                  <c:v>9098</c:v>
                </c:pt>
                <c:pt idx="2301">
                  <c:v>9078</c:v>
                </c:pt>
                <c:pt idx="2302">
                  <c:v>9080</c:v>
                </c:pt>
                <c:pt idx="2303">
                  <c:v>9108</c:v>
                </c:pt>
                <c:pt idx="2304">
                  <c:v>9090</c:v>
                </c:pt>
                <c:pt idx="2305">
                  <c:v>9095</c:v>
                </c:pt>
                <c:pt idx="2306">
                  <c:v>9087</c:v>
                </c:pt>
                <c:pt idx="2307">
                  <c:v>9095</c:v>
                </c:pt>
                <c:pt idx="2308">
                  <c:v>9116</c:v>
                </c:pt>
                <c:pt idx="2309">
                  <c:v>9073</c:v>
                </c:pt>
                <c:pt idx="2310">
                  <c:v>9058</c:v>
                </c:pt>
                <c:pt idx="2311">
                  <c:v>8965</c:v>
                </c:pt>
                <c:pt idx="2312">
                  <c:v>9005</c:v>
                </c:pt>
                <c:pt idx="2313">
                  <c:v>9043</c:v>
                </c:pt>
                <c:pt idx="2314">
                  <c:v>9068</c:v>
                </c:pt>
                <c:pt idx="2315">
                  <c:v>9040</c:v>
                </c:pt>
                <c:pt idx="2316">
                  <c:v>8991</c:v>
                </c:pt>
                <c:pt idx="2317">
                  <c:v>8993</c:v>
                </c:pt>
                <c:pt idx="2318">
                  <c:v>8997</c:v>
                </c:pt>
                <c:pt idx="2319">
                  <c:v>8945</c:v>
                </c:pt>
                <c:pt idx="2320">
                  <c:v>9030</c:v>
                </c:pt>
                <c:pt idx="2321">
                  <c:v>9005</c:v>
                </c:pt>
                <c:pt idx="2322">
                  <c:v>9008</c:v>
                </c:pt>
                <c:pt idx="2323">
                  <c:v>8975</c:v>
                </c:pt>
                <c:pt idx="2324">
                  <c:v>8960</c:v>
                </c:pt>
                <c:pt idx="2325">
                  <c:v>9000</c:v>
                </c:pt>
                <c:pt idx="2326">
                  <c:v>9008</c:v>
                </c:pt>
                <c:pt idx="2327">
                  <c:v>9025</c:v>
                </c:pt>
                <c:pt idx="2328">
                  <c:v>9030</c:v>
                </c:pt>
                <c:pt idx="2329">
                  <c:v>9030</c:v>
                </c:pt>
                <c:pt idx="2330">
                  <c:v>9064</c:v>
                </c:pt>
                <c:pt idx="2331">
                  <c:v>9058</c:v>
                </c:pt>
                <c:pt idx="2332">
                  <c:v>9090</c:v>
                </c:pt>
                <c:pt idx="2333">
                  <c:v>9198</c:v>
                </c:pt>
                <c:pt idx="2334">
                  <c:v>9165</c:v>
                </c:pt>
                <c:pt idx="2335">
                  <c:v>9260</c:v>
                </c:pt>
                <c:pt idx="2336">
                  <c:v>9280</c:v>
                </c:pt>
                <c:pt idx="2337">
                  <c:v>9321</c:v>
                </c:pt>
                <c:pt idx="2338">
                  <c:v>9240</c:v>
                </c:pt>
                <c:pt idx="2339">
                  <c:v>9270</c:v>
                </c:pt>
                <c:pt idx="2340">
                  <c:v>9300</c:v>
                </c:pt>
                <c:pt idx="2341">
                  <c:v>9310</c:v>
                </c:pt>
                <c:pt idx="2342">
                  <c:v>9323</c:v>
                </c:pt>
                <c:pt idx="2343">
                  <c:v>9320</c:v>
                </c:pt>
                <c:pt idx="2344">
                  <c:v>9288</c:v>
                </c:pt>
                <c:pt idx="2345">
                  <c:v>9261</c:v>
                </c:pt>
                <c:pt idx="2346">
                  <c:v>9305</c:v>
                </c:pt>
                <c:pt idx="2347">
                  <c:v>9320</c:v>
                </c:pt>
                <c:pt idx="2348">
                  <c:v>9328</c:v>
                </c:pt>
                <c:pt idx="2349">
                  <c:v>9335</c:v>
                </c:pt>
                <c:pt idx="2350">
                  <c:v>9283</c:v>
                </c:pt>
                <c:pt idx="2351">
                  <c:v>9290</c:v>
                </c:pt>
                <c:pt idx="2352">
                  <c:v>9290</c:v>
                </c:pt>
                <c:pt idx="2353">
                  <c:v>9310</c:v>
                </c:pt>
                <c:pt idx="2354">
                  <c:v>9315</c:v>
                </c:pt>
                <c:pt idx="2355">
                  <c:v>9287</c:v>
                </c:pt>
                <c:pt idx="2356">
                  <c:v>9300</c:v>
                </c:pt>
                <c:pt idx="2357">
                  <c:v>9282</c:v>
                </c:pt>
                <c:pt idx="2358">
                  <c:v>9196</c:v>
                </c:pt>
                <c:pt idx="2359">
                  <c:v>9143</c:v>
                </c:pt>
                <c:pt idx="2360">
                  <c:v>9155</c:v>
                </c:pt>
                <c:pt idx="2361">
                  <c:v>9134</c:v>
                </c:pt>
                <c:pt idx="2362">
                  <c:v>9155</c:v>
                </c:pt>
                <c:pt idx="2363">
                  <c:v>9160</c:v>
                </c:pt>
                <c:pt idx="2364">
                  <c:v>9155</c:v>
                </c:pt>
                <c:pt idx="2365">
                  <c:v>9154</c:v>
                </c:pt>
                <c:pt idx="2366">
                  <c:v>9140</c:v>
                </c:pt>
                <c:pt idx="2367">
                  <c:v>9145</c:v>
                </c:pt>
                <c:pt idx="2368">
                  <c:v>9148</c:v>
                </c:pt>
                <c:pt idx="2369">
                  <c:v>9150</c:v>
                </c:pt>
                <c:pt idx="2370">
                  <c:v>9148</c:v>
                </c:pt>
                <c:pt idx="2371">
                  <c:v>9167</c:v>
                </c:pt>
                <c:pt idx="2372">
                  <c:v>9235</c:v>
                </c:pt>
                <c:pt idx="2373">
                  <c:v>9186</c:v>
                </c:pt>
                <c:pt idx="2374">
                  <c:v>9208</c:v>
                </c:pt>
                <c:pt idx="2375">
                  <c:v>9193</c:v>
                </c:pt>
                <c:pt idx="2376">
                  <c:v>9213</c:v>
                </c:pt>
                <c:pt idx="2377">
                  <c:v>9282</c:v>
                </c:pt>
                <c:pt idx="2378">
                  <c:v>9291</c:v>
                </c:pt>
                <c:pt idx="2379">
                  <c:v>9288</c:v>
                </c:pt>
                <c:pt idx="2380">
                  <c:v>9270</c:v>
                </c:pt>
                <c:pt idx="2381">
                  <c:v>9245</c:v>
                </c:pt>
                <c:pt idx="2382">
                  <c:v>9273</c:v>
                </c:pt>
                <c:pt idx="2383">
                  <c:v>9298</c:v>
                </c:pt>
                <c:pt idx="2384">
                  <c:v>9295</c:v>
                </c:pt>
                <c:pt idx="2385">
                  <c:v>9256</c:v>
                </c:pt>
                <c:pt idx="2386">
                  <c:v>9270</c:v>
                </c:pt>
                <c:pt idx="2387">
                  <c:v>9205</c:v>
                </c:pt>
                <c:pt idx="2388">
                  <c:v>9250</c:v>
                </c:pt>
                <c:pt idx="2389">
                  <c:v>9253</c:v>
                </c:pt>
                <c:pt idx="2390">
                  <c:v>9270</c:v>
                </c:pt>
                <c:pt idx="2391">
                  <c:v>9258</c:v>
                </c:pt>
                <c:pt idx="2392">
                  <c:v>9273</c:v>
                </c:pt>
                <c:pt idx="2393">
                  <c:v>9275</c:v>
                </c:pt>
                <c:pt idx="2394">
                  <c:v>9295</c:v>
                </c:pt>
                <c:pt idx="2395">
                  <c:v>9355</c:v>
                </c:pt>
                <c:pt idx="2396">
                  <c:v>9330</c:v>
                </c:pt>
                <c:pt idx="2397">
                  <c:v>9385</c:v>
                </c:pt>
                <c:pt idx="2398">
                  <c:v>9340</c:v>
                </c:pt>
                <c:pt idx="2399">
                  <c:v>9345</c:v>
                </c:pt>
                <c:pt idx="2400">
                  <c:v>9366</c:v>
                </c:pt>
                <c:pt idx="2401">
                  <c:v>9375</c:v>
                </c:pt>
                <c:pt idx="2402">
                  <c:v>9356</c:v>
                </c:pt>
                <c:pt idx="2403">
                  <c:v>9340</c:v>
                </c:pt>
                <c:pt idx="2404">
                  <c:v>9363</c:v>
                </c:pt>
                <c:pt idx="2405">
                  <c:v>9363</c:v>
                </c:pt>
                <c:pt idx="2406">
                  <c:v>9405</c:v>
                </c:pt>
                <c:pt idx="2407">
                  <c:v>9398</c:v>
                </c:pt>
                <c:pt idx="2408">
                  <c:v>9388</c:v>
                </c:pt>
                <c:pt idx="2409">
                  <c:v>9405</c:v>
                </c:pt>
                <c:pt idx="2410">
                  <c:v>9418</c:v>
                </c:pt>
                <c:pt idx="2411">
                  <c:v>9450</c:v>
                </c:pt>
                <c:pt idx="2412">
                  <c:v>9523</c:v>
                </c:pt>
                <c:pt idx="2413">
                  <c:v>9499</c:v>
                </c:pt>
                <c:pt idx="2414">
                  <c:v>9468</c:v>
                </c:pt>
                <c:pt idx="2415">
                  <c:v>9470</c:v>
                </c:pt>
                <c:pt idx="2416">
                  <c:v>9485</c:v>
                </c:pt>
                <c:pt idx="2417">
                  <c:v>9495</c:v>
                </c:pt>
                <c:pt idx="2418">
                  <c:v>9480</c:v>
                </c:pt>
                <c:pt idx="2419">
                  <c:v>9490</c:v>
                </c:pt>
                <c:pt idx="2420">
                  <c:v>9500</c:v>
                </c:pt>
                <c:pt idx="2421">
                  <c:v>9490</c:v>
                </c:pt>
                <c:pt idx="2422">
                  <c:v>9488</c:v>
                </c:pt>
                <c:pt idx="2423">
                  <c:v>9483</c:v>
                </c:pt>
                <c:pt idx="2424">
                  <c:v>9518</c:v>
                </c:pt>
                <c:pt idx="2425">
                  <c:v>9537</c:v>
                </c:pt>
                <c:pt idx="2426">
                  <c:v>9580</c:v>
                </c:pt>
                <c:pt idx="2427">
                  <c:v>9575</c:v>
                </c:pt>
                <c:pt idx="2428">
                  <c:v>9590</c:v>
                </c:pt>
                <c:pt idx="2429">
                  <c:v>9675</c:v>
                </c:pt>
                <c:pt idx="2430">
                  <c:v>9676</c:v>
                </c:pt>
                <c:pt idx="2431">
                  <c:v>9750</c:v>
                </c:pt>
                <c:pt idx="2432">
                  <c:v>9713</c:v>
                </c:pt>
                <c:pt idx="2433">
                  <c:v>9570</c:v>
                </c:pt>
                <c:pt idx="2434">
                  <c:v>9580</c:v>
                </c:pt>
                <c:pt idx="2435">
                  <c:v>9568</c:v>
                </c:pt>
                <c:pt idx="2436">
                  <c:v>9536</c:v>
                </c:pt>
                <c:pt idx="2437">
                  <c:v>9535</c:v>
                </c:pt>
                <c:pt idx="2438">
                  <c:v>9510</c:v>
                </c:pt>
                <c:pt idx="2439">
                  <c:v>9511</c:v>
                </c:pt>
                <c:pt idx="2440">
                  <c:v>9488</c:v>
                </c:pt>
                <c:pt idx="2441">
                  <c:v>9483</c:v>
                </c:pt>
                <c:pt idx="2442">
                  <c:v>9455</c:v>
                </c:pt>
                <c:pt idx="2443">
                  <c:v>9456</c:v>
                </c:pt>
                <c:pt idx="2444">
                  <c:v>9473</c:v>
                </c:pt>
                <c:pt idx="2445">
                  <c:v>9475</c:v>
                </c:pt>
                <c:pt idx="2446">
                  <c:v>9476</c:v>
                </c:pt>
                <c:pt idx="2447">
                  <c:v>9425</c:v>
                </c:pt>
                <c:pt idx="2448">
                  <c:v>9450</c:v>
                </c:pt>
                <c:pt idx="2449">
                  <c:v>9450</c:v>
                </c:pt>
                <c:pt idx="2450">
                  <c:v>9451</c:v>
                </c:pt>
                <c:pt idx="2451">
                  <c:v>9470</c:v>
                </c:pt>
                <c:pt idx="2452">
                  <c:v>9471</c:v>
                </c:pt>
                <c:pt idx="2453">
                  <c:v>9477</c:v>
                </c:pt>
                <c:pt idx="2454">
                  <c:v>9490</c:v>
                </c:pt>
                <c:pt idx="2455">
                  <c:v>9488</c:v>
                </c:pt>
                <c:pt idx="2456">
                  <c:v>9486</c:v>
                </c:pt>
                <c:pt idx="2457">
                  <c:v>9508</c:v>
                </c:pt>
                <c:pt idx="2458">
                  <c:v>9575</c:v>
                </c:pt>
                <c:pt idx="2459">
                  <c:v>9575</c:v>
                </c:pt>
                <c:pt idx="2460">
                  <c:v>9582</c:v>
                </c:pt>
                <c:pt idx="2461">
                  <c:v>9592</c:v>
                </c:pt>
                <c:pt idx="2462">
                  <c:v>9540</c:v>
                </c:pt>
                <c:pt idx="2463">
                  <c:v>9583</c:v>
                </c:pt>
                <c:pt idx="2464">
                  <c:v>9625</c:v>
                </c:pt>
                <c:pt idx="2465">
                  <c:v>9598</c:v>
                </c:pt>
                <c:pt idx="2466">
                  <c:v>9625</c:v>
                </c:pt>
                <c:pt idx="2467">
                  <c:v>9612</c:v>
                </c:pt>
                <c:pt idx="2468">
                  <c:v>9608</c:v>
                </c:pt>
                <c:pt idx="2469">
                  <c:v>9628</c:v>
                </c:pt>
                <c:pt idx="2470">
                  <c:v>9620</c:v>
                </c:pt>
                <c:pt idx="2471">
                  <c:v>9643</c:v>
                </c:pt>
                <c:pt idx="2472">
                  <c:v>9664</c:v>
                </c:pt>
                <c:pt idx="2473">
                  <c:v>9657</c:v>
                </c:pt>
                <c:pt idx="2474">
                  <c:v>9650</c:v>
                </c:pt>
                <c:pt idx="2475">
                  <c:v>9650</c:v>
                </c:pt>
                <c:pt idx="2476">
                  <c:v>9664</c:v>
                </c:pt>
                <c:pt idx="2477">
                  <c:v>9701</c:v>
                </c:pt>
                <c:pt idx="2478">
                  <c:v>9718</c:v>
                </c:pt>
                <c:pt idx="2479">
                  <c:v>9761</c:v>
                </c:pt>
                <c:pt idx="2480">
                  <c:v>9776</c:v>
                </c:pt>
                <c:pt idx="2481">
                  <c:v>9875</c:v>
                </c:pt>
                <c:pt idx="2482">
                  <c:v>9883</c:v>
                </c:pt>
                <c:pt idx="2483">
                  <c:v>9800</c:v>
                </c:pt>
                <c:pt idx="2484">
                  <c:v>9800</c:v>
                </c:pt>
                <c:pt idx="2485">
                  <c:v>9803</c:v>
                </c:pt>
                <c:pt idx="2486">
                  <c:v>9760</c:v>
                </c:pt>
                <c:pt idx="2487">
                  <c:v>9783</c:v>
                </c:pt>
                <c:pt idx="2488">
                  <c:v>9790</c:v>
                </c:pt>
                <c:pt idx="2489">
                  <c:v>9805</c:v>
                </c:pt>
                <c:pt idx="2490">
                  <c:v>9776</c:v>
                </c:pt>
                <c:pt idx="2491">
                  <c:v>9805</c:v>
                </c:pt>
                <c:pt idx="2492">
                  <c:v>9820</c:v>
                </c:pt>
                <c:pt idx="2493">
                  <c:v>9843</c:v>
                </c:pt>
                <c:pt idx="2494">
                  <c:v>9800</c:v>
                </c:pt>
                <c:pt idx="2495">
                  <c:v>9786</c:v>
                </c:pt>
                <c:pt idx="2496">
                  <c:v>9815</c:v>
                </c:pt>
                <c:pt idx="2497">
                  <c:v>9828</c:v>
                </c:pt>
                <c:pt idx="2498">
                  <c:v>9831</c:v>
                </c:pt>
                <c:pt idx="2499">
                  <c:v>9829</c:v>
                </c:pt>
                <c:pt idx="2500">
                  <c:v>9805</c:v>
                </c:pt>
                <c:pt idx="2501">
                  <c:v>9785</c:v>
                </c:pt>
                <c:pt idx="2502">
                  <c:v>9750</c:v>
                </c:pt>
                <c:pt idx="2503">
                  <c:v>9765</c:v>
                </c:pt>
                <c:pt idx="2504">
                  <c:v>9739</c:v>
                </c:pt>
                <c:pt idx="2505">
                  <c:v>9746</c:v>
                </c:pt>
                <c:pt idx="2506">
                  <c:v>9771</c:v>
                </c:pt>
                <c:pt idx="2507">
                  <c:v>9796</c:v>
                </c:pt>
                <c:pt idx="2508">
                  <c:v>9765</c:v>
                </c:pt>
                <c:pt idx="2509">
                  <c:v>9813</c:v>
                </c:pt>
                <c:pt idx="2510">
                  <c:v>9800</c:v>
                </c:pt>
                <c:pt idx="2511">
                  <c:v>9878</c:v>
                </c:pt>
                <c:pt idx="2512">
                  <c:v>9906</c:v>
                </c:pt>
                <c:pt idx="2513">
                  <c:v>9901</c:v>
                </c:pt>
                <c:pt idx="2514">
                  <c:v>9963</c:v>
                </c:pt>
                <c:pt idx="2515">
                  <c:v>9985</c:v>
                </c:pt>
                <c:pt idx="2516">
                  <c:v>10004</c:v>
                </c:pt>
                <c:pt idx="2517">
                  <c:v>10090</c:v>
                </c:pt>
                <c:pt idx="2518">
                  <c:v>10270</c:v>
                </c:pt>
                <c:pt idx="2519">
                  <c:v>10326</c:v>
                </c:pt>
                <c:pt idx="2520">
                  <c:v>10390</c:v>
                </c:pt>
                <c:pt idx="2521">
                  <c:v>10840</c:v>
                </c:pt>
                <c:pt idx="2522">
                  <c:v>10525</c:v>
                </c:pt>
                <c:pt idx="2523">
                  <c:v>10250</c:v>
                </c:pt>
                <c:pt idx="2524">
                  <c:v>10225</c:v>
                </c:pt>
                <c:pt idx="2525">
                  <c:v>10175</c:v>
                </c:pt>
                <c:pt idx="2526">
                  <c:v>10301</c:v>
                </c:pt>
                <c:pt idx="2527">
                  <c:v>10330</c:v>
                </c:pt>
                <c:pt idx="2528">
                  <c:v>10328</c:v>
                </c:pt>
                <c:pt idx="2529">
                  <c:v>10356</c:v>
                </c:pt>
                <c:pt idx="2530">
                  <c:v>10215</c:v>
                </c:pt>
                <c:pt idx="2531">
                  <c:v>10105</c:v>
                </c:pt>
                <c:pt idx="2532">
                  <c:v>10060</c:v>
                </c:pt>
                <c:pt idx="2533">
                  <c:v>10005</c:v>
                </c:pt>
                <c:pt idx="2534">
                  <c:v>10046</c:v>
                </c:pt>
                <c:pt idx="2535">
                  <c:v>10150</c:v>
                </c:pt>
                <c:pt idx="2536">
                  <c:v>10155</c:v>
                </c:pt>
                <c:pt idx="2537">
                  <c:v>10195</c:v>
                </c:pt>
                <c:pt idx="2538">
                  <c:v>10215</c:v>
                </c:pt>
                <c:pt idx="2539">
                  <c:v>10241</c:v>
                </c:pt>
                <c:pt idx="2540">
                  <c:v>10236</c:v>
                </c:pt>
                <c:pt idx="2541">
                  <c:v>10230</c:v>
                </c:pt>
                <c:pt idx="2542">
                  <c:v>10275</c:v>
                </c:pt>
                <c:pt idx="2543">
                  <c:v>10369</c:v>
                </c:pt>
                <c:pt idx="2544">
                  <c:v>10291</c:v>
                </c:pt>
                <c:pt idx="2545">
                  <c:v>10290</c:v>
                </c:pt>
                <c:pt idx="2546">
                  <c:v>10295</c:v>
                </c:pt>
                <c:pt idx="2547">
                  <c:v>10180</c:v>
                </c:pt>
                <c:pt idx="2548">
                  <c:v>10030</c:v>
                </c:pt>
                <c:pt idx="2549">
                  <c:v>10076</c:v>
                </c:pt>
                <c:pt idx="2550">
                  <c:v>10028</c:v>
                </c:pt>
                <c:pt idx="2551">
                  <c:v>10070</c:v>
                </c:pt>
                <c:pt idx="2552">
                  <c:v>10075</c:v>
                </c:pt>
                <c:pt idx="2553">
                  <c:v>10110</c:v>
                </c:pt>
                <c:pt idx="2554">
                  <c:v>10150</c:v>
                </c:pt>
                <c:pt idx="2555">
                  <c:v>10110</c:v>
                </c:pt>
                <c:pt idx="2556">
                  <c:v>10104</c:v>
                </c:pt>
                <c:pt idx="2557">
                  <c:v>10105</c:v>
                </c:pt>
                <c:pt idx="2558">
                  <c:v>10115</c:v>
                </c:pt>
                <c:pt idx="2559">
                  <c:v>10080</c:v>
                </c:pt>
                <c:pt idx="2560">
                  <c:v>10060</c:v>
                </c:pt>
                <c:pt idx="2561">
                  <c:v>10063</c:v>
                </c:pt>
                <c:pt idx="2562">
                  <c:v>9985</c:v>
                </c:pt>
                <c:pt idx="2563">
                  <c:v>9985</c:v>
                </c:pt>
                <c:pt idx="2564">
                  <c:v>10031</c:v>
                </c:pt>
                <c:pt idx="2565">
                  <c:v>10025</c:v>
                </c:pt>
                <c:pt idx="2566">
                  <c:v>10115</c:v>
                </c:pt>
                <c:pt idx="2567">
                  <c:v>10095</c:v>
                </c:pt>
                <c:pt idx="2568">
                  <c:v>10061</c:v>
                </c:pt>
                <c:pt idx="2569">
                  <c:v>10052</c:v>
                </c:pt>
                <c:pt idx="2570">
                  <c:v>10060</c:v>
                </c:pt>
                <c:pt idx="2571">
                  <c:v>10071</c:v>
                </c:pt>
                <c:pt idx="2572">
                  <c:v>10106</c:v>
                </c:pt>
                <c:pt idx="2573">
                  <c:v>9960</c:v>
                </c:pt>
                <c:pt idx="2574">
                  <c:v>9978</c:v>
                </c:pt>
                <c:pt idx="2575">
                  <c:v>9987</c:v>
                </c:pt>
                <c:pt idx="2576">
                  <c:v>10003</c:v>
                </c:pt>
                <c:pt idx="2577">
                  <c:v>10009</c:v>
                </c:pt>
                <c:pt idx="2578">
                  <c:v>10010</c:v>
                </c:pt>
                <c:pt idx="2579">
                  <c:v>10051</c:v>
                </c:pt>
                <c:pt idx="2580">
                  <c:v>10080</c:v>
                </c:pt>
                <c:pt idx="2581">
                  <c:v>10041</c:v>
                </c:pt>
                <c:pt idx="2582">
                  <c:v>10069</c:v>
                </c:pt>
                <c:pt idx="2583">
                  <c:v>10055</c:v>
                </c:pt>
                <c:pt idx="2584">
                  <c:v>10055</c:v>
                </c:pt>
                <c:pt idx="2585">
                  <c:v>10052</c:v>
                </c:pt>
                <c:pt idx="2586">
                  <c:v>10043</c:v>
                </c:pt>
                <c:pt idx="2587">
                  <c:v>10040</c:v>
                </c:pt>
                <c:pt idx="2588">
                  <c:v>10036</c:v>
                </c:pt>
                <c:pt idx="2589">
                  <c:v>10032</c:v>
                </c:pt>
                <c:pt idx="2590">
                  <c:v>9999</c:v>
                </c:pt>
                <c:pt idx="2591">
                  <c:v>9953</c:v>
                </c:pt>
                <c:pt idx="2592">
                  <c:v>9925</c:v>
                </c:pt>
                <c:pt idx="2593">
                  <c:v>9840</c:v>
                </c:pt>
                <c:pt idx="2594">
                  <c:v>9781</c:v>
                </c:pt>
                <c:pt idx="2595">
                  <c:v>9700</c:v>
                </c:pt>
                <c:pt idx="2596">
                  <c:v>9754</c:v>
                </c:pt>
                <c:pt idx="2597">
                  <c:v>9783</c:v>
                </c:pt>
                <c:pt idx="2598">
                  <c:v>9798</c:v>
                </c:pt>
                <c:pt idx="2599">
                  <c:v>9840</c:v>
                </c:pt>
                <c:pt idx="2600">
                  <c:v>9880</c:v>
                </c:pt>
                <c:pt idx="2601">
                  <c:v>9861</c:v>
                </c:pt>
                <c:pt idx="2602">
                  <c:v>9875</c:v>
                </c:pt>
                <c:pt idx="2603">
                  <c:v>9830</c:v>
                </c:pt>
                <c:pt idx="2604">
                  <c:v>9825</c:v>
                </c:pt>
                <c:pt idx="2605">
                  <c:v>9861</c:v>
                </c:pt>
                <c:pt idx="2606">
                  <c:v>9865</c:v>
                </c:pt>
                <c:pt idx="2607">
                  <c:v>9825</c:v>
                </c:pt>
                <c:pt idx="2608">
                  <c:v>9825</c:v>
                </c:pt>
                <c:pt idx="2609">
                  <c:v>9855</c:v>
                </c:pt>
                <c:pt idx="2610">
                  <c:v>9831</c:v>
                </c:pt>
                <c:pt idx="2611">
                  <c:v>9840</c:v>
                </c:pt>
                <c:pt idx="2612">
                  <c:v>9723</c:v>
                </c:pt>
                <c:pt idx="2613">
                  <c:v>9650</c:v>
                </c:pt>
                <c:pt idx="2614">
                  <c:v>9593</c:v>
                </c:pt>
                <c:pt idx="2615">
                  <c:v>9570</c:v>
                </c:pt>
                <c:pt idx="2616">
                  <c:v>9460</c:v>
                </c:pt>
                <c:pt idx="2617">
                  <c:v>9456</c:v>
                </c:pt>
                <c:pt idx="2618">
                  <c:v>9465</c:v>
                </c:pt>
                <c:pt idx="2619">
                  <c:v>9349</c:v>
                </c:pt>
                <c:pt idx="2620">
                  <c:v>9370</c:v>
                </c:pt>
                <c:pt idx="2621">
                  <c:v>9475</c:v>
                </c:pt>
                <c:pt idx="2622">
                  <c:v>9470</c:v>
                </c:pt>
                <c:pt idx="2623">
                  <c:v>9505</c:v>
                </c:pt>
                <c:pt idx="2624">
                  <c:v>9395</c:v>
                </c:pt>
                <c:pt idx="2625">
                  <c:v>9430</c:v>
                </c:pt>
                <c:pt idx="2626">
                  <c:v>9450</c:v>
                </c:pt>
                <c:pt idx="2627">
                  <c:v>9492</c:v>
                </c:pt>
                <c:pt idx="2628">
                  <c:v>9360</c:v>
                </c:pt>
                <c:pt idx="2629">
                  <c:v>9360</c:v>
                </c:pt>
                <c:pt idx="2630">
                  <c:v>9365</c:v>
                </c:pt>
                <c:pt idx="2631">
                  <c:v>9390</c:v>
                </c:pt>
                <c:pt idx="2632">
                  <c:v>9365</c:v>
                </c:pt>
                <c:pt idx="2633">
                  <c:v>9320</c:v>
                </c:pt>
                <c:pt idx="2634">
                  <c:v>9350</c:v>
                </c:pt>
                <c:pt idx="2635">
                  <c:v>9309</c:v>
                </c:pt>
                <c:pt idx="2636">
                  <c:v>9250</c:v>
                </c:pt>
                <c:pt idx="2637">
                  <c:v>9190</c:v>
                </c:pt>
                <c:pt idx="2638">
                  <c:v>9260</c:v>
                </c:pt>
                <c:pt idx="2639">
                  <c:v>9233</c:v>
                </c:pt>
                <c:pt idx="2640">
                  <c:v>9240</c:v>
                </c:pt>
                <c:pt idx="2641">
                  <c:v>9235</c:v>
                </c:pt>
                <c:pt idx="2642">
                  <c:v>9228</c:v>
                </c:pt>
                <c:pt idx="2643">
                  <c:v>9215</c:v>
                </c:pt>
                <c:pt idx="2644">
                  <c:v>9223</c:v>
                </c:pt>
                <c:pt idx="2645">
                  <c:v>9243</c:v>
                </c:pt>
                <c:pt idx="2646">
                  <c:v>9233</c:v>
                </c:pt>
                <c:pt idx="2647">
                  <c:v>9263</c:v>
                </c:pt>
                <c:pt idx="2648">
                  <c:v>9355</c:v>
                </c:pt>
                <c:pt idx="2649">
                  <c:v>9265</c:v>
                </c:pt>
                <c:pt idx="2650">
                  <c:v>9293</c:v>
                </c:pt>
                <c:pt idx="2651">
                  <c:v>9235</c:v>
                </c:pt>
                <c:pt idx="2652">
                  <c:v>9185</c:v>
                </c:pt>
                <c:pt idx="2653">
                  <c:v>9181</c:v>
                </c:pt>
                <c:pt idx="2654">
                  <c:v>9190</c:v>
                </c:pt>
                <c:pt idx="2655">
                  <c:v>9190</c:v>
                </c:pt>
                <c:pt idx="2656">
                  <c:v>9185</c:v>
                </c:pt>
                <c:pt idx="2657">
                  <c:v>9245</c:v>
                </c:pt>
                <c:pt idx="2658">
                  <c:v>9310</c:v>
                </c:pt>
                <c:pt idx="2659">
                  <c:v>9320</c:v>
                </c:pt>
                <c:pt idx="2660">
                  <c:v>9240</c:v>
                </c:pt>
                <c:pt idx="2661">
                  <c:v>9245</c:v>
                </c:pt>
                <c:pt idx="2662">
                  <c:v>9168</c:v>
                </c:pt>
                <c:pt idx="2663">
                  <c:v>9150</c:v>
                </c:pt>
                <c:pt idx="2664">
                  <c:v>9173</c:v>
                </c:pt>
                <c:pt idx="2665">
                  <c:v>9155</c:v>
                </c:pt>
                <c:pt idx="2666">
                  <c:v>9143</c:v>
                </c:pt>
                <c:pt idx="2667">
                  <c:v>9125</c:v>
                </c:pt>
                <c:pt idx="2668">
                  <c:v>9088</c:v>
                </c:pt>
                <c:pt idx="2669">
                  <c:v>9085</c:v>
                </c:pt>
                <c:pt idx="2670">
                  <c:v>9120</c:v>
                </c:pt>
                <c:pt idx="2671">
                  <c:v>9045</c:v>
                </c:pt>
                <c:pt idx="2672">
                  <c:v>9053</c:v>
                </c:pt>
                <c:pt idx="2673">
                  <c:v>9145</c:v>
                </c:pt>
                <c:pt idx="2674">
                  <c:v>9135</c:v>
                </c:pt>
                <c:pt idx="2675">
                  <c:v>9060</c:v>
                </c:pt>
                <c:pt idx="2676">
                  <c:v>9028</c:v>
                </c:pt>
                <c:pt idx="2677">
                  <c:v>9000</c:v>
                </c:pt>
                <c:pt idx="2678">
                  <c:v>9015</c:v>
                </c:pt>
                <c:pt idx="2679">
                  <c:v>9005</c:v>
                </c:pt>
                <c:pt idx="2680">
                  <c:v>8995</c:v>
                </c:pt>
                <c:pt idx="2681">
                  <c:v>8990</c:v>
                </c:pt>
                <c:pt idx="2682">
                  <c:v>8995</c:v>
                </c:pt>
                <c:pt idx="2683">
                  <c:v>9008</c:v>
                </c:pt>
                <c:pt idx="2684">
                  <c:v>8991</c:v>
                </c:pt>
                <c:pt idx="2685">
                  <c:v>8988</c:v>
                </c:pt>
                <c:pt idx="2686">
                  <c:v>8985</c:v>
                </c:pt>
                <c:pt idx="2687">
                  <c:v>8989</c:v>
                </c:pt>
                <c:pt idx="2688">
                  <c:v>8940</c:v>
                </c:pt>
                <c:pt idx="2689">
                  <c:v>8885</c:v>
                </c:pt>
                <c:pt idx="2690">
                  <c:v>8885</c:v>
                </c:pt>
                <c:pt idx="2691">
                  <c:v>8837</c:v>
                </c:pt>
                <c:pt idx="2692">
                  <c:v>8813</c:v>
                </c:pt>
                <c:pt idx="2693">
                  <c:v>8820</c:v>
                </c:pt>
                <c:pt idx="2694">
                  <c:v>8803</c:v>
                </c:pt>
                <c:pt idx="2695">
                  <c:v>8806</c:v>
                </c:pt>
                <c:pt idx="2696">
                  <c:v>8769</c:v>
                </c:pt>
                <c:pt idx="2697">
                  <c:v>8783</c:v>
                </c:pt>
                <c:pt idx="2698">
                  <c:v>8775</c:v>
                </c:pt>
                <c:pt idx="2699">
                  <c:v>8796</c:v>
                </c:pt>
                <c:pt idx="2700">
                  <c:v>8785</c:v>
                </c:pt>
                <c:pt idx="2701">
                  <c:v>8730</c:v>
                </c:pt>
                <c:pt idx="2702">
                  <c:v>8738</c:v>
                </c:pt>
                <c:pt idx="2703">
                  <c:v>8722</c:v>
                </c:pt>
                <c:pt idx="2704">
                  <c:v>8730</c:v>
                </c:pt>
                <c:pt idx="2705">
                  <c:v>8735</c:v>
                </c:pt>
                <c:pt idx="2706">
                  <c:v>9150</c:v>
                </c:pt>
                <c:pt idx="2707">
                  <c:v>9288</c:v>
                </c:pt>
                <c:pt idx="2708">
                  <c:v>8910</c:v>
                </c:pt>
                <c:pt idx="2709">
                  <c:v>9180</c:v>
                </c:pt>
                <c:pt idx="2710">
                  <c:v>9205</c:v>
                </c:pt>
                <c:pt idx="2711">
                  <c:v>9325</c:v>
                </c:pt>
                <c:pt idx="2712">
                  <c:v>9265</c:v>
                </c:pt>
                <c:pt idx="2713">
                  <c:v>9360</c:v>
                </c:pt>
                <c:pt idx="2714">
                  <c:v>9375</c:v>
                </c:pt>
                <c:pt idx="2715">
                  <c:v>9260</c:v>
                </c:pt>
                <c:pt idx="2716">
                  <c:v>9218</c:v>
                </c:pt>
                <c:pt idx="2717">
                  <c:v>9190</c:v>
                </c:pt>
                <c:pt idx="2718">
                  <c:v>9254</c:v>
                </c:pt>
                <c:pt idx="2719">
                  <c:v>9340</c:v>
                </c:pt>
                <c:pt idx="2720">
                  <c:v>9265</c:v>
                </c:pt>
                <c:pt idx="2721">
                  <c:v>9280</c:v>
                </c:pt>
                <c:pt idx="2722">
                  <c:v>9345</c:v>
                </c:pt>
                <c:pt idx="2723">
                  <c:v>9373</c:v>
                </c:pt>
                <c:pt idx="2724">
                  <c:v>9424</c:v>
                </c:pt>
                <c:pt idx="2725">
                  <c:v>9405</c:v>
                </c:pt>
                <c:pt idx="2726">
                  <c:v>9421</c:v>
                </c:pt>
                <c:pt idx="2727">
                  <c:v>9495</c:v>
                </c:pt>
                <c:pt idx="2728">
                  <c:v>9479</c:v>
                </c:pt>
                <c:pt idx="2729">
                  <c:v>9395</c:v>
                </c:pt>
                <c:pt idx="2730">
                  <c:v>9300</c:v>
                </c:pt>
                <c:pt idx="2731">
                  <c:v>9380</c:v>
                </c:pt>
                <c:pt idx="2732">
                  <c:v>9388</c:v>
                </c:pt>
                <c:pt idx="2733">
                  <c:v>9363</c:v>
                </c:pt>
                <c:pt idx="2734">
                  <c:v>9358</c:v>
                </c:pt>
                <c:pt idx="2735">
                  <c:v>9403</c:v>
                </c:pt>
                <c:pt idx="2736">
                  <c:v>9400</c:v>
                </c:pt>
                <c:pt idx="2737">
                  <c:v>9355</c:v>
                </c:pt>
                <c:pt idx="2738">
                  <c:v>9341</c:v>
                </c:pt>
                <c:pt idx="2739">
                  <c:v>9368</c:v>
                </c:pt>
                <c:pt idx="2740">
                  <c:v>9263</c:v>
                </c:pt>
                <c:pt idx="2741">
                  <c:v>9150</c:v>
                </c:pt>
                <c:pt idx="2742">
                  <c:v>9064</c:v>
                </c:pt>
                <c:pt idx="2743">
                  <c:v>9105</c:v>
                </c:pt>
                <c:pt idx="2744">
                  <c:v>9125</c:v>
                </c:pt>
                <c:pt idx="2745">
                  <c:v>9068</c:v>
                </c:pt>
                <c:pt idx="2746">
                  <c:v>9050</c:v>
                </c:pt>
                <c:pt idx="2747">
                  <c:v>9050</c:v>
                </c:pt>
                <c:pt idx="2748">
                  <c:v>9098</c:v>
                </c:pt>
                <c:pt idx="2749">
                  <c:v>9105</c:v>
                </c:pt>
                <c:pt idx="2750">
                  <c:v>9173</c:v>
                </c:pt>
                <c:pt idx="2751">
                  <c:v>9295</c:v>
                </c:pt>
                <c:pt idx="2752">
                  <c:v>9240</c:v>
                </c:pt>
                <c:pt idx="2753">
                  <c:v>9255</c:v>
                </c:pt>
                <c:pt idx="2754">
                  <c:v>9170</c:v>
                </c:pt>
                <c:pt idx="2755">
                  <c:v>9146</c:v>
                </c:pt>
                <c:pt idx="2756">
                  <c:v>9185</c:v>
                </c:pt>
                <c:pt idx="2757">
                  <c:v>9150</c:v>
                </c:pt>
                <c:pt idx="2758">
                  <c:v>9088</c:v>
                </c:pt>
                <c:pt idx="2759">
                  <c:v>9070</c:v>
                </c:pt>
                <c:pt idx="2760">
                  <c:v>9090</c:v>
                </c:pt>
                <c:pt idx="2761">
                  <c:v>9070</c:v>
                </c:pt>
                <c:pt idx="2762">
                  <c:v>9102</c:v>
                </c:pt>
                <c:pt idx="2763">
                  <c:v>9110</c:v>
                </c:pt>
                <c:pt idx="2764">
                  <c:v>9115</c:v>
                </c:pt>
                <c:pt idx="2765">
                  <c:v>9090</c:v>
                </c:pt>
                <c:pt idx="2766">
                  <c:v>9070</c:v>
                </c:pt>
                <c:pt idx="2767">
                  <c:v>9095</c:v>
                </c:pt>
                <c:pt idx="2768">
                  <c:v>9091</c:v>
                </c:pt>
                <c:pt idx="2769">
                  <c:v>9049</c:v>
                </c:pt>
                <c:pt idx="2770">
                  <c:v>9075</c:v>
                </c:pt>
                <c:pt idx="2771">
                  <c:v>9094</c:v>
                </c:pt>
                <c:pt idx="2772">
                  <c:v>9110</c:v>
                </c:pt>
                <c:pt idx="2773">
                  <c:v>9093</c:v>
                </c:pt>
                <c:pt idx="2774">
                  <c:v>9050</c:v>
                </c:pt>
                <c:pt idx="2775">
                  <c:v>9066</c:v>
                </c:pt>
                <c:pt idx="2776">
                  <c:v>9065</c:v>
                </c:pt>
                <c:pt idx="2777">
                  <c:v>9073</c:v>
                </c:pt>
                <c:pt idx="2778">
                  <c:v>9100</c:v>
                </c:pt>
                <c:pt idx="2779">
                  <c:v>9140</c:v>
                </c:pt>
                <c:pt idx="2780">
                  <c:v>9133</c:v>
                </c:pt>
                <c:pt idx="2781">
                  <c:v>9124</c:v>
                </c:pt>
                <c:pt idx="2782">
                  <c:v>9093</c:v>
                </c:pt>
                <c:pt idx="2783">
                  <c:v>9120</c:v>
                </c:pt>
                <c:pt idx="2784">
                  <c:v>9097</c:v>
                </c:pt>
                <c:pt idx="2785">
                  <c:v>9096</c:v>
                </c:pt>
                <c:pt idx="2786">
                  <c:v>9083</c:v>
                </c:pt>
                <c:pt idx="2787">
                  <c:v>9082</c:v>
                </c:pt>
                <c:pt idx="2788">
                  <c:v>9088</c:v>
                </c:pt>
                <c:pt idx="2789">
                  <c:v>9095</c:v>
                </c:pt>
                <c:pt idx="2790">
                  <c:v>9128</c:v>
                </c:pt>
                <c:pt idx="2791">
                  <c:v>9130</c:v>
                </c:pt>
                <c:pt idx="2792">
                  <c:v>9152</c:v>
                </c:pt>
                <c:pt idx="2793">
                  <c:v>9113</c:v>
                </c:pt>
                <c:pt idx="2794">
                  <c:v>9133</c:v>
                </c:pt>
                <c:pt idx="2795">
                  <c:v>9121</c:v>
                </c:pt>
                <c:pt idx="2796">
                  <c:v>9145</c:v>
                </c:pt>
                <c:pt idx="2797">
                  <c:v>9158</c:v>
                </c:pt>
                <c:pt idx="2798">
                  <c:v>9168</c:v>
                </c:pt>
                <c:pt idx="2799">
                  <c:v>9145</c:v>
                </c:pt>
                <c:pt idx="2800">
                  <c:v>9188</c:v>
                </c:pt>
                <c:pt idx="2801">
                  <c:v>9248</c:v>
                </c:pt>
                <c:pt idx="2802">
                  <c:v>9204</c:v>
                </c:pt>
                <c:pt idx="2803">
                  <c:v>9210</c:v>
                </c:pt>
                <c:pt idx="2804">
                  <c:v>9240</c:v>
                </c:pt>
                <c:pt idx="2805">
                  <c:v>9225</c:v>
                </c:pt>
                <c:pt idx="2806">
                  <c:v>9205</c:v>
                </c:pt>
                <c:pt idx="2807">
                  <c:v>9205</c:v>
                </c:pt>
                <c:pt idx="2808">
                  <c:v>9220</c:v>
                </c:pt>
                <c:pt idx="2809">
                  <c:v>9209</c:v>
                </c:pt>
                <c:pt idx="2810">
                  <c:v>9208</c:v>
                </c:pt>
                <c:pt idx="2811">
                  <c:v>9228</c:v>
                </c:pt>
                <c:pt idx="2812">
                  <c:v>9222</c:v>
                </c:pt>
                <c:pt idx="2813">
                  <c:v>9223</c:v>
                </c:pt>
                <c:pt idx="2814">
                  <c:v>9220</c:v>
                </c:pt>
                <c:pt idx="2815">
                  <c:v>9206</c:v>
                </c:pt>
                <c:pt idx="2816">
                  <c:v>9166</c:v>
                </c:pt>
                <c:pt idx="2817">
                  <c:v>9155</c:v>
                </c:pt>
                <c:pt idx="2818">
                  <c:v>9160</c:v>
                </c:pt>
                <c:pt idx="2819">
                  <c:v>9160</c:v>
                </c:pt>
                <c:pt idx="2820">
                  <c:v>9158</c:v>
                </c:pt>
                <c:pt idx="2821">
                  <c:v>9158</c:v>
                </c:pt>
                <c:pt idx="2822">
                  <c:v>9165</c:v>
                </c:pt>
                <c:pt idx="2823">
                  <c:v>9133</c:v>
                </c:pt>
                <c:pt idx="2824">
                  <c:v>9110</c:v>
                </c:pt>
                <c:pt idx="2825">
                  <c:v>9105</c:v>
                </c:pt>
                <c:pt idx="2826">
                  <c:v>9109</c:v>
                </c:pt>
                <c:pt idx="2827">
                  <c:v>9107</c:v>
                </c:pt>
                <c:pt idx="2828">
                  <c:v>9103</c:v>
                </c:pt>
                <c:pt idx="2829">
                  <c:v>9112</c:v>
                </c:pt>
                <c:pt idx="2830">
                  <c:v>9116</c:v>
                </c:pt>
                <c:pt idx="2831">
                  <c:v>9134</c:v>
                </c:pt>
                <c:pt idx="2832">
                  <c:v>9126</c:v>
                </c:pt>
                <c:pt idx="2833">
                  <c:v>9108</c:v>
                </c:pt>
                <c:pt idx="2834">
                  <c:v>9104</c:v>
                </c:pt>
                <c:pt idx="2835">
                  <c:v>9117</c:v>
                </c:pt>
                <c:pt idx="2836">
                  <c:v>9127</c:v>
                </c:pt>
                <c:pt idx="2837">
                  <c:v>9125</c:v>
                </c:pt>
                <c:pt idx="2838">
                  <c:v>9183</c:v>
                </c:pt>
                <c:pt idx="2839">
                  <c:v>9160</c:v>
                </c:pt>
                <c:pt idx="2840">
                  <c:v>9159</c:v>
                </c:pt>
                <c:pt idx="2841">
                  <c:v>9154</c:v>
                </c:pt>
                <c:pt idx="2842">
                  <c:v>9140</c:v>
                </c:pt>
                <c:pt idx="2843">
                  <c:v>9134</c:v>
                </c:pt>
                <c:pt idx="2844">
                  <c:v>9131</c:v>
                </c:pt>
                <c:pt idx="2845">
                  <c:v>9141</c:v>
                </c:pt>
                <c:pt idx="2846">
                  <c:v>9137</c:v>
                </c:pt>
                <c:pt idx="2847">
                  <c:v>9186</c:v>
                </c:pt>
                <c:pt idx="2848">
                  <c:v>9167</c:v>
                </c:pt>
                <c:pt idx="2849">
                  <c:v>9165</c:v>
                </c:pt>
                <c:pt idx="2850">
                  <c:v>9160</c:v>
                </c:pt>
                <c:pt idx="2851">
                  <c:v>9155</c:v>
                </c:pt>
                <c:pt idx="2852">
                  <c:v>9116</c:v>
                </c:pt>
                <c:pt idx="2853">
                  <c:v>9110</c:v>
                </c:pt>
                <c:pt idx="2854">
                  <c:v>9073</c:v>
                </c:pt>
                <c:pt idx="2855">
                  <c:v>9070</c:v>
                </c:pt>
                <c:pt idx="2856">
                  <c:v>9088</c:v>
                </c:pt>
                <c:pt idx="2857">
                  <c:v>9071</c:v>
                </c:pt>
                <c:pt idx="2858">
                  <c:v>9070</c:v>
                </c:pt>
                <c:pt idx="2859">
                  <c:v>9068</c:v>
                </c:pt>
                <c:pt idx="2860">
                  <c:v>9086</c:v>
                </c:pt>
                <c:pt idx="2861">
                  <c:v>9087</c:v>
                </c:pt>
                <c:pt idx="2862">
                  <c:v>9120</c:v>
                </c:pt>
                <c:pt idx="2863">
                  <c:v>9090</c:v>
                </c:pt>
                <c:pt idx="2864">
                  <c:v>9070</c:v>
                </c:pt>
                <c:pt idx="2865">
                  <c:v>9074</c:v>
                </c:pt>
                <c:pt idx="2866">
                  <c:v>9080</c:v>
                </c:pt>
                <c:pt idx="2867">
                  <c:v>9075</c:v>
                </c:pt>
                <c:pt idx="2868">
                  <c:v>9033</c:v>
                </c:pt>
                <c:pt idx="2869">
                  <c:v>9030</c:v>
                </c:pt>
                <c:pt idx="2870">
                  <c:v>8995</c:v>
                </c:pt>
                <c:pt idx="2871">
                  <c:v>8987</c:v>
                </c:pt>
                <c:pt idx="2872">
                  <c:v>8968</c:v>
                </c:pt>
                <c:pt idx="2873">
                  <c:v>9008</c:v>
                </c:pt>
                <c:pt idx="2874">
                  <c:v>9008</c:v>
                </c:pt>
                <c:pt idx="2875">
                  <c:v>9038</c:v>
                </c:pt>
                <c:pt idx="2876">
                  <c:v>9033</c:v>
                </c:pt>
                <c:pt idx="2877">
                  <c:v>9080</c:v>
                </c:pt>
                <c:pt idx="2878">
                  <c:v>9121</c:v>
                </c:pt>
                <c:pt idx="2879">
                  <c:v>9133</c:v>
                </c:pt>
                <c:pt idx="2880">
                  <c:v>9115</c:v>
                </c:pt>
                <c:pt idx="2881">
                  <c:v>9071</c:v>
                </c:pt>
                <c:pt idx="2882">
                  <c:v>9108</c:v>
                </c:pt>
                <c:pt idx="2883">
                  <c:v>9100</c:v>
                </c:pt>
                <c:pt idx="2884">
                  <c:v>9078</c:v>
                </c:pt>
                <c:pt idx="2885">
                  <c:v>9086</c:v>
                </c:pt>
                <c:pt idx="2886">
                  <c:v>9085</c:v>
                </c:pt>
                <c:pt idx="2887">
                  <c:v>9078</c:v>
                </c:pt>
                <c:pt idx="2888">
                  <c:v>9100</c:v>
                </c:pt>
                <c:pt idx="2889">
                  <c:v>9120</c:v>
                </c:pt>
                <c:pt idx="2890">
                  <c:v>9123</c:v>
                </c:pt>
                <c:pt idx="2891">
                  <c:v>9098</c:v>
                </c:pt>
                <c:pt idx="2892">
                  <c:v>9093</c:v>
                </c:pt>
                <c:pt idx="2893">
                  <c:v>9080</c:v>
                </c:pt>
                <c:pt idx="2894">
                  <c:v>9077</c:v>
                </c:pt>
                <c:pt idx="2895">
                  <c:v>9065</c:v>
                </c:pt>
                <c:pt idx="2896">
                  <c:v>9058</c:v>
                </c:pt>
                <c:pt idx="2897">
                  <c:v>9038</c:v>
                </c:pt>
                <c:pt idx="2898">
                  <c:v>9053</c:v>
                </c:pt>
                <c:pt idx="2899">
                  <c:v>9053</c:v>
                </c:pt>
                <c:pt idx="2900">
                  <c:v>9044</c:v>
                </c:pt>
                <c:pt idx="2901">
                  <c:v>9048</c:v>
                </c:pt>
                <c:pt idx="2902">
                  <c:v>9070</c:v>
                </c:pt>
                <c:pt idx="2903">
                  <c:v>9043</c:v>
                </c:pt>
                <c:pt idx="2904">
                  <c:v>9047</c:v>
                </c:pt>
                <c:pt idx="2905">
                  <c:v>9074</c:v>
                </c:pt>
                <c:pt idx="2906">
                  <c:v>9063</c:v>
                </c:pt>
                <c:pt idx="2907">
                  <c:v>9067</c:v>
                </c:pt>
                <c:pt idx="2908">
                  <c:v>9080</c:v>
                </c:pt>
                <c:pt idx="2909">
                  <c:v>9078</c:v>
                </c:pt>
                <c:pt idx="2910">
                  <c:v>9068</c:v>
                </c:pt>
                <c:pt idx="2911">
                  <c:v>9093</c:v>
                </c:pt>
                <c:pt idx="2912">
                  <c:v>9132</c:v>
                </c:pt>
                <c:pt idx="2913">
                  <c:v>9153</c:v>
                </c:pt>
                <c:pt idx="2914">
                  <c:v>9150</c:v>
                </c:pt>
                <c:pt idx="2915">
                  <c:v>9248</c:v>
                </c:pt>
                <c:pt idx="2916">
                  <c:v>9220</c:v>
                </c:pt>
                <c:pt idx="2917">
                  <c:v>9210</c:v>
                </c:pt>
                <c:pt idx="2918">
                  <c:v>9173</c:v>
                </c:pt>
                <c:pt idx="2919">
                  <c:v>9176</c:v>
                </c:pt>
                <c:pt idx="2920">
                  <c:v>9171</c:v>
                </c:pt>
                <c:pt idx="2921">
                  <c:v>9209</c:v>
                </c:pt>
                <c:pt idx="2922">
                  <c:v>9220</c:v>
                </c:pt>
                <c:pt idx="2923">
                  <c:v>9228</c:v>
                </c:pt>
                <c:pt idx="2924">
                  <c:v>9222</c:v>
                </c:pt>
                <c:pt idx="2925">
                  <c:v>9225</c:v>
                </c:pt>
                <c:pt idx="2926">
                  <c:v>9166</c:v>
                </c:pt>
                <c:pt idx="2927">
                  <c:v>9136</c:v>
                </c:pt>
                <c:pt idx="2928">
                  <c:v>9085</c:v>
                </c:pt>
                <c:pt idx="2929">
                  <c:v>9095</c:v>
                </c:pt>
                <c:pt idx="2930">
                  <c:v>9102</c:v>
                </c:pt>
                <c:pt idx="2931">
                  <c:v>9121</c:v>
                </c:pt>
                <c:pt idx="2932">
                  <c:v>9150</c:v>
                </c:pt>
                <c:pt idx="2933">
                  <c:v>9123</c:v>
                </c:pt>
                <c:pt idx="2934">
                  <c:v>9124</c:v>
                </c:pt>
                <c:pt idx="2935">
                  <c:v>9125</c:v>
                </c:pt>
                <c:pt idx="2936">
                  <c:v>9095</c:v>
                </c:pt>
                <c:pt idx="2937">
                  <c:v>9114</c:v>
                </c:pt>
                <c:pt idx="2938">
                  <c:v>9100</c:v>
                </c:pt>
                <c:pt idx="2939">
                  <c:v>9100</c:v>
                </c:pt>
                <c:pt idx="2940">
                  <c:v>9093</c:v>
                </c:pt>
                <c:pt idx="2941">
                  <c:v>9100</c:v>
                </c:pt>
                <c:pt idx="2942">
                  <c:v>9085</c:v>
                </c:pt>
                <c:pt idx="2943">
                  <c:v>9110</c:v>
                </c:pt>
                <c:pt idx="2944">
                  <c:v>9090</c:v>
                </c:pt>
                <c:pt idx="2945">
                  <c:v>9093</c:v>
                </c:pt>
                <c:pt idx="2946">
                  <c:v>9100</c:v>
                </c:pt>
                <c:pt idx="2947">
                  <c:v>9068</c:v>
                </c:pt>
                <c:pt idx="2948">
                  <c:v>9105</c:v>
                </c:pt>
                <c:pt idx="2949">
                  <c:v>9091</c:v>
                </c:pt>
                <c:pt idx="2950">
                  <c:v>9090</c:v>
                </c:pt>
                <c:pt idx="2951">
                  <c:v>9088</c:v>
                </c:pt>
                <c:pt idx="2952">
                  <c:v>9082</c:v>
                </c:pt>
                <c:pt idx="2953">
                  <c:v>9076</c:v>
                </c:pt>
                <c:pt idx="2954">
                  <c:v>9067</c:v>
                </c:pt>
                <c:pt idx="2955">
                  <c:v>9085</c:v>
                </c:pt>
                <c:pt idx="2956">
                  <c:v>9078</c:v>
                </c:pt>
                <c:pt idx="2957">
                  <c:v>9076</c:v>
                </c:pt>
                <c:pt idx="2958">
                  <c:v>9047</c:v>
                </c:pt>
                <c:pt idx="2959">
                  <c:v>8973</c:v>
                </c:pt>
                <c:pt idx="2960">
                  <c:v>8885</c:v>
                </c:pt>
                <c:pt idx="2961">
                  <c:v>8890</c:v>
                </c:pt>
                <c:pt idx="2962">
                  <c:v>8813</c:v>
                </c:pt>
                <c:pt idx="2963">
                  <c:v>8760</c:v>
                </c:pt>
                <c:pt idx="2964">
                  <c:v>8873</c:v>
                </c:pt>
                <c:pt idx="2965">
                  <c:v>8800</c:v>
                </c:pt>
                <c:pt idx="2966">
                  <c:v>8805</c:v>
                </c:pt>
                <c:pt idx="2967">
                  <c:v>8793</c:v>
                </c:pt>
                <c:pt idx="2968">
                  <c:v>8795</c:v>
                </c:pt>
                <c:pt idx="2969">
                  <c:v>8820</c:v>
                </c:pt>
                <c:pt idx="2970">
                  <c:v>8760</c:v>
                </c:pt>
                <c:pt idx="2971">
                  <c:v>8670</c:v>
                </c:pt>
                <c:pt idx="2972">
                  <c:v>8710</c:v>
                </c:pt>
                <c:pt idx="2973">
                  <c:v>8740</c:v>
                </c:pt>
                <c:pt idx="2974">
                  <c:v>8750</c:v>
                </c:pt>
                <c:pt idx="2975">
                  <c:v>8744</c:v>
                </c:pt>
                <c:pt idx="2976">
                  <c:v>8815</c:v>
                </c:pt>
                <c:pt idx="2977">
                  <c:v>8840</c:v>
                </c:pt>
                <c:pt idx="2978">
                  <c:v>8830</c:v>
                </c:pt>
                <c:pt idx="2979">
                  <c:v>8827</c:v>
                </c:pt>
                <c:pt idx="2980">
                  <c:v>8775</c:v>
                </c:pt>
                <c:pt idx="2981">
                  <c:v>8793</c:v>
                </c:pt>
                <c:pt idx="2982">
                  <c:v>8915</c:v>
                </c:pt>
                <c:pt idx="2983">
                  <c:v>8880</c:v>
                </c:pt>
                <c:pt idx="2984">
                  <c:v>9085</c:v>
                </c:pt>
                <c:pt idx="2985">
                  <c:v>9045</c:v>
                </c:pt>
                <c:pt idx="2986">
                  <c:v>8988</c:v>
                </c:pt>
                <c:pt idx="2987">
                  <c:v>9100</c:v>
                </c:pt>
                <c:pt idx="2988">
                  <c:v>9073</c:v>
                </c:pt>
                <c:pt idx="2989">
                  <c:v>9050</c:v>
                </c:pt>
                <c:pt idx="2990">
                  <c:v>8900</c:v>
                </c:pt>
                <c:pt idx="2991">
                  <c:v>8935</c:v>
                </c:pt>
                <c:pt idx="2992">
                  <c:v>8930</c:v>
                </c:pt>
                <c:pt idx="2993">
                  <c:v>9028</c:v>
                </c:pt>
                <c:pt idx="2994">
                  <c:v>9005</c:v>
                </c:pt>
                <c:pt idx="2995">
                  <c:v>9032</c:v>
                </c:pt>
                <c:pt idx="2996">
                  <c:v>9080</c:v>
                </c:pt>
                <c:pt idx="2997">
                  <c:v>9133</c:v>
                </c:pt>
                <c:pt idx="2998">
                  <c:v>9078</c:v>
                </c:pt>
                <c:pt idx="2999">
                  <c:v>9035</c:v>
                </c:pt>
                <c:pt idx="3000">
                  <c:v>9013</c:v>
                </c:pt>
                <c:pt idx="3001">
                  <c:v>9015</c:v>
                </c:pt>
                <c:pt idx="3002">
                  <c:v>9008</c:v>
                </c:pt>
                <c:pt idx="3003">
                  <c:v>9010</c:v>
                </c:pt>
                <c:pt idx="3004">
                  <c:v>9040</c:v>
                </c:pt>
                <c:pt idx="3005">
                  <c:v>9020</c:v>
                </c:pt>
                <c:pt idx="3006">
                  <c:v>9002</c:v>
                </c:pt>
                <c:pt idx="3007">
                  <c:v>9033</c:v>
                </c:pt>
                <c:pt idx="3008">
                  <c:v>9055</c:v>
                </c:pt>
                <c:pt idx="3009">
                  <c:v>9028</c:v>
                </c:pt>
                <c:pt idx="3010">
                  <c:v>9045</c:v>
                </c:pt>
                <c:pt idx="3011">
                  <c:v>9055</c:v>
                </c:pt>
                <c:pt idx="3012">
                  <c:v>9100</c:v>
                </c:pt>
                <c:pt idx="3013">
                  <c:v>9090</c:v>
                </c:pt>
                <c:pt idx="3014">
                  <c:v>9060</c:v>
                </c:pt>
                <c:pt idx="3015">
                  <c:v>9070</c:v>
                </c:pt>
                <c:pt idx="3016">
                  <c:v>9047</c:v>
                </c:pt>
                <c:pt idx="3017">
                  <c:v>9105</c:v>
                </c:pt>
                <c:pt idx="3018">
                  <c:v>9140</c:v>
                </c:pt>
                <c:pt idx="3019">
                  <c:v>9195</c:v>
                </c:pt>
                <c:pt idx="3020">
                  <c:v>9215</c:v>
                </c:pt>
                <c:pt idx="3021">
                  <c:v>9215</c:v>
                </c:pt>
                <c:pt idx="3022">
                  <c:v>9295</c:v>
                </c:pt>
                <c:pt idx="3023">
                  <c:v>9295</c:v>
                </c:pt>
                <c:pt idx="3024">
                  <c:v>9273</c:v>
                </c:pt>
                <c:pt idx="3025">
                  <c:v>9300</c:v>
                </c:pt>
                <c:pt idx="3026">
                  <c:v>9335</c:v>
                </c:pt>
                <c:pt idx="3027">
                  <c:v>9295</c:v>
                </c:pt>
                <c:pt idx="3028">
                  <c:v>9325</c:v>
                </c:pt>
                <c:pt idx="3029">
                  <c:v>9348</c:v>
                </c:pt>
                <c:pt idx="3030">
                  <c:v>9343</c:v>
                </c:pt>
                <c:pt idx="3031">
                  <c:v>9355</c:v>
                </c:pt>
                <c:pt idx="3032">
                  <c:v>9424</c:v>
                </c:pt>
                <c:pt idx="3033">
                  <c:v>9475</c:v>
                </c:pt>
                <c:pt idx="3034">
                  <c:v>9465</c:v>
                </c:pt>
                <c:pt idx="3035">
                  <c:v>9390</c:v>
                </c:pt>
                <c:pt idx="3036">
                  <c:v>9444</c:v>
                </c:pt>
                <c:pt idx="3037">
                  <c:v>9398</c:v>
                </c:pt>
                <c:pt idx="3038">
                  <c:v>9355</c:v>
                </c:pt>
                <c:pt idx="3039">
                  <c:v>9410</c:v>
                </c:pt>
                <c:pt idx="3040">
                  <c:v>9385</c:v>
                </c:pt>
                <c:pt idx="3041">
                  <c:v>9397</c:v>
                </c:pt>
                <c:pt idx="3042">
                  <c:v>9425</c:v>
                </c:pt>
                <c:pt idx="3043">
                  <c:v>9425</c:v>
                </c:pt>
                <c:pt idx="3044">
                  <c:v>9400</c:v>
                </c:pt>
                <c:pt idx="3045">
                  <c:v>9389</c:v>
                </c:pt>
                <c:pt idx="3046">
                  <c:v>9411</c:v>
                </c:pt>
                <c:pt idx="3047">
                  <c:v>9399</c:v>
                </c:pt>
                <c:pt idx="3048">
                  <c:v>9410</c:v>
                </c:pt>
                <c:pt idx="3049">
                  <c:v>9400</c:v>
                </c:pt>
                <c:pt idx="3050">
                  <c:v>9415</c:v>
                </c:pt>
                <c:pt idx="3051">
                  <c:v>9440</c:v>
                </c:pt>
                <c:pt idx="3052">
                  <c:v>9408</c:v>
                </c:pt>
                <c:pt idx="3053">
                  <c:v>9400</c:v>
                </c:pt>
                <c:pt idx="3054">
                  <c:v>9380</c:v>
                </c:pt>
                <c:pt idx="3055">
                  <c:v>9388</c:v>
                </c:pt>
                <c:pt idx="3056">
                  <c:v>9375</c:v>
                </c:pt>
                <c:pt idx="3057">
                  <c:v>9208</c:v>
                </c:pt>
                <c:pt idx="3058">
                  <c:v>9163</c:v>
                </c:pt>
                <c:pt idx="3059">
                  <c:v>9170</c:v>
                </c:pt>
                <c:pt idx="3060">
                  <c:v>9125</c:v>
                </c:pt>
                <c:pt idx="3061">
                  <c:v>9176</c:v>
                </c:pt>
                <c:pt idx="3062">
                  <c:v>9161</c:v>
                </c:pt>
                <c:pt idx="3063">
                  <c:v>9140</c:v>
                </c:pt>
                <c:pt idx="3064">
                  <c:v>9145</c:v>
                </c:pt>
                <c:pt idx="3065">
                  <c:v>9085</c:v>
                </c:pt>
                <c:pt idx="3066">
                  <c:v>9100</c:v>
                </c:pt>
                <c:pt idx="3067">
                  <c:v>9124</c:v>
                </c:pt>
                <c:pt idx="3068">
                  <c:v>9130</c:v>
                </c:pt>
                <c:pt idx="3069">
                  <c:v>9085</c:v>
                </c:pt>
                <c:pt idx="3070">
                  <c:v>9075</c:v>
                </c:pt>
                <c:pt idx="3071">
                  <c:v>9075</c:v>
                </c:pt>
                <c:pt idx="3072">
                  <c:v>9081</c:v>
                </c:pt>
                <c:pt idx="3073">
                  <c:v>9065</c:v>
                </c:pt>
                <c:pt idx="3074">
                  <c:v>9060</c:v>
                </c:pt>
                <c:pt idx="3075">
                  <c:v>9060</c:v>
                </c:pt>
                <c:pt idx="3076">
                  <c:v>9060</c:v>
                </c:pt>
                <c:pt idx="3077">
                  <c:v>9095</c:v>
                </c:pt>
                <c:pt idx="3078">
                  <c:v>9100</c:v>
                </c:pt>
                <c:pt idx="3079">
                  <c:v>9090</c:v>
                </c:pt>
                <c:pt idx="3080">
                  <c:v>9133</c:v>
                </c:pt>
                <c:pt idx="3081">
                  <c:v>9140</c:v>
                </c:pt>
                <c:pt idx="3082">
                  <c:v>9178</c:v>
                </c:pt>
                <c:pt idx="3083">
                  <c:v>9156</c:v>
                </c:pt>
                <c:pt idx="3084">
                  <c:v>9123</c:v>
                </c:pt>
                <c:pt idx="3085">
                  <c:v>9095</c:v>
                </c:pt>
                <c:pt idx="3086">
                  <c:v>9113</c:v>
                </c:pt>
                <c:pt idx="3087">
                  <c:v>9095</c:v>
                </c:pt>
                <c:pt idx="3088">
                  <c:v>9098</c:v>
                </c:pt>
                <c:pt idx="3089">
                  <c:v>9130</c:v>
                </c:pt>
                <c:pt idx="3090">
                  <c:v>9160</c:v>
                </c:pt>
                <c:pt idx="3091">
                  <c:v>9113</c:v>
                </c:pt>
                <c:pt idx="3092">
                  <c:v>9123</c:v>
                </c:pt>
                <c:pt idx="3093">
                  <c:v>9135</c:v>
                </c:pt>
                <c:pt idx="3094">
                  <c:v>9135</c:v>
                </c:pt>
                <c:pt idx="3095">
                  <c:v>9173</c:v>
                </c:pt>
                <c:pt idx="3096">
                  <c:v>9185</c:v>
                </c:pt>
                <c:pt idx="3097">
                  <c:v>9223</c:v>
                </c:pt>
                <c:pt idx="3098">
                  <c:v>9360</c:v>
                </c:pt>
                <c:pt idx="3099">
                  <c:v>9320</c:v>
                </c:pt>
                <c:pt idx="3100">
                  <c:v>9335</c:v>
                </c:pt>
                <c:pt idx="3101">
                  <c:v>9350</c:v>
                </c:pt>
                <c:pt idx="3102">
                  <c:v>9425</c:v>
                </c:pt>
                <c:pt idx="3103">
                  <c:v>9390</c:v>
                </c:pt>
                <c:pt idx="3104">
                  <c:v>9361</c:v>
                </c:pt>
                <c:pt idx="3105">
                  <c:v>9380</c:v>
                </c:pt>
                <c:pt idx="3106">
                  <c:v>9403</c:v>
                </c:pt>
                <c:pt idx="3107">
                  <c:v>9418</c:v>
                </c:pt>
                <c:pt idx="3108">
                  <c:v>9383</c:v>
                </c:pt>
                <c:pt idx="3109">
                  <c:v>9365</c:v>
                </c:pt>
                <c:pt idx="3110">
                  <c:v>9328</c:v>
                </c:pt>
                <c:pt idx="3111">
                  <c:v>9293</c:v>
                </c:pt>
                <c:pt idx="3112">
                  <c:v>9265</c:v>
                </c:pt>
                <c:pt idx="3113">
                  <c:v>9273</c:v>
                </c:pt>
                <c:pt idx="3114">
                  <c:v>9273</c:v>
                </c:pt>
                <c:pt idx="3115">
                  <c:v>9260</c:v>
                </c:pt>
                <c:pt idx="3116">
                  <c:v>9270</c:v>
                </c:pt>
                <c:pt idx="3117">
                  <c:v>9298</c:v>
                </c:pt>
                <c:pt idx="3118">
                  <c:v>9310</c:v>
                </c:pt>
                <c:pt idx="3119">
                  <c:v>9329</c:v>
                </c:pt>
                <c:pt idx="3120">
                  <c:v>9418</c:v>
                </c:pt>
                <c:pt idx="3121">
                  <c:v>9395</c:v>
                </c:pt>
                <c:pt idx="3122">
                  <c:v>9430</c:v>
                </c:pt>
                <c:pt idx="3123">
                  <c:v>9425</c:v>
                </c:pt>
                <c:pt idx="3124">
                  <c:v>9425</c:v>
                </c:pt>
                <c:pt idx="3125">
                  <c:v>9415</c:v>
                </c:pt>
                <c:pt idx="3126">
                  <c:v>9405</c:v>
                </c:pt>
                <c:pt idx="3127">
                  <c:v>9418</c:v>
                </c:pt>
                <c:pt idx="3128">
                  <c:v>9418</c:v>
                </c:pt>
                <c:pt idx="3129">
                  <c:v>9395</c:v>
                </c:pt>
                <c:pt idx="3130">
                  <c:v>9393</c:v>
                </c:pt>
                <c:pt idx="3131">
                  <c:v>9393</c:v>
                </c:pt>
                <c:pt idx="3132">
                  <c:v>9390</c:v>
                </c:pt>
                <c:pt idx="3133">
                  <c:v>9412</c:v>
                </c:pt>
                <c:pt idx="3134">
                  <c:v>9438</c:v>
                </c:pt>
                <c:pt idx="3135">
                  <c:v>9455</c:v>
                </c:pt>
                <c:pt idx="3136">
                  <c:v>9454</c:v>
                </c:pt>
                <c:pt idx="3137">
                  <c:v>9440</c:v>
                </c:pt>
                <c:pt idx="3138">
                  <c:v>9438</c:v>
                </c:pt>
                <c:pt idx="3139">
                  <c:v>9436</c:v>
                </c:pt>
                <c:pt idx="3140">
                  <c:v>9433</c:v>
                </c:pt>
                <c:pt idx="3141">
                  <c:v>9430</c:v>
                </c:pt>
                <c:pt idx="3142">
                  <c:v>9445</c:v>
                </c:pt>
                <c:pt idx="3143">
                  <c:v>9455</c:v>
                </c:pt>
                <c:pt idx="3144">
                  <c:v>9445</c:v>
                </c:pt>
                <c:pt idx="3145">
                  <c:v>9460</c:v>
                </c:pt>
                <c:pt idx="3146">
                  <c:v>9475</c:v>
                </c:pt>
                <c:pt idx="3147">
                  <c:v>9391</c:v>
                </c:pt>
                <c:pt idx="3148">
                  <c:v>9377</c:v>
                </c:pt>
                <c:pt idx="3149">
                  <c:v>9328</c:v>
                </c:pt>
                <c:pt idx="3150">
                  <c:v>9350</c:v>
                </c:pt>
                <c:pt idx="3151">
                  <c:v>9320</c:v>
                </c:pt>
                <c:pt idx="3152">
                  <c:v>9300</c:v>
                </c:pt>
                <c:pt idx="3153">
                  <c:v>9247</c:v>
                </c:pt>
                <c:pt idx="3154">
                  <c:v>9208</c:v>
                </c:pt>
                <c:pt idx="3155">
                  <c:v>9215</c:v>
                </c:pt>
                <c:pt idx="3156">
                  <c:v>9210</c:v>
                </c:pt>
                <c:pt idx="3157">
                  <c:v>9242</c:v>
                </c:pt>
                <c:pt idx="3158">
                  <c:v>9242</c:v>
                </c:pt>
                <c:pt idx="3159">
                  <c:v>9238</c:v>
                </c:pt>
                <c:pt idx="3160">
                  <c:v>9275</c:v>
                </c:pt>
                <c:pt idx="3161">
                  <c:v>9265</c:v>
                </c:pt>
                <c:pt idx="3162">
                  <c:v>9260</c:v>
                </c:pt>
                <c:pt idx="3163">
                  <c:v>9215</c:v>
                </c:pt>
                <c:pt idx="3164">
                  <c:v>9167</c:v>
                </c:pt>
                <c:pt idx="3165">
                  <c:v>9161</c:v>
                </c:pt>
                <c:pt idx="3166">
                  <c:v>9160</c:v>
                </c:pt>
                <c:pt idx="3167">
                  <c:v>9190</c:v>
                </c:pt>
                <c:pt idx="3168">
                  <c:v>9165</c:v>
                </c:pt>
                <c:pt idx="3169">
                  <c:v>9176</c:v>
                </c:pt>
                <c:pt idx="3170">
                  <c:v>9130</c:v>
                </c:pt>
                <c:pt idx="3171">
                  <c:v>9095</c:v>
                </c:pt>
                <c:pt idx="3172">
                  <c:v>9055</c:v>
                </c:pt>
                <c:pt idx="3173">
                  <c:v>9075</c:v>
                </c:pt>
                <c:pt idx="3174">
                  <c:v>9065</c:v>
                </c:pt>
                <c:pt idx="3175">
                  <c:v>9110</c:v>
                </c:pt>
                <c:pt idx="3176">
                  <c:v>9085</c:v>
                </c:pt>
                <c:pt idx="3177">
                  <c:v>9089</c:v>
                </c:pt>
                <c:pt idx="3178">
                  <c:v>9060</c:v>
                </c:pt>
                <c:pt idx="3179">
                  <c:v>9080</c:v>
                </c:pt>
                <c:pt idx="3180">
                  <c:v>9183</c:v>
                </c:pt>
                <c:pt idx="3181">
                  <c:v>9185</c:v>
                </c:pt>
                <c:pt idx="3182">
                  <c:v>9160</c:v>
                </c:pt>
                <c:pt idx="3183">
                  <c:v>9225</c:v>
                </c:pt>
                <c:pt idx="3184">
                  <c:v>9230</c:v>
                </c:pt>
                <c:pt idx="3185">
                  <c:v>9265</c:v>
                </c:pt>
                <c:pt idx="3186">
                  <c:v>9185</c:v>
                </c:pt>
                <c:pt idx="3187">
                  <c:v>9185</c:v>
                </c:pt>
                <c:pt idx="3188">
                  <c:v>9235</c:v>
                </c:pt>
                <c:pt idx="3189">
                  <c:v>9180</c:v>
                </c:pt>
                <c:pt idx="3190">
                  <c:v>9210</c:v>
                </c:pt>
                <c:pt idx="3191">
                  <c:v>9185</c:v>
                </c:pt>
                <c:pt idx="3192">
                  <c:v>9180</c:v>
                </c:pt>
                <c:pt idx="3193">
                  <c:v>9205</c:v>
                </c:pt>
                <c:pt idx="3194">
                  <c:v>9205</c:v>
                </c:pt>
                <c:pt idx="3195">
                  <c:v>9220</c:v>
                </c:pt>
                <c:pt idx="3196">
                  <c:v>9240</c:v>
                </c:pt>
                <c:pt idx="3197">
                  <c:v>9215</c:v>
                </c:pt>
                <c:pt idx="3198">
                  <c:v>9215</c:v>
                </c:pt>
                <c:pt idx="3199">
                  <c:v>9230</c:v>
                </c:pt>
                <c:pt idx="3200">
                  <c:v>9217</c:v>
                </c:pt>
                <c:pt idx="3201">
                  <c:v>9208</c:v>
                </c:pt>
                <c:pt idx="3202">
                  <c:v>9200</c:v>
                </c:pt>
                <c:pt idx="3203">
                  <c:v>9193</c:v>
                </c:pt>
                <c:pt idx="3204">
                  <c:v>9170</c:v>
                </c:pt>
                <c:pt idx="3205">
                  <c:v>9200</c:v>
                </c:pt>
                <c:pt idx="3206">
                  <c:v>9195</c:v>
                </c:pt>
                <c:pt idx="3207">
                  <c:v>9191</c:v>
                </c:pt>
                <c:pt idx="3208">
                  <c:v>9202</c:v>
                </c:pt>
                <c:pt idx="3209">
                  <c:v>9185</c:v>
                </c:pt>
                <c:pt idx="3210">
                  <c:v>9190</c:v>
                </c:pt>
                <c:pt idx="3211">
                  <c:v>9190</c:v>
                </c:pt>
                <c:pt idx="3212">
                  <c:v>9225</c:v>
                </c:pt>
                <c:pt idx="3213">
                  <c:v>9220</c:v>
                </c:pt>
                <c:pt idx="3214">
                  <c:v>9225</c:v>
                </c:pt>
                <c:pt idx="3215">
                  <c:v>9215</c:v>
                </c:pt>
                <c:pt idx="3216">
                  <c:v>9220</c:v>
                </c:pt>
                <c:pt idx="3217">
                  <c:v>9241</c:v>
                </c:pt>
                <c:pt idx="3218">
                  <c:v>9225</c:v>
                </c:pt>
                <c:pt idx="3219">
                  <c:v>9226</c:v>
                </c:pt>
                <c:pt idx="3220">
                  <c:v>9220</c:v>
                </c:pt>
                <c:pt idx="3221">
                  <c:v>9217</c:v>
                </c:pt>
                <c:pt idx="3222">
                  <c:v>9265</c:v>
                </c:pt>
                <c:pt idx="3223">
                  <c:v>9236</c:v>
                </c:pt>
                <c:pt idx="3224">
                  <c:v>9256</c:v>
                </c:pt>
                <c:pt idx="3225">
                  <c:v>9251</c:v>
                </c:pt>
                <c:pt idx="3226">
                  <c:v>9295</c:v>
                </c:pt>
                <c:pt idx="3227">
                  <c:v>9294</c:v>
                </c:pt>
                <c:pt idx="3228">
                  <c:v>9276</c:v>
                </c:pt>
                <c:pt idx="3229">
                  <c:v>9285</c:v>
                </c:pt>
                <c:pt idx="3230">
                  <c:v>9311</c:v>
                </c:pt>
                <c:pt idx="3231">
                  <c:v>9305</c:v>
                </c:pt>
                <c:pt idx="3232">
                  <c:v>9335</c:v>
                </c:pt>
                <c:pt idx="3233">
                  <c:v>9309</c:v>
                </c:pt>
                <c:pt idx="3234">
                  <c:v>9350</c:v>
                </c:pt>
                <c:pt idx="3235">
                  <c:v>9337</c:v>
                </c:pt>
                <c:pt idx="3236">
                  <c:v>9325</c:v>
                </c:pt>
                <c:pt idx="3237">
                  <c:v>9322</c:v>
                </c:pt>
                <c:pt idx="3238">
                  <c:v>9322</c:v>
                </c:pt>
                <c:pt idx="3239">
                  <c:v>9305</c:v>
                </c:pt>
                <c:pt idx="3240">
                  <c:v>9315</c:v>
                </c:pt>
                <c:pt idx="3241">
                  <c:v>9318</c:v>
                </c:pt>
                <c:pt idx="3242">
                  <c:v>9318</c:v>
                </c:pt>
                <c:pt idx="3243">
                  <c:v>9310</c:v>
                </c:pt>
                <c:pt idx="3244">
                  <c:v>9330</c:v>
                </c:pt>
                <c:pt idx="3245">
                  <c:v>9337</c:v>
                </c:pt>
                <c:pt idx="3246">
                  <c:v>9297</c:v>
                </c:pt>
                <c:pt idx="3247">
                  <c:v>9320</c:v>
                </c:pt>
                <c:pt idx="3248">
                  <c:v>9310</c:v>
                </c:pt>
                <c:pt idx="3249">
                  <c:v>9315</c:v>
                </c:pt>
                <c:pt idx="3250">
                  <c:v>9306</c:v>
                </c:pt>
                <c:pt idx="3251">
                  <c:v>9285</c:v>
                </c:pt>
                <c:pt idx="3252">
                  <c:v>9287</c:v>
                </c:pt>
                <c:pt idx="3253">
                  <c:v>9260</c:v>
                </c:pt>
                <c:pt idx="3254">
                  <c:v>9264</c:v>
                </c:pt>
                <c:pt idx="3255">
                  <c:v>9263</c:v>
                </c:pt>
                <c:pt idx="3256">
                  <c:v>9257</c:v>
                </c:pt>
                <c:pt idx="3257">
                  <c:v>9202</c:v>
                </c:pt>
                <c:pt idx="3258">
                  <c:v>9215</c:v>
                </c:pt>
                <c:pt idx="3259">
                  <c:v>9226</c:v>
                </c:pt>
                <c:pt idx="3260">
                  <c:v>9220</c:v>
                </c:pt>
                <c:pt idx="3261">
                  <c:v>9215</c:v>
                </c:pt>
                <c:pt idx="3262">
                  <c:v>9212</c:v>
                </c:pt>
                <c:pt idx="3263">
                  <c:v>9212</c:v>
                </c:pt>
                <c:pt idx="3264">
                  <c:v>9211</c:v>
                </c:pt>
                <c:pt idx="3265">
                  <c:v>9208</c:v>
                </c:pt>
                <c:pt idx="3266">
                  <c:v>9173</c:v>
                </c:pt>
                <c:pt idx="3267">
                  <c:v>9159</c:v>
                </c:pt>
                <c:pt idx="3268">
                  <c:v>9162</c:v>
                </c:pt>
                <c:pt idx="3269">
                  <c:v>9156</c:v>
                </c:pt>
                <c:pt idx="3270">
                  <c:v>9140</c:v>
                </c:pt>
                <c:pt idx="3271">
                  <c:v>9141</c:v>
                </c:pt>
                <c:pt idx="3272">
                  <c:v>9148</c:v>
                </c:pt>
                <c:pt idx="3273">
                  <c:v>9152</c:v>
                </c:pt>
                <c:pt idx="3274">
                  <c:v>9152</c:v>
                </c:pt>
                <c:pt idx="3275">
                  <c:v>9153</c:v>
                </c:pt>
                <c:pt idx="3276">
                  <c:v>9143</c:v>
                </c:pt>
                <c:pt idx="3277">
                  <c:v>9142</c:v>
                </c:pt>
                <c:pt idx="3278">
                  <c:v>9120</c:v>
                </c:pt>
                <c:pt idx="3279">
                  <c:v>9125</c:v>
                </c:pt>
                <c:pt idx="3280">
                  <c:v>9129</c:v>
                </c:pt>
                <c:pt idx="3281">
                  <c:v>9116</c:v>
                </c:pt>
                <c:pt idx="3282">
                  <c:v>9095</c:v>
                </c:pt>
                <c:pt idx="3283">
                  <c:v>9096</c:v>
                </c:pt>
                <c:pt idx="3284">
                  <c:v>9087</c:v>
                </c:pt>
                <c:pt idx="3285">
                  <c:v>9077</c:v>
                </c:pt>
                <c:pt idx="3286">
                  <c:v>9073</c:v>
                </c:pt>
                <c:pt idx="3287">
                  <c:v>9100</c:v>
                </c:pt>
                <c:pt idx="3288">
                  <c:v>9170</c:v>
                </c:pt>
                <c:pt idx="3289">
                  <c:v>9196</c:v>
                </c:pt>
                <c:pt idx="3290">
                  <c:v>9187</c:v>
                </c:pt>
                <c:pt idx="3291">
                  <c:v>9185</c:v>
                </c:pt>
                <c:pt idx="3292">
                  <c:v>9180</c:v>
                </c:pt>
                <c:pt idx="3293">
                  <c:v>9190</c:v>
                </c:pt>
                <c:pt idx="3294">
                  <c:v>9188</c:v>
                </c:pt>
                <c:pt idx="3295">
                  <c:v>9190</c:v>
                </c:pt>
                <c:pt idx="3296">
                  <c:v>9165</c:v>
                </c:pt>
                <c:pt idx="3297">
                  <c:v>9165</c:v>
                </c:pt>
                <c:pt idx="3298">
                  <c:v>9140</c:v>
                </c:pt>
                <c:pt idx="3299">
                  <c:v>9160</c:v>
                </c:pt>
                <c:pt idx="3300">
                  <c:v>9186</c:v>
                </c:pt>
                <c:pt idx="3301">
                  <c:v>9163</c:v>
                </c:pt>
                <c:pt idx="3302">
                  <c:v>9145</c:v>
                </c:pt>
                <c:pt idx="3303">
                  <c:v>9153</c:v>
                </c:pt>
                <c:pt idx="3304">
                  <c:v>9167</c:v>
                </c:pt>
                <c:pt idx="3305">
                  <c:v>9213</c:v>
                </c:pt>
                <c:pt idx="3306">
                  <c:v>9212</c:v>
                </c:pt>
                <c:pt idx="3307">
                  <c:v>9254</c:v>
                </c:pt>
                <c:pt idx="3308">
                  <c:v>9375</c:v>
                </c:pt>
                <c:pt idx="3309">
                  <c:v>9310</c:v>
                </c:pt>
                <c:pt idx="3310">
                  <c:v>9302</c:v>
                </c:pt>
                <c:pt idx="3311">
                  <c:v>9358</c:v>
                </c:pt>
                <c:pt idx="3312">
                  <c:v>9487</c:v>
                </c:pt>
                <c:pt idx="3313">
                  <c:v>9435</c:v>
                </c:pt>
                <c:pt idx="3314">
                  <c:v>9475</c:v>
                </c:pt>
                <c:pt idx="3315">
                  <c:v>9453</c:v>
                </c:pt>
                <c:pt idx="3316">
                  <c:v>9403</c:v>
                </c:pt>
                <c:pt idx="3317">
                  <c:v>9400</c:v>
                </c:pt>
                <c:pt idx="3318">
                  <c:v>9375</c:v>
                </c:pt>
                <c:pt idx="3319">
                  <c:v>9290</c:v>
                </c:pt>
                <c:pt idx="3320">
                  <c:v>9330</c:v>
                </c:pt>
                <c:pt idx="3321">
                  <c:v>9335</c:v>
                </c:pt>
                <c:pt idx="3322">
                  <c:v>9383</c:v>
                </c:pt>
                <c:pt idx="3323">
                  <c:v>9385</c:v>
                </c:pt>
                <c:pt idx="3324">
                  <c:v>9443</c:v>
                </c:pt>
                <c:pt idx="3325">
                  <c:v>9590</c:v>
                </c:pt>
                <c:pt idx="3326">
                  <c:v>9478</c:v>
                </c:pt>
                <c:pt idx="3327">
                  <c:v>9430</c:v>
                </c:pt>
                <c:pt idx="3328">
                  <c:v>9575</c:v>
                </c:pt>
                <c:pt idx="3329">
                  <c:v>9565</c:v>
                </c:pt>
                <c:pt idx="3330">
                  <c:v>9658</c:v>
                </c:pt>
                <c:pt idx="3331">
                  <c:v>9635</c:v>
                </c:pt>
                <c:pt idx="3332">
                  <c:v>9953</c:v>
                </c:pt>
                <c:pt idx="3333">
                  <c:v>9820</c:v>
                </c:pt>
                <c:pt idx="3334">
                  <c:v>9770</c:v>
                </c:pt>
                <c:pt idx="3335">
                  <c:v>9780</c:v>
                </c:pt>
                <c:pt idx="3336">
                  <c:v>9875</c:v>
                </c:pt>
                <c:pt idx="3337">
                  <c:v>9810</c:v>
                </c:pt>
                <c:pt idx="3338">
                  <c:v>9896</c:v>
                </c:pt>
                <c:pt idx="3339">
                  <c:v>9850</c:v>
                </c:pt>
                <c:pt idx="3340">
                  <c:v>9974</c:v>
                </c:pt>
                <c:pt idx="3341">
                  <c:v>9985</c:v>
                </c:pt>
                <c:pt idx="3342">
                  <c:v>10225</c:v>
                </c:pt>
                <c:pt idx="3343">
                  <c:v>10950</c:v>
                </c:pt>
                <c:pt idx="3344">
                  <c:v>10900</c:v>
                </c:pt>
                <c:pt idx="3345">
                  <c:v>10900</c:v>
                </c:pt>
                <c:pt idx="3346">
                  <c:v>10700</c:v>
                </c:pt>
                <c:pt idx="3347">
                  <c:v>10975</c:v>
                </c:pt>
                <c:pt idx="3348">
                  <c:v>10975</c:v>
                </c:pt>
                <c:pt idx="3349">
                  <c:v>10900</c:v>
                </c:pt>
                <c:pt idx="3350">
                  <c:v>10925</c:v>
                </c:pt>
                <c:pt idx="3351">
                  <c:v>10938</c:v>
                </c:pt>
                <c:pt idx="3352">
                  <c:v>10900</c:v>
                </c:pt>
                <c:pt idx="3353">
                  <c:v>11100</c:v>
                </c:pt>
                <c:pt idx="3354">
                  <c:v>11300</c:v>
                </c:pt>
                <c:pt idx="3355">
                  <c:v>11575</c:v>
                </c:pt>
                <c:pt idx="3356">
                  <c:v>11625</c:v>
                </c:pt>
                <c:pt idx="3357">
                  <c:v>11575</c:v>
                </c:pt>
                <c:pt idx="3358">
                  <c:v>11850</c:v>
                </c:pt>
                <c:pt idx="3359">
                  <c:v>11850</c:v>
                </c:pt>
                <c:pt idx="3360">
                  <c:v>12200</c:v>
                </c:pt>
                <c:pt idx="3361">
                  <c:v>12300</c:v>
                </c:pt>
                <c:pt idx="3362">
                  <c:v>12100</c:v>
                </c:pt>
                <c:pt idx="3363">
                  <c:v>12700</c:v>
                </c:pt>
                <c:pt idx="3364">
                  <c:v>12550</c:v>
                </c:pt>
                <c:pt idx="3365">
                  <c:v>12550</c:v>
                </c:pt>
                <c:pt idx="3366">
                  <c:v>12100</c:v>
                </c:pt>
                <c:pt idx="3367">
                  <c:v>12100</c:v>
                </c:pt>
                <c:pt idx="3368">
                  <c:v>12100</c:v>
                </c:pt>
                <c:pt idx="3369">
                  <c:v>12050</c:v>
                </c:pt>
                <c:pt idx="3370">
                  <c:v>11950</c:v>
                </c:pt>
                <c:pt idx="3371">
                  <c:v>11825</c:v>
                </c:pt>
                <c:pt idx="3372">
                  <c:v>11750</c:v>
                </c:pt>
                <c:pt idx="3373">
                  <c:v>11650</c:v>
                </c:pt>
                <c:pt idx="3374">
                  <c:v>10925</c:v>
                </c:pt>
                <c:pt idx="3375">
                  <c:v>10925</c:v>
                </c:pt>
                <c:pt idx="3376">
                  <c:v>11030</c:v>
                </c:pt>
                <c:pt idx="3377">
                  <c:v>11125</c:v>
                </c:pt>
                <c:pt idx="3378">
                  <c:v>11150</c:v>
                </c:pt>
                <c:pt idx="3379">
                  <c:v>11108</c:v>
                </c:pt>
                <c:pt idx="3380">
                  <c:v>10980</c:v>
                </c:pt>
                <c:pt idx="3381">
                  <c:v>11075</c:v>
                </c:pt>
                <c:pt idx="3382">
                  <c:v>10978</c:v>
                </c:pt>
                <c:pt idx="3383">
                  <c:v>11050</c:v>
                </c:pt>
                <c:pt idx="3384">
                  <c:v>11000</c:v>
                </c:pt>
                <c:pt idx="3385">
                  <c:v>11050</c:v>
                </c:pt>
                <c:pt idx="3386">
                  <c:v>10925</c:v>
                </c:pt>
                <c:pt idx="3387">
                  <c:v>11144</c:v>
                </c:pt>
                <c:pt idx="3388">
                  <c:v>11213</c:v>
                </c:pt>
                <c:pt idx="3389">
                  <c:v>11038</c:v>
                </c:pt>
                <c:pt idx="3390">
                  <c:v>11120</c:v>
                </c:pt>
                <c:pt idx="3391">
                  <c:v>10875</c:v>
                </c:pt>
                <c:pt idx="3392">
                  <c:v>11015</c:v>
                </c:pt>
                <c:pt idx="3393">
                  <c:v>11013</c:v>
                </c:pt>
                <c:pt idx="3394">
                  <c:v>11090</c:v>
                </c:pt>
                <c:pt idx="3395">
                  <c:v>10805</c:v>
                </c:pt>
                <c:pt idx="3396">
                  <c:v>10950</c:v>
                </c:pt>
                <c:pt idx="3397">
                  <c:v>10975</c:v>
                </c:pt>
                <c:pt idx="3398">
                  <c:v>11200</c:v>
                </c:pt>
                <c:pt idx="3399">
                  <c:v>11240</c:v>
                </c:pt>
                <c:pt idx="3400">
                  <c:v>11017</c:v>
                </c:pt>
                <c:pt idx="3401">
                  <c:v>11198</c:v>
                </c:pt>
                <c:pt idx="3402">
                  <c:v>11143</c:v>
                </c:pt>
                <c:pt idx="3403">
                  <c:v>11211</c:v>
                </c:pt>
                <c:pt idx="3404">
                  <c:v>11210</c:v>
                </c:pt>
                <c:pt idx="3405">
                  <c:v>11205</c:v>
                </c:pt>
                <c:pt idx="3406">
                  <c:v>11213</c:v>
                </c:pt>
                <c:pt idx="3407">
                  <c:v>11350</c:v>
                </c:pt>
                <c:pt idx="3408">
                  <c:v>11250</c:v>
                </c:pt>
                <c:pt idx="3409">
                  <c:v>11330</c:v>
                </c:pt>
                <c:pt idx="3410">
                  <c:v>11351</c:v>
                </c:pt>
                <c:pt idx="3411">
                  <c:v>11335</c:v>
                </c:pt>
                <c:pt idx="3412">
                  <c:v>11375</c:v>
                </c:pt>
                <c:pt idx="3413">
                  <c:v>11650</c:v>
                </c:pt>
                <c:pt idx="3414">
                  <c:v>11710</c:v>
                </c:pt>
                <c:pt idx="3415">
                  <c:v>11725</c:v>
                </c:pt>
                <c:pt idx="3416">
                  <c:v>11825</c:v>
                </c:pt>
                <c:pt idx="3417">
                  <c:v>11750</c:v>
                </c:pt>
                <c:pt idx="3418">
                  <c:v>11738</c:v>
                </c:pt>
                <c:pt idx="3419">
                  <c:v>11823</c:v>
                </c:pt>
                <c:pt idx="3420">
                  <c:v>11830</c:v>
                </c:pt>
                <c:pt idx="3421">
                  <c:v>11818</c:v>
                </c:pt>
                <c:pt idx="3422">
                  <c:v>11866</c:v>
                </c:pt>
                <c:pt idx="3423">
                  <c:v>11800</c:v>
                </c:pt>
                <c:pt idx="3424">
                  <c:v>12040</c:v>
                </c:pt>
                <c:pt idx="3425">
                  <c:v>12030</c:v>
                </c:pt>
                <c:pt idx="3426">
                  <c:v>11975</c:v>
                </c:pt>
                <c:pt idx="3427">
                  <c:v>12100</c:v>
                </c:pt>
                <c:pt idx="3428">
                  <c:v>11930</c:v>
                </c:pt>
                <c:pt idx="3429">
                  <c:v>11969</c:v>
                </c:pt>
                <c:pt idx="3430">
                  <c:v>11935</c:v>
                </c:pt>
                <c:pt idx="3431">
                  <c:v>12010</c:v>
                </c:pt>
                <c:pt idx="3432">
                  <c:v>12000</c:v>
                </c:pt>
                <c:pt idx="3433">
                  <c:v>12010</c:v>
                </c:pt>
                <c:pt idx="3434">
                  <c:v>12001</c:v>
                </c:pt>
                <c:pt idx="3435">
                  <c:v>12100</c:v>
                </c:pt>
                <c:pt idx="3436">
                  <c:v>12060</c:v>
                </c:pt>
                <c:pt idx="3437">
                  <c:v>12023</c:v>
                </c:pt>
                <c:pt idx="3438">
                  <c:v>12050</c:v>
                </c:pt>
                <c:pt idx="3439">
                  <c:v>11988</c:v>
                </c:pt>
                <c:pt idx="3440">
                  <c:v>11971</c:v>
                </c:pt>
                <c:pt idx="3441">
                  <c:v>11993</c:v>
                </c:pt>
                <c:pt idx="3442">
                  <c:v>11988</c:v>
                </c:pt>
                <c:pt idx="3443">
                  <c:v>11985</c:v>
                </c:pt>
                <c:pt idx="3444">
                  <c:v>11971</c:v>
                </c:pt>
                <c:pt idx="3445">
                  <c:v>11969</c:v>
                </c:pt>
                <c:pt idx="3446">
                  <c:v>11955</c:v>
                </c:pt>
                <c:pt idx="3447">
                  <c:v>11815</c:v>
                </c:pt>
                <c:pt idx="3448">
                  <c:v>11585</c:v>
                </c:pt>
                <c:pt idx="3449">
                  <c:v>11400</c:v>
                </c:pt>
                <c:pt idx="3450">
                  <c:v>11593</c:v>
                </c:pt>
                <c:pt idx="3451">
                  <c:v>11610</c:v>
                </c:pt>
                <c:pt idx="3452">
                  <c:v>11497</c:v>
                </c:pt>
                <c:pt idx="3453">
                  <c:v>11760</c:v>
                </c:pt>
                <c:pt idx="3454">
                  <c:v>11700</c:v>
                </c:pt>
                <c:pt idx="3455">
                  <c:v>11595</c:v>
                </c:pt>
                <c:pt idx="3456">
                  <c:v>11528</c:v>
                </c:pt>
                <c:pt idx="3457">
                  <c:v>11481</c:v>
                </c:pt>
                <c:pt idx="3458">
                  <c:v>11393</c:v>
                </c:pt>
                <c:pt idx="3459">
                  <c:v>11385</c:v>
                </c:pt>
                <c:pt idx="3460">
                  <c:v>11378</c:v>
                </c:pt>
                <c:pt idx="3461">
                  <c:v>11320</c:v>
                </c:pt>
                <c:pt idx="3462">
                  <c:v>11310</c:v>
                </c:pt>
                <c:pt idx="3463">
                  <c:v>11120</c:v>
                </c:pt>
                <c:pt idx="3464">
                  <c:v>10850</c:v>
                </c:pt>
                <c:pt idx="3465">
                  <c:v>10865</c:v>
                </c:pt>
                <c:pt idx="3466">
                  <c:v>10795</c:v>
                </c:pt>
                <c:pt idx="3467">
                  <c:v>10725</c:v>
                </c:pt>
                <c:pt idx="3468">
                  <c:v>10725</c:v>
                </c:pt>
                <c:pt idx="3469">
                  <c:v>10840</c:v>
                </c:pt>
                <c:pt idx="3470">
                  <c:v>10848</c:v>
                </c:pt>
                <c:pt idx="3471">
                  <c:v>10931</c:v>
                </c:pt>
                <c:pt idx="3472">
                  <c:v>10810</c:v>
                </c:pt>
                <c:pt idx="3473">
                  <c:v>10845</c:v>
                </c:pt>
                <c:pt idx="3474">
                  <c:v>10875</c:v>
                </c:pt>
                <c:pt idx="3475">
                  <c:v>10858</c:v>
                </c:pt>
                <c:pt idx="3476">
                  <c:v>10625</c:v>
                </c:pt>
                <c:pt idx="3477">
                  <c:v>10630</c:v>
                </c:pt>
                <c:pt idx="3478">
                  <c:v>10501</c:v>
                </c:pt>
                <c:pt idx="3479">
                  <c:v>10435</c:v>
                </c:pt>
                <c:pt idx="3480">
                  <c:v>10436</c:v>
                </c:pt>
                <c:pt idx="3481">
                  <c:v>10365</c:v>
                </c:pt>
                <c:pt idx="3482">
                  <c:v>10376</c:v>
                </c:pt>
                <c:pt idx="3483">
                  <c:v>10363</c:v>
                </c:pt>
                <c:pt idx="3484">
                  <c:v>10402</c:v>
                </c:pt>
                <c:pt idx="3485">
                  <c:v>10348</c:v>
                </c:pt>
                <c:pt idx="3486">
                  <c:v>10400</c:v>
                </c:pt>
                <c:pt idx="3487">
                  <c:v>10413</c:v>
                </c:pt>
                <c:pt idx="3488">
                  <c:v>10404</c:v>
                </c:pt>
                <c:pt idx="3489">
                  <c:v>10296</c:v>
                </c:pt>
                <c:pt idx="3490">
                  <c:v>10375</c:v>
                </c:pt>
                <c:pt idx="3491">
                  <c:v>10367</c:v>
                </c:pt>
                <c:pt idx="3492">
                  <c:v>10290</c:v>
                </c:pt>
                <c:pt idx="3493">
                  <c:v>10290</c:v>
                </c:pt>
                <c:pt idx="3494">
                  <c:v>10245</c:v>
                </c:pt>
                <c:pt idx="3495">
                  <c:v>10325</c:v>
                </c:pt>
                <c:pt idx="3496">
                  <c:v>10355</c:v>
                </c:pt>
                <c:pt idx="3497">
                  <c:v>10295</c:v>
                </c:pt>
                <c:pt idx="3498">
                  <c:v>10235</c:v>
                </c:pt>
                <c:pt idx="3499">
                  <c:v>10260</c:v>
                </c:pt>
                <c:pt idx="3500">
                  <c:v>10118</c:v>
                </c:pt>
                <c:pt idx="3501">
                  <c:v>10078</c:v>
                </c:pt>
                <c:pt idx="3502">
                  <c:v>9930</c:v>
                </c:pt>
                <c:pt idx="3503">
                  <c:v>10025</c:v>
                </c:pt>
                <c:pt idx="3504">
                  <c:v>10060</c:v>
                </c:pt>
                <c:pt idx="3505">
                  <c:v>10023</c:v>
                </c:pt>
                <c:pt idx="3506">
                  <c:v>10090</c:v>
                </c:pt>
                <c:pt idx="3507">
                  <c:v>10068</c:v>
                </c:pt>
                <c:pt idx="3508">
                  <c:v>10120</c:v>
                </c:pt>
                <c:pt idx="3509">
                  <c:v>10180</c:v>
                </c:pt>
                <c:pt idx="3510">
                  <c:v>10215</c:v>
                </c:pt>
                <c:pt idx="3511">
                  <c:v>10425</c:v>
                </c:pt>
                <c:pt idx="3512">
                  <c:v>10310</c:v>
                </c:pt>
                <c:pt idx="3513">
                  <c:v>10350</c:v>
                </c:pt>
                <c:pt idx="3514">
                  <c:v>10445</c:v>
                </c:pt>
                <c:pt idx="3515">
                  <c:v>10380</c:v>
                </c:pt>
                <c:pt idx="3516">
                  <c:v>10260</c:v>
                </c:pt>
                <c:pt idx="3517">
                  <c:v>10230</c:v>
                </c:pt>
                <c:pt idx="3518">
                  <c:v>10238</c:v>
                </c:pt>
                <c:pt idx="3519">
                  <c:v>10208</c:v>
                </c:pt>
                <c:pt idx="3520">
                  <c:v>10223</c:v>
                </c:pt>
                <c:pt idx="3521">
                  <c:v>10213</c:v>
                </c:pt>
                <c:pt idx="3522">
                  <c:v>10193</c:v>
                </c:pt>
                <c:pt idx="3523">
                  <c:v>10265</c:v>
                </c:pt>
                <c:pt idx="3524">
                  <c:v>10225</c:v>
                </c:pt>
                <c:pt idx="3525">
                  <c:v>10293</c:v>
                </c:pt>
                <c:pt idx="3526">
                  <c:v>10148</c:v>
                </c:pt>
                <c:pt idx="3527">
                  <c:v>10180</c:v>
                </c:pt>
                <c:pt idx="3528">
                  <c:v>10240</c:v>
                </c:pt>
                <c:pt idx="3529">
                  <c:v>10215</c:v>
                </c:pt>
                <c:pt idx="3530">
                  <c:v>10122</c:v>
                </c:pt>
                <c:pt idx="3531">
                  <c:v>10095</c:v>
                </c:pt>
                <c:pt idx="3532">
                  <c:v>10163</c:v>
                </c:pt>
                <c:pt idx="3533">
                  <c:v>10060</c:v>
                </c:pt>
                <c:pt idx="3534">
                  <c:v>10085</c:v>
                </c:pt>
                <c:pt idx="3535">
                  <c:v>10035</c:v>
                </c:pt>
                <c:pt idx="3536">
                  <c:v>9990</c:v>
                </c:pt>
                <c:pt idx="3537">
                  <c:v>9960</c:v>
                </c:pt>
                <c:pt idx="3538">
                  <c:v>9945</c:v>
                </c:pt>
                <c:pt idx="3539">
                  <c:v>9958</c:v>
                </c:pt>
                <c:pt idx="3540">
                  <c:v>9958</c:v>
                </c:pt>
                <c:pt idx="3541">
                  <c:v>9928</c:v>
                </c:pt>
                <c:pt idx="3542">
                  <c:v>9903</c:v>
                </c:pt>
                <c:pt idx="3543">
                  <c:v>9865</c:v>
                </c:pt>
                <c:pt idx="3544">
                  <c:v>9883</c:v>
                </c:pt>
                <c:pt idx="3545">
                  <c:v>9905</c:v>
                </c:pt>
                <c:pt idx="3546">
                  <c:v>9900</c:v>
                </c:pt>
                <c:pt idx="3547">
                  <c:v>9914</c:v>
                </c:pt>
                <c:pt idx="3548">
                  <c:v>9920</c:v>
                </c:pt>
                <c:pt idx="3549">
                  <c:v>9995</c:v>
                </c:pt>
                <c:pt idx="3550">
                  <c:v>9950</c:v>
                </c:pt>
                <c:pt idx="3551">
                  <c:v>9939</c:v>
                </c:pt>
                <c:pt idx="3552">
                  <c:v>9948</c:v>
                </c:pt>
                <c:pt idx="3553">
                  <c:v>9973</c:v>
                </c:pt>
                <c:pt idx="3554">
                  <c:v>10070</c:v>
                </c:pt>
                <c:pt idx="3555">
                  <c:v>10065</c:v>
                </c:pt>
                <c:pt idx="3556">
                  <c:v>10018</c:v>
                </c:pt>
                <c:pt idx="3557">
                  <c:v>10000</c:v>
                </c:pt>
                <c:pt idx="3558">
                  <c:v>10030</c:v>
                </c:pt>
                <c:pt idx="3559">
                  <c:v>10075</c:v>
                </c:pt>
                <c:pt idx="3560">
                  <c:v>10155</c:v>
                </c:pt>
                <c:pt idx="3561">
                  <c:v>10053</c:v>
                </c:pt>
                <c:pt idx="3562">
                  <c:v>10105</c:v>
                </c:pt>
                <c:pt idx="3563">
                  <c:v>10090</c:v>
                </c:pt>
                <c:pt idx="3564">
                  <c:v>10165</c:v>
                </c:pt>
                <c:pt idx="3565">
                  <c:v>10125</c:v>
                </c:pt>
                <c:pt idx="3566">
                  <c:v>10125</c:v>
                </c:pt>
                <c:pt idx="3567">
                  <c:v>10060</c:v>
                </c:pt>
                <c:pt idx="3568">
                  <c:v>10000</c:v>
                </c:pt>
                <c:pt idx="3569">
                  <c:v>9940</c:v>
                </c:pt>
                <c:pt idx="3570">
                  <c:v>9930</c:v>
                </c:pt>
                <c:pt idx="3571">
                  <c:v>9918</c:v>
                </c:pt>
                <c:pt idx="3572">
                  <c:v>9955</c:v>
                </c:pt>
                <c:pt idx="3573">
                  <c:v>9895</c:v>
                </c:pt>
                <c:pt idx="3574">
                  <c:v>9715</c:v>
                </c:pt>
                <c:pt idx="3575">
                  <c:v>9705</c:v>
                </c:pt>
                <c:pt idx="3576">
                  <c:v>9705</c:v>
                </c:pt>
                <c:pt idx="3577">
                  <c:v>9695</c:v>
                </c:pt>
                <c:pt idx="3578">
                  <c:v>9705</c:v>
                </c:pt>
                <c:pt idx="3579">
                  <c:v>9705</c:v>
                </c:pt>
                <c:pt idx="3580">
                  <c:v>9660</c:v>
                </c:pt>
                <c:pt idx="3581">
                  <c:v>9658</c:v>
                </c:pt>
                <c:pt idx="3582">
                  <c:v>9725</c:v>
                </c:pt>
                <c:pt idx="3583">
                  <c:v>9699</c:v>
                </c:pt>
                <c:pt idx="3584">
                  <c:v>9665</c:v>
                </c:pt>
                <c:pt idx="3585">
                  <c:v>9625</c:v>
                </c:pt>
                <c:pt idx="3586">
                  <c:v>9640</c:v>
                </c:pt>
                <c:pt idx="3587">
                  <c:v>9563</c:v>
                </c:pt>
                <c:pt idx="3588">
                  <c:v>9443</c:v>
                </c:pt>
                <c:pt idx="3589">
                  <c:v>9425</c:v>
                </c:pt>
                <c:pt idx="3590">
                  <c:v>9440</c:v>
                </c:pt>
                <c:pt idx="3591">
                  <c:v>9458</c:v>
                </c:pt>
                <c:pt idx="3592">
                  <c:v>9480</c:v>
                </c:pt>
                <c:pt idx="3593">
                  <c:v>9453</c:v>
                </c:pt>
                <c:pt idx="3594">
                  <c:v>9375</c:v>
                </c:pt>
                <c:pt idx="3595">
                  <c:v>9340</c:v>
                </c:pt>
                <c:pt idx="3596">
                  <c:v>9398</c:v>
                </c:pt>
                <c:pt idx="3597">
                  <c:v>9403</c:v>
                </c:pt>
                <c:pt idx="3598">
                  <c:v>9399</c:v>
                </c:pt>
                <c:pt idx="3599">
                  <c:v>9423</c:v>
                </c:pt>
                <c:pt idx="3600">
                  <c:v>9523</c:v>
                </c:pt>
                <c:pt idx="3601">
                  <c:v>9435</c:v>
                </c:pt>
                <c:pt idx="3602">
                  <c:v>9485</c:v>
                </c:pt>
                <c:pt idx="3603">
                  <c:v>9538</c:v>
                </c:pt>
                <c:pt idx="3604">
                  <c:v>9665</c:v>
                </c:pt>
                <c:pt idx="3605">
                  <c:v>9593</c:v>
                </c:pt>
                <c:pt idx="3606">
                  <c:v>9585</c:v>
                </c:pt>
                <c:pt idx="3607">
                  <c:v>9585</c:v>
                </c:pt>
                <c:pt idx="3608">
                  <c:v>9580</c:v>
                </c:pt>
                <c:pt idx="3609">
                  <c:v>9530</c:v>
                </c:pt>
                <c:pt idx="3610">
                  <c:v>9515</c:v>
                </c:pt>
                <c:pt idx="3611">
                  <c:v>9455</c:v>
                </c:pt>
                <c:pt idx="3612">
                  <c:v>9415</c:v>
                </c:pt>
                <c:pt idx="3613">
                  <c:v>9423</c:v>
                </c:pt>
                <c:pt idx="3614">
                  <c:v>9395</c:v>
                </c:pt>
                <c:pt idx="3615">
                  <c:v>9410</c:v>
                </c:pt>
                <c:pt idx="3616">
                  <c:v>9375</c:v>
                </c:pt>
                <c:pt idx="3617">
                  <c:v>9390</c:v>
                </c:pt>
                <c:pt idx="3618">
                  <c:v>9385</c:v>
                </c:pt>
                <c:pt idx="3619">
                  <c:v>9390</c:v>
                </c:pt>
                <c:pt idx="3620">
                  <c:v>9555</c:v>
                </c:pt>
                <c:pt idx="3621">
                  <c:v>9500</c:v>
                </c:pt>
                <c:pt idx="3622">
                  <c:v>9471</c:v>
                </c:pt>
                <c:pt idx="3623">
                  <c:v>9493</c:v>
                </c:pt>
                <c:pt idx="3624">
                  <c:v>9403</c:v>
                </c:pt>
                <c:pt idx="3625">
                  <c:v>9428</c:v>
                </c:pt>
                <c:pt idx="3626">
                  <c:v>9435</c:v>
                </c:pt>
                <c:pt idx="3627">
                  <c:v>9461</c:v>
                </c:pt>
                <c:pt idx="3628">
                  <c:v>9455</c:v>
                </c:pt>
                <c:pt idx="3629">
                  <c:v>9433</c:v>
                </c:pt>
                <c:pt idx="3630">
                  <c:v>9422</c:v>
                </c:pt>
                <c:pt idx="3631">
                  <c:v>9413</c:v>
                </c:pt>
                <c:pt idx="3632">
                  <c:v>9448</c:v>
                </c:pt>
                <c:pt idx="3633">
                  <c:v>9455</c:v>
                </c:pt>
                <c:pt idx="3634">
                  <c:v>9434</c:v>
                </c:pt>
                <c:pt idx="3635">
                  <c:v>9444</c:v>
                </c:pt>
                <c:pt idx="3636">
                  <c:v>9450</c:v>
                </c:pt>
                <c:pt idx="3637">
                  <c:v>9473</c:v>
                </c:pt>
                <c:pt idx="3638">
                  <c:v>9470</c:v>
                </c:pt>
                <c:pt idx="3639">
                  <c:v>9468</c:v>
                </c:pt>
                <c:pt idx="3640">
                  <c:v>9500</c:v>
                </c:pt>
                <c:pt idx="3641">
                  <c:v>9505</c:v>
                </c:pt>
                <c:pt idx="3642">
                  <c:v>9508</c:v>
                </c:pt>
                <c:pt idx="3643">
                  <c:v>9490</c:v>
                </c:pt>
                <c:pt idx="3644">
                  <c:v>9498</c:v>
                </c:pt>
                <c:pt idx="3645">
                  <c:v>9483</c:v>
                </c:pt>
                <c:pt idx="3646">
                  <c:v>9480</c:v>
                </c:pt>
                <c:pt idx="3647">
                  <c:v>9453</c:v>
                </c:pt>
                <c:pt idx="3648">
                  <c:v>9444</c:v>
                </c:pt>
                <c:pt idx="3649">
                  <c:v>9436</c:v>
                </c:pt>
                <c:pt idx="3650">
                  <c:v>9404</c:v>
                </c:pt>
                <c:pt idx="3651">
                  <c:v>9403</c:v>
                </c:pt>
                <c:pt idx="3652">
                  <c:v>9346</c:v>
                </c:pt>
                <c:pt idx="3653">
                  <c:v>9320</c:v>
                </c:pt>
                <c:pt idx="3654">
                  <c:v>9279</c:v>
                </c:pt>
                <c:pt idx="3655">
                  <c:v>9235</c:v>
                </c:pt>
                <c:pt idx="3656">
                  <c:v>9220</c:v>
                </c:pt>
                <c:pt idx="3657">
                  <c:v>9153</c:v>
                </c:pt>
                <c:pt idx="3658">
                  <c:v>9168</c:v>
                </c:pt>
                <c:pt idx="3659">
                  <c:v>9178</c:v>
                </c:pt>
                <c:pt idx="3660">
                  <c:v>9168</c:v>
                </c:pt>
                <c:pt idx="3661">
                  <c:v>9203</c:v>
                </c:pt>
                <c:pt idx="3662">
                  <c:v>9226</c:v>
                </c:pt>
                <c:pt idx="3663">
                  <c:v>9230</c:v>
                </c:pt>
                <c:pt idx="3664">
                  <c:v>9328</c:v>
                </c:pt>
                <c:pt idx="3665">
                  <c:v>9305</c:v>
                </c:pt>
                <c:pt idx="3666">
                  <c:v>9350</c:v>
                </c:pt>
                <c:pt idx="3667">
                  <c:v>9348</c:v>
                </c:pt>
                <c:pt idx="3668">
                  <c:v>9413</c:v>
                </c:pt>
                <c:pt idx="3669">
                  <c:v>9428</c:v>
                </c:pt>
                <c:pt idx="3670">
                  <c:v>9345</c:v>
                </c:pt>
                <c:pt idx="3671">
                  <c:v>9353</c:v>
                </c:pt>
                <c:pt idx="3672">
                  <c:v>9408</c:v>
                </c:pt>
                <c:pt idx="3673">
                  <c:v>9363</c:v>
                </c:pt>
                <c:pt idx="3674">
                  <c:v>9295</c:v>
                </c:pt>
                <c:pt idx="3675">
                  <c:v>9326</c:v>
                </c:pt>
                <c:pt idx="3676">
                  <c:v>9410</c:v>
                </c:pt>
                <c:pt idx="3677">
                  <c:v>9405</c:v>
                </c:pt>
                <c:pt idx="3678">
                  <c:v>9373</c:v>
                </c:pt>
                <c:pt idx="3679">
                  <c:v>9360</c:v>
                </c:pt>
                <c:pt idx="3680">
                  <c:v>9378</c:v>
                </c:pt>
                <c:pt idx="3681">
                  <c:v>9343</c:v>
                </c:pt>
                <c:pt idx="3682">
                  <c:v>9350</c:v>
                </c:pt>
                <c:pt idx="3683">
                  <c:v>9325</c:v>
                </c:pt>
                <c:pt idx="3684">
                  <c:v>9280</c:v>
                </c:pt>
                <c:pt idx="3685">
                  <c:v>9325</c:v>
                </c:pt>
                <c:pt idx="3686">
                  <c:v>9343</c:v>
                </c:pt>
                <c:pt idx="3687">
                  <c:v>9295</c:v>
                </c:pt>
                <c:pt idx="3688">
                  <c:v>9298</c:v>
                </c:pt>
                <c:pt idx="3689">
                  <c:v>9333</c:v>
                </c:pt>
                <c:pt idx="3690">
                  <c:v>9345</c:v>
                </c:pt>
                <c:pt idx="3691">
                  <c:v>9343</c:v>
                </c:pt>
                <c:pt idx="3692">
                  <c:v>9263</c:v>
                </c:pt>
                <c:pt idx="3693">
                  <c:v>9293</c:v>
                </c:pt>
                <c:pt idx="3694">
                  <c:v>9280</c:v>
                </c:pt>
                <c:pt idx="3695">
                  <c:v>9275</c:v>
                </c:pt>
                <c:pt idx="3696">
                  <c:v>9235</c:v>
                </c:pt>
                <c:pt idx="3697">
                  <c:v>9180</c:v>
                </c:pt>
                <c:pt idx="3698">
                  <c:v>9198</c:v>
                </c:pt>
                <c:pt idx="3699">
                  <c:v>9175</c:v>
                </c:pt>
                <c:pt idx="3700">
                  <c:v>9195</c:v>
                </c:pt>
                <c:pt idx="3701">
                  <c:v>9152</c:v>
                </c:pt>
                <c:pt idx="3702">
                  <c:v>9165</c:v>
                </c:pt>
                <c:pt idx="3703">
                  <c:v>9175</c:v>
                </c:pt>
                <c:pt idx="3704">
                  <c:v>9124</c:v>
                </c:pt>
                <c:pt idx="3705">
                  <c:v>9125</c:v>
                </c:pt>
                <c:pt idx="3706">
                  <c:v>9108</c:v>
                </c:pt>
                <c:pt idx="3707">
                  <c:v>9125</c:v>
                </c:pt>
                <c:pt idx="3708">
                  <c:v>9115</c:v>
                </c:pt>
                <c:pt idx="3709">
                  <c:v>9127</c:v>
                </c:pt>
                <c:pt idx="3710">
                  <c:v>9130</c:v>
                </c:pt>
                <c:pt idx="3711">
                  <c:v>9120</c:v>
                </c:pt>
                <c:pt idx="3712">
                  <c:v>9090</c:v>
                </c:pt>
                <c:pt idx="3713">
                  <c:v>9091</c:v>
                </c:pt>
                <c:pt idx="3714">
                  <c:v>9100</c:v>
                </c:pt>
                <c:pt idx="3715">
                  <c:v>9078</c:v>
                </c:pt>
                <c:pt idx="3716">
                  <c:v>9055</c:v>
                </c:pt>
                <c:pt idx="3717">
                  <c:v>9062</c:v>
                </c:pt>
                <c:pt idx="3718">
                  <c:v>9050</c:v>
                </c:pt>
                <c:pt idx="3719">
                  <c:v>9055</c:v>
                </c:pt>
                <c:pt idx="3720">
                  <c:v>9069</c:v>
                </c:pt>
                <c:pt idx="3721">
                  <c:v>9032</c:v>
                </c:pt>
                <c:pt idx="3722">
                  <c:v>9020</c:v>
                </c:pt>
                <c:pt idx="3723">
                  <c:v>9028</c:v>
                </c:pt>
                <c:pt idx="3724">
                  <c:v>9013</c:v>
                </c:pt>
                <c:pt idx="3725">
                  <c:v>9008</c:v>
                </c:pt>
                <c:pt idx="3726">
                  <c:v>9008</c:v>
                </c:pt>
                <c:pt idx="3727">
                  <c:v>9040</c:v>
                </c:pt>
                <c:pt idx="3728">
                  <c:v>9018</c:v>
                </c:pt>
                <c:pt idx="3729">
                  <c:v>9017</c:v>
                </c:pt>
                <c:pt idx="3730">
                  <c:v>9014</c:v>
                </c:pt>
                <c:pt idx="3731">
                  <c:v>9012</c:v>
                </c:pt>
                <c:pt idx="3732">
                  <c:v>9008</c:v>
                </c:pt>
                <c:pt idx="3733">
                  <c:v>9013</c:v>
                </c:pt>
                <c:pt idx="3734">
                  <c:v>9041</c:v>
                </c:pt>
                <c:pt idx="3735">
                  <c:v>9018</c:v>
                </c:pt>
                <c:pt idx="3736">
                  <c:v>9010</c:v>
                </c:pt>
                <c:pt idx="3737">
                  <c:v>9030</c:v>
                </c:pt>
                <c:pt idx="3738">
                  <c:v>9025</c:v>
                </c:pt>
                <c:pt idx="3739">
                  <c:v>9093</c:v>
                </c:pt>
                <c:pt idx="3740">
                  <c:v>9188</c:v>
                </c:pt>
                <c:pt idx="3741">
                  <c:v>9216</c:v>
                </c:pt>
                <c:pt idx="3742">
                  <c:v>9075</c:v>
                </c:pt>
                <c:pt idx="3743">
                  <c:v>9113</c:v>
                </c:pt>
                <c:pt idx="3744">
                  <c:v>9096</c:v>
                </c:pt>
                <c:pt idx="3745">
                  <c:v>9091</c:v>
                </c:pt>
                <c:pt idx="3746">
                  <c:v>9100</c:v>
                </c:pt>
                <c:pt idx="3747">
                  <c:v>9143</c:v>
                </c:pt>
                <c:pt idx="3748">
                  <c:v>9114</c:v>
                </c:pt>
                <c:pt idx="3749">
                  <c:v>9181</c:v>
                </c:pt>
                <c:pt idx="3750">
                  <c:v>9265</c:v>
                </c:pt>
                <c:pt idx="3751">
                  <c:v>9281</c:v>
                </c:pt>
                <c:pt idx="3752">
                  <c:v>9269</c:v>
                </c:pt>
                <c:pt idx="3753">
                  <c:v>9378</c:v>
                </c:pt>
                <c:pt idx="3754">
                  <c:v>9320</c:v>
                </c:pt>
                <c:pt idx="3755">
                  <c:v>9268</c:v>
                </c:pt>
                <c:pt idx="3756">
                  <c:v>9210</c:v>
                </c:pt>
                <c:pt idx="3757">
                  <c:v>9175</c:v>
                </c:pt>
                <c:pt idx="3758">
                  <c:v>9250</c:v>
                </c:pt>
                <c:pt idx="3759">
                  <c:v>9250</c:v>
                </c:pt>
                <c:pt idx="3760">
                  <c:v>9193</c:v>
                </c:pt>
                <c:pt idx="3761">
                  <c:v>9190</c:v>
                </c:pt>
                <c:pt idx="3762">
                  <c:v>9271</c:v>
                </c:pt>
                <c:pt idx="3763">
                  <c:v>9256</c:v>
                </c:pt>
                <c:pt idx="3764">
                  <c:v>9253</c:v>
                </c:pt>
                <c:pt idx="3765">
                  <c:v>9243</c:v>
                </c:pt>
                <c:pt idx="3766">
                  <c:v>9200</c:v>
                </c:pt>
                <c:pt idx="3767">
                  <c:v>9169</c:v>
                </c:pt>
                <c:pt idx="3768">
                  <c:v>9175</c:v>
                </c:pt>
                <c:pt idx="3769">
                  <c:v>9150</c:v>
                </c:pt>
                <c:pt idx="3770">
                  <c:v>9158</c:v>
                </c:pt>
                <c:pt idx="3771">
                  <c:v>9103</c:v>
                </c:pt>
                <c:pt idx="3772">
                  <c:v>9015</c:v>
                </c:pt>
                <c:pt idx="3773">
                  <c:v>9019</c:v>
                </c:pt>
                <c:pt idx="3774">
                  <c:v>9035</c:v>
                </c:pt>
                <c:pt idx="3775">
                  <c:v>9061</c:v>
                </c:pt>
                <c:pt idx="3776">
                  <c:v>9060</c:v>
                </c:pt>
                <c:pt idx="3777">
                  <c:v>9029</c:v>
                </c:pt>
                <c:pt idx="3778">
                  <c:v>9064</c:v>
                </c:pt>
                <c:pt idx="3779">
                  <c:v>9074</c:v>
                </c:pt>
                <c:pt idx="3780">
                  <c:v>9071</c:v>
                </c:pt>
                <c:pt idx="3781">
                  <c:v>9061</c:v>
                </c:pt>
                <c:pt idx="3782">
                  <c:v>9060</c:v>
                </c:pt>
                <c:pt idx="3783">
                  <c:v>9060</c:v>
                </c:pt>
                <c:pt idx="3784">
                  <c:v>9070</c:v>
                </c:pt>
                <c:pt idx="3785">
                  <c:v>9065</c:v>
                </c:pt>
                <c:pt idx="3786">
                  <c:v>9048</c:v>
                </c:pt>
                <c:pt idx="3787">
                  <c:v>9054</c:v>
                </c:pt>
                <c:pt idx="3788">
                  <c:v>9048</c:v>
                </c:pt>
                <c:pt idx="3789">
                  <c:v>9049</c:v>
                </c:pt>
                <c:pt idx="3790">
                  <c:v>9046</c:v>
                </c:pt>
                <c:pt idx="3791">
                  <c:v>9042</c:v>
                </c:pt>
                <c:pt idx="3792">
                  <c:v>9064</c:v>
                </c:pt>
                <c:pt idx="3793">
                  <c:v>9045</c:v>
                </c:pt>
                <c:pt idx="3794">
                  <c:v>9049</c:v>
                </c:pt>
                <c:pt idx="3795">
                  <c:v>9050</c:v>
                </c:pt>
                <c:pt idx="3796">
                  <c:v>9040</c:v>
                </c:pt>
                <c:pt idx="3797">
                  <c:v>9030</c:v>
                </c:pt>
                <c:pt idx="3798">
                  <c:v>9015</c:v>
                </c:pt>
                <c:pt idx="3799">
                  <c:v>9006</c:v>
                </c:pt>
                <c:pt idx="3800">
                  <c:v>8987</c:v>
                </c:pt>
                <c:pt idx="3801">
                  <c:v>8949</c:v>
                </c:pt>
                <c:pt idx="3802">
                  <c:v>8942</c:v>
                </c:pt>
                <c:pt idx="3803">
                  <c:v>8941</c:v>
                </c:pt>
                <c:pt idx="3804">
                  <c:v>8948</c:v>
                </c:pt>
                <c:pt idx="3805">
                  <c:v>8938</c:v>
                </c:pt>
                <c:pt idx="3806">
                  <c:v>8940</c:v>
                </c:pt>
                <c:pt idx="3807">
                  <c:v>8937</c:v>
                </c:pt>
                <c:pt idx="3808">
                  <c:v>8953</c:v>
                </c:pt>
                <c:pt idx="3809">
                  <c:v>8973</c:v>
                </c:pt>
                <c:pt idx="3810">
                  <c:v>9005</c:v>
                </c:pt>
                <c:pt idx="3811">
                  <c:v>8978</c:v>
                </c:pt>
                <c:pt idx="3812">
                  <c:v>8980</c:v>
                </c:pt>
                <c:pt idx="3813">
                  <c:v>8958</c:v>
                </c:pt>
                <c:pt idx="3814">
                  <c:v>8969</c:v>
                </c:pt>
                <c:pt idx="3815">
                  <c:v>8964</c:v>
                </c:pt>
                <c:pt idx="3816">
                  <c:v>8973</c:v>
                </c:pt>
                <c:pt idx="3817">
                  <c:v>8970</c:v>
                </c:pt>
                <c:pt idx="3818">
                  <c:v>8980</c:v>
                </c:pt>
                <c:pt idx="3819">
                  <c:v>8976</c:v>
                </c:pt>
                <c:pt idx="3820">
                  <c:v>8992</c:v>
                </c:pt>
                <c:pt idx="3821">
                  <c:v>9016</c:v>
                </c:pt>
                <c:pt idx="3822">
                  <c:v>9015</c:v>
                </c:pt>
                <c:pt idx="3823">
                  <c:v>9045</c:v>
                </c:pt>
                <c:pt idx="3824">
                  <c:v>9010</c:v>
                </c:pt>
                <c:pt idx="3825">
                  <c:v>9013</c:v>
                </c:pt>
                <c:pt idx="3826">
                  <c:v>9004</c:v>
                </c:pt>
                <c:pt idx="3827">
                  <c:v>8999</c:v>
                </c:pt>
                <c:pt idx="3828">
                  <c:v>9019</c:v>
                </c:pt>
                <c:pt idx="3829">
                  <c:v>9003</c:v>
                </c:pt>
                <c:pt idx="3830">
                  <c:v>8973</c:v>
                </c:pt>
                <c:pt idx="3831">
                  <c:v>8963</c:v>
                </c:pt>
                <c:pt idx="3832">
                  <c:v>8933</c:v>
                </c:pt>
                <c:pt idx="3833">
                  <c:v>8979</c:v>
                </c:pt>
                <c:pt idx="3834">
                  <c:v>8990</c:v>
                </c:pt>
                <c:pt idx="3835">
                  <c:v>8983</c:v>
                </c:pt>
                <c:pt idx="3836">
                  <c:v>8973</c:v>
                </c:pt>
                <c:pt idx="3837">
                  <c:v>8978</c:v>
                </c:pt>
                <c:pt idx="3838">
                  <c:v>8968</c:v>
                </c:pt>
                <c:pt idx="3839">
                  <c:v>8956</c:v>
                </c:pt>
                <c:pt idx="3840">
                  <c:v>8961</c:v>
                </c:pt>
                <c:pt idx="3841">
                  <c:v>8958</c:v>
                </c:pt>
                <c:pt idx="3842">
                  <c:v>8951</c:v>
                </c:pt>
                <c:pt idx="3843">
                  <c:v>8954</c:v>
                </c:pt>
                <c:pt idx="3844">
                  <c:v>8935</c:v>
                </c:pt>
                <c:pt idx="3845">
                  <c:v>8908</c:v>
                </c:pt>
                <c:pt idx="3846">
                  <c:v>8918</c:v>
                </c:pt>
                <c:pt idx="3847">
                  <c:v>8928</c:v>
                </c:pt>
                <c:pt idx="3848">
                  <c:v>8943</c:v>
                </c:pt>
                <c:pt idx="3849">
                  <c:v>8924</c:v>
                </c:pt>
                <c:pt idx="3850">
                  <c:v>8923</c:v>
                </c:pt>
                <c:pt idx="3851">
                  <c:v>8933</c:v>
                </c:pt>
                <c:pt idx="3852">
                  <c:v>8928</c:v>
                </c:pt>
                <c:pt idx="3853">
                  <c:v>8938</c:v>
                </c:pt>
                <c:pt idx="3854">
                  <c:v>8923</c:v>
                </c:pt>
                <c:pt idx="3855">
                  <c:v>8918</c:v>
                </c:pt>
                <c:pt idx="3856">
                  <c:v>8919</c:v>
                </c:pt>
                <c:pt idx="3857">
                  <c:v>8933</c:v>
                </c:pt>
                <c:pt idx="3858">
                  <c:v>8928</c:v>
                </c:pt>
                <c:pt idx="3859">
                  <c:v>8938</c:v>
                </c:pt>
                <c:pt idx="3860">
                  <c:v>8928</c:v>
                </c:pt>
                <c:pt idx="3861">
                  <c:v>8943</c:v>
                </c:pt>
                <c:pt idx="3862">
                  <c:v>8908</c:v>
                </c:pt>
                <c:pt idx="3863">
                  <c:v>8913</c:v>
                </c:pt>
                <c:pt idx="3864">
                  <c:v>8940</c:v>
                </c:pt>
                <c:pt idx="3865">
                  <c:v>8937</c:v>
                </c:pt>
                <c:pt idx="3866">
                  <c:v>8938</c:v>
                </c:pt>
                <c:pt idx="3867">
                  <c:v>8923</c:v>
                </c:pt>
                <c:pt idx="3868">
                  <c:v>8925</c:v>
                </c:pt>
                <c:pt idx="3869">
                  <c:v>8918</c:v>
                </c:pt>
                <c:pt idx="3870">
                  <c:v>8911</c:v>
                </c:pt>
                <c:pt idx="3871">
                  <c:v>8893</c:v>
                </c:pt>
                <c:pt idx="3872">
                  <c:v>8908</c:v>
                </c:pt>
                <c:pt idx="3873">
                  <c:v>8908</c:v>
                </c:pt>
                <c:pt idx="3874">
                  <c:v>8890</c:v>
                </c:pt>
                <c:pt idx="3875">
                  <c:v>8903</c:v>
                </c:pt>
                <c:pt idx="3876">
                  <c:v>8928</c:v>
                </c:pt>
                <c:pt idx="3877">
                  <c:v>8978</c:v>
                </c:pt>
                <c:pt idx="3878">
                  <c:v>8948</c:v>
                </c:pt>
                <c:pt idx="3879">
                  <c:v>9023</c:v>
                </c:pt>
                <c:pt idx="3880">
                  <c:v>8943</c:v>
                </c:pt>
                <c:pt idx="3881">
                  <c:v>8933</c:v>
                </c:pt>
                <c:pt idx="3882">
                  <c:v>8933</c:v>
                </c:pt>
                <c:pt idx="3883">
                  <c:v>8983</c:v>
                </c:pt>
                <c:pt idx="3884">
                  <c:v>8963</c:v>
                </c:pt>
                <c:pt idx="3885">
                  <c:v>8961</c:v>
                </c:pt>
                <c:pt idx="3886">
                  <c:v>8993</c:v>
                </c:pt>
                <c:pt idx="3887">
                  <c:v>9013</c:v>
                </c:pt>
                <c:pt idx="3888">
                  <c:v>9041</c:v>
                </c:pt>
                <c:pt idx="3889">
                  <c:v>9019</c:v>
                </c:pt>
                <c:pt idx="3890">
                  <c:v>9018</c:v>
                </c:pt>
                <c:pt idx="3891">
                  <c:v>9013</c:v>
                </c:pt>
                <c:pt idx="3892">
                  <c:v>9011</c:v>
                </c:pt>
                <c:pt idx="3893">
                  <c:v>9003</c:v>
                </c:pt>
                <c:pt idx="3894">
                  <c:v>9024</c:v>
                </c:pt>
                <c:pt idx="3895">
                  <c:v>9020</c:v>
                </c:pt>
                <c:pt idx="3896">
                  <c:v>9018</c:v>
                </c:pt>
                <c:pt idx="3897">
                  <c:v>9023</c:v>
                </c:pt>
                <c:pt idx="3898">
                  <c:v>9012</c:v>
                </c:pt>
                <c:pt idx="3899">
                  <c:v>9023</c:v>
                </c:pt>
                <c:pt idx="3900">
                  <c:v>9038</c:v>
                </c:pt>
                <c:pt idx="3901">
                  <c:v>9035</c:v>
                </c:pt>
                <c:pt idx="3902">
                  <c:v>9048</c:v>
                </c:pt>
                <c:pt idx="3903">
                  <c:v>9043</c:v>
                </c:pt>
                <c:pt idx="3904">
                  <c:v>9044</c:v>
                </c:pt>
                <c:pt idx="3905">
                  <c:v>9048</c:v>
                </c:pt>
                <c:pt idx="3906">
                  <c:v>9033</c:v>
                </c:pt>
                <c:pt idx="3907">
                  <c:v>9038</c:v>
                </c:pt>
                <c:pt idx="3908">
                  <c:v>9027</c:v>
                </c:pt>
                <c:pt idx="3909">
                  <c:v>9002</c:v>
                </c:pt>
                <c:pt idx="3910">
                  <c:v>8995</c:v>
                </c:pt>
                <c:pt idx="3911">
                  <c:v>8996</c:v>
                </c:pt>
                <c:pt idx="3912">
                  <c:v>8988</c:v>
                </c:pt>
                <c:pt idx="3913">
                  <c:v>8983</c:v>
                </c:pt>
                <c:pt idx="3914">
                  <c:v>8983</c:v>
                </c:pt>
                <c:pt idx="3915">
                  <c:v>8998</c:v>
                </c:pt>
                <c:pt idx="3916">
                  <c:v>9023</c:v>
                </c:pt>
                <c:pt idx="3917">
                  <c:v>9073</c:v>
                </c:pt>
                <c:pt idx="3918">
                  <c:v>9068</c:v>
                </c:pt>
                <c:pt idx="3919">
                  <c:v>9063</c:v>
                </c:pt>
                <c:pt idx="3920">
                  <c:v>9068</c:v>
                </c:pt>
                <c:pt idx="3921">
                  <c:v>9054</c:v>
                </c:pt>
                <c:pt idx="3922">
                  <c:v>9063</c:v>
                </c:pt>
                <c:pt idx="3923">
                  <c:v>9055</c:v>
                </c:pt>
                <c:pt idx="3924">
                  <c:v>9058</c:v>
                </c:pt>
                <c:pt idx="3925">
                  <c:v>9063</c:v>
                </c:pt>
                <c:pt idx="3926">
                  <c:v>9063</c:v>
                </c:pt>
                <c:pt idx="3927">
                  <c:v>9068</c:v>
                </c:pt>
                <c:pt idx="3928">
                  <c:v>9039</c:v>
                </c:pt>
                <c:pt idx="3929">
                  <c:v>9034</c:v>
                </c:pt>
                <c:pt idx="3930">
                  <c:v>9029</c:v>
                </c:pt>
                <c:pt idx="3931">
                  <c:v>9031</c:v>
                </c:pt>
                <c:pt idx="3932">
                  <c:v>9049</c:v>
                </c:pt>
                <c:pt idx="3933">
                  <c:v>9038</c:v>
                </c:pt>
                <c:pt idx="3934">
                  <c:v>9018</c:v>
                </c:pt>
                <c:pt idx="3935">
                  <c:v>9014</c:v>
                </c:pt>
                <c:pt idx="3936">
                  <c:v>8993</c:v>
                </c:pt>
                <c:pt idx="3937">
                  <c:v>8953</c:v>
                </c:pt>
                <c:pt idx="3938">
                  <c:v>8918</c:v>
                </c:pt>
                <c:pt idx="3939">
                  <c:v>8930</c:v>
                </c:pt>
                <c:pt idx="3940">
                  <c:v>8933</c:v>
                </c:pt>
                <c:pt idx="3941">
                  <c:v>8935</c:v>
                </c:pt>
                <c:pt idx="3942">
                  <c:v>8918</c:v>
                </c:pt>
                <c:pt idx="3943">
                  <c:v>8908</c:v>
                </c:pt>
                <c:pt idx="3944">
                  <c:v>8892</c:v>
                </c:pt>
                <c:pt idx="3945">
                  <c:v>8886</c:v>
                </c:pt>
                <c:pt idx="3946">
                  <c:v>8870</c:v>
                </c:pt>
                <c:pt idx="3947">
                  <c:v>8858</c:v>
                </c:pt>
                <c:pt idx="3948">
                  <c:v>8879</c:v>
                </c:pt>
                <c:pt idx="3949">
                  <c:v>8855</c:v>
                </c:pt>
                <c:pt idx="3950">
                  <c:v>8873</c:v>
                </c:pt>
                <c:pt idx="3951">
                  <c:v>8838</c:v>
                </c:pt>
                <c:pt idx="3952">
                  <c:v>8821</c:v>
                </c:pt>
                <c:pt idx="3953">
                  <c:v>8808</c:v>
                </c:pt>
                <c:pt idx="3954">
                  <c:v>8812</c:v>
                </c:pt>
                <c:pt idx="3955">
                  <c:v>8808</c:v>
                </c:pt>
                <c:pt idx="3956">
                  <c:v>8792</c:v>
                </c:pt>
                <c:pt idx="3957">
                  <c:v>8788</c:v>
                </c:pt>
                <c:pt idx="3958">
                  <c:v>8788</c:v>
                </c:pt>
                <c:pt idx="3959">
                  <c:v>8784</c:v>
                </c:pt>
                <c:pt idx="3960">
                  <c:v>8783</c:v>
                </c:pt>
                <c:pt idx="3961">
                  <c:v>8782</c:v>
                </c:pt>
                <c:pt idx="3962">
                  <c:v>8763</c:v>
                </c:pt>
                <c:pt idx="3963">
                  <c:v>8778</c:v>
                </c:pt>
                <c:pt idx="3964">
                  <c:v>8779</c:v>
                </c:pt>
                <c:pt idx="3965">
                  <c:v>8783</c:v>
                </c:pt>
                <c:pt idx="3966">
                  <c:v>8773</c:v>
                </c:pt>
                <c:pt idx="3967">
                  <c:v>8733</c:v>
                </c:pt>
                <c:pt idx="3968">
                  <c:v>8716</c:v>
                </c:pt>
                <c:pt idx="3969">
                  <c:v>8723</c:v>
                </c:pt>
                <c:pt idx="3970">
                  <c:v>8718</c:v>
                </c:pt>
                <c:pt idx="3971">
                  <c:v>8717</c:v>
                </c:pt>
                <c:pt idx="3972">
                  <c:v>8718</c:v>
                </c:pt>
                <c:pt idx="3973">
                  <c:v>8711</c:v>
                </c:pt>
                <c:pt idx="3974">
                  <c:v>8720</c:v>
                </c:pt>
                <c:pt idx="3975">
                  <c:v>8708</c:v>
                </c:pt>
                <c:pt idx="3976">
                  <c:v>8696</c:v>
                </c:pt>
                <c:pt idx="3977">
                  <c:v>8663</c:v>
                </c:pt>
                <c:pt idx="3978">
                  <c:v>8658</c:v>
                </c:pt>
                <c:pt idx="3979">
                  <c:v>8653</c:v>
                </c:pt>
                <c:pt idx="3980">
                  <c:v>8668</c:v>
                </c:pt>
                <c:pt idx="3981">
                  <c:v>8653</c:v>
                </c:pt>
                <c:pt idx="3982">
                  <c:v>8653</c:v>
                </c:pt>
                <c:pt idx="3983">
                  <c:v>8663</c:v>
                </c:pt>
                <c:pt idx="3984">
                  <c:v>8658</c:v>
                </c:pt>
                <c:pt idx="3985">
                  <c:v>8666</c:v>
                </c:pt>
                <c:pt idx="3986">
                  <c:v>8668</c:v>
                </c:pt>
                <c:pt idx="3987">
                  <c:v>8678</c:v>
                </c:pt>
                <c:pt idx="3988">
                  <c:v>8688</c:v>
                </c:pt>
                <c:pt idx="3989">
                  <c:v>8652</c:v>
                </c:pt>
                <c:pt idx="3990">
                  <c:v>8630</c:v>
                </c:pt>
                <c:pt idx="3991">
                  <c:v>8623</c:v>
                </c:pt>
                <c:pt idx="3992">
                  <c:v>8623</c:v>
                </c:pt>
                <c:pt idx="3993">
                  <c:v>8643</c:v>
                </c:pt>
                <c:pt idx="3994">
                  <c:v>8628</c:v>
                </c:pt>
                <c:pt idx="3995">
                  <c:v>8581</c:v>
                </c:pt>
                <c:pt idx="3996">
                  <c:v>8563</c:v>
                </c:pt>
                <c:pt idx="3997">
                  <c:v>8543</c:v>
                </c:pt>
                <c:pt idx="3998">
                  <c:v>8546</c:v>
                </c:pt>
                <c:pt idx="3999">
                  <c:v>8553</c:v>
                </c:pt>
                <c:pt idx="4000">
                  <c:v>8572</c:v>
                </c:pt>
                <c:pt idx="4001">
                  <c:v>8588</c:v>
                </c:pt>
                <c:pt idx="4002">
                  <c:v>8553</c:v>
                </c:pt>
                <c:pt idx="4003">
                  <c:v>8553</c:v>
                </c:pt>
                <c:pt idx="4004">
                  <c:v>8531</c:v>
                </c:pt>
                <c:pt idx="4005">
                  <c:v>8565</c:v>
                </c:pt>
                <c:pt idx="4006">
                  <c:v>8546</c:v>
                </c:pt>
                <c:pt idx="4007">
                  <c:v>8579</c:v>
                </c:pt>
                <c:pt idx="4008">
                  <c:v>8578</c:v>
                </c:pt>
                <c:pt idx="4009">
                  <c:v>8563</c:v>
                </c:pt>
                <c:pt idx="4010">
                  <c:v>8553</c:v>
                </c:pt>
                <c:pt idx="4011">
                  <c:v>8536</c:v>
                </c:pt>
                <c:pt idx="4012">
                  <c:v>8593</c:v>
                </c:pt>
                <c:pt idx="4013">
                  <c:v>8571</c:v>
                </c:pt>
                <c:pt idx="4014">
                  <c:v>8603</c:v>
                </c:pt>
                <c:pt idx="4015">
                  <c:v>8582</c:v>
                </c:pt>
                <c:pt idx="4016">
                  <c:v>8565</c:v>
                </c:pt>
                <c:pt idx="4017">
                  <c:v>8548</c:v>
                </c:pt>
                <c:pt idx="4018">
                  <c:v>8543</c:v>
                </c:pt>
                <c:pt idx="4019">
                  <c:v>8538</c:v>
                </c:pt>
                <c:pt idx="4020">
                  <c:v>8543</c:v>
                </c:pt>
                <c:pt idx="4021">
                  <c:v>8528</c:v>
                </c:pt>
                <c:pt idx="4022">
                  <c:v>8513</c:v>
                </c:pt>
                <c:pt idx="4023">
                  <c:v>8513</c:v>
                </c:pt>
                <c:pt idx="4024">
                  <c:v>8515</c:v>
                </c:pt>
                <c:pt idx="4025">
                  <c:v>8521</c:v>
                </c:pt>
                <c:pt idx="4026">
                  <c:v>8520</c:v>
                </c:pt>
                <c:pt idx="4027">
                  <c:v>8543</c:v>
                </c:pt>
                <c:pt idx="4028">
                  <c:v>8534</c:v>
                </c:pt>
                <c:pt idx="4029">
                  <c:v>8548</c:v>
                </c:pt>
                <c:pt idx="4030">
                  <c:v>8598</c:v>
                </c:pt>
                <c:pt idx="4031">
                  <c:v>8608</c:v>
                </c:pt>
                <c:pt idx="4032">
                  <c:v>8618</c:v>
                </c:pt>
                <c:pt idx="4033">
                  <c:v>8601</c:v>
                </c:pt>
                <c:pt idx="4034">
                  <c:v>8593</c:v>
                </c:pt>
                <c:pt idx="4035">
                  <c:v>8600</c:v>
                </c:pt>
                <c:pt idx="4036">
                  <c:v>8599</c:v>
                </c:pt>
                <c:pt idx="4037">
                  <c:v>8623</c:v>
                </c:pt>
                <c:pt idx="4038">
                  <c:v>8623</c:v>
                </c:pt>
                <c:pt idx="4039">
                  <c:v>8608</c:v>
                </c:pt>
                <c:pt idx="4040">
                  <c:v>8579</c:v>
                </c:pt>
                <c:pt idx="4041">
                  <c:v>8547</c:v>
                </c:pt>
                <c:pt idx="4042">
                  <c:v>8524</c:v>
                </c:pt>
                <c:pt idx="4043">
                  <c:v>8533</c:v>
                </c:pt>
                <c:pt idx="4044">
                  <c:v>8544</c:v>
                </c:pt>
                <c:pt idx="4045">
                  <c:v>8537</c:v>
                </c:pt>
                <c:pt idx="4046">
                  <c:v>8514</c:v>
                </c:pt>
                <c:pt idx="4047">
                  <c:v>8529</c:v>
                </c:pt>
                <c:pt idx="4048">
                  <c:v>8578</c:v>
                </c:pt>
                <c:pt idx="4049">
                  <c:v>8549</c:v>
                </c:pt>
                <c:pt idx="4050">
                  <c:v>8535</c:v>
                </c:pt>
                <c:pt idx="4051">
                  <c:v>8544</c:v>
                </c:pt>
                <c:pt idx="4052">
                  <c:v>8559</c:v>
                </c:pt>
                <c:pt idx="4053">
                  <c:v>8550</c:v>
                </c:pt>
                <c:pt idx="4054">
                  <c:v>8541</c:v>
                </c:pt>
                <c:pt idx="4055">
                  <c:v>8541</c:v>
                </c:pt>
                <c:pt idx="4056">
                  <c:v>8524</c:v>
                </c:pt>
                <c:pt idx="4057">
                  <c:v>8524</c:v>
                </c:pt>
                <c:pt idx="4058">
                  <c:v>8507</c:v>
                </c:pt>
                <c:pt idx="4059">
                  <c:v>8487</c:v>
                </c:pt>
                <c:pt idx="4060">
                  <c:v>8494</c:v>
                </c:pt>
                <c:pt idx="4061">
                  <c:v>8504</c:v>
                </c:pt>
                <c:pt idx="4062">
                  <c:v>8464</c:v>
                </c:pt>
                <c:pt idx="4063">
                  <c:v>8476</c:v>
                </c:pt>
                <c:pt idx="4064">
                  <c:v>8489</c:v>
                </c:pt>
                <c:pt idx="4065">
                  <c:v>8502</c:v>
                </c:pt>
                <c:pt idx="4066">
                  <c:v>8548</c:v>
                </c:pt>
                <c:pt idx="4067">
                  <c:v>8525</c:v>
                </c:pt>
                <c:pt idx="4068">
                  <c:v>8559</c:v>
                </c:pt>
                <c:pt idx="4069">
                  <c:v>8534</c:v>
                </c:pt>
                <c:pt idx="4070">
                  <c:v>8549</c:v>
                </c:pt>
                <c:pt idx="4071">
                  <c:v>8554</c:v>
                </c:pt>
                <c:pt idx="4072">
                  <c:v>8544</c:v>
                </c:pt>
                <c:pt idx="4073">
                  <c:v>8531</c:v>
                </c:pt>
                <c:pt idx="4074">
                  <c:v>8526</c:v>
                </c:pt>
                <c:pt idx="4075">
                  <c:v>8553</c:v>
                </c:pt>
                <c:pt idx="4076">
                  <c:v>8558</c:v>
                </c:pt>
                <c:pt idx="4077">
                  <c:v>8547</c:v>
                </c:pt>
                <c:pt idx="4078">
                  <c:v>8544</c:v>
                </c:pt>
                <c:pt idx="4079">
                  <c:v>8553</c:v>
                </c:pt>
                <c:pt idx="4080">
                  <c:v>8595</c:v>
                </c:pt>
                <c:pt idx="4081">
                  <c:v>8565</c:v>
                </c:pt>
                <c:pt idx="4082">
                  <c:v>8544</c:v>
                </c:pt>
                <c:pt idx="4083">
                  <c:v>8549</c:v>
                </c:pt>
                <c:pt idx="4084">
                  <c:v>8534</c:v>
                </c:pt>
                <c:pt idx="4085">
                  <c:v>8508</c:v>
                </c:pt>
                <c:pt idx="4086">
                  <c:v>8519</c:v>
                </c:pt>
                <c:pt idx="4087">
                  <c:v>8542</c:v>
                </c:pt>
                <c:pt idx="4088">
                  <c:v>8558</c:v>
                </c:pt>
                <c:pt idx="4089">
                  <c:v>8557</c:v>
                </c:pt>
                <c:pt idx="4090">
                  <c:v>8564</c:v>
                </c:pt>
                <c:pt idx="4091">
                  <c:v>8578</c:v>
                </c:pt>
                <c:pt idx="4092">
                  <c:v>8613</c:v>
                </c:pt>
                <c:pt idx="4093">
                  <c:v>8663</c:v>
                </c:pt>
                <c:pt idx="4094">
                  <c:v>8884</c:v>
                </c:pt>
                <c:pt idx="4095">
                  <c:v>8804</c:v>
                </c:pt>
                <c:pt idx="4096">
                  <c:v>8803</c:v>
                </c:pt>
                <c:pt idx="4097">
                  <c:v>8893</c:v>
                </c:pt>
                <c:pt idx="4098">
                  <c:v>8893</c:v>
                </c:pt>
                <c:pt idx="4099">
                  <c:v>9084</c:v>
                </c:pt>
                <c:pt idx="4100">
                  <c:v>9024</c:v>
                </c:pt>
                <c:pt idx="4101">
                  <c:v>8941</c:v>
                </c:pt>
                <c:pt idx="4102">
                  <c:v>9125</c:v>
                </c:pt>
                <c:pt idx="4103">
                  <c:v>8930</c:v>
                </c:pt>
                <c:pt idx="4104">
                  <c:v>8890</c:v>
                </c:pt>
                <c:pt idx="4105">
                  <c:v>8856</c:v>
                </c:pt>
                <c:pt idx="4106">
                  <c:v>8875</c:v>
                </c:pt>
                <c:pt idx="4107">
                  <c:v>8903</c:v>
                </c:pt>
                <c:pt idx="4108">
                  <c:v>9004</c:v>
                </c:pt>
                <c:pt idx="4109">
                  <c:v>8918</c:v>
                </c:pt>
                <c:pt idx="4110">
                  <c:v>8945</c:v>
                </c:pt>
                <c:pt idx="4111">
                  <c:v>8965</c:v>
                </c:pt>
                <c:pt idx="4112">
                  <c:v>8950</c:v>
                </c:pt>
                <c:pt idx="4113">
                  <c:v>8965</c:v>
                </c:pt>
                <c:pt idx="4114">
                  <c:v>8915</c:v>
                </c:pt>
                <c:pt idx="4115">
                  <c:v>8870</c:v>
                </c:pt>
                <c:pt idx="4116">
                  <c:v>8846</c:v>
                </c:pt>
                <c:pt idx="4117">
                  <c:v>8818</c:v>
                </c:pt>
                <c:pt idx="4118">
                  <c:v>8884</c:v>
                </c:pt>
                <c:pt idx="4119">
                  <c:v>8823</c:v>
                </c:pt>
                <c:pt idx="4120">
                  <c:v>8878</c:v>
                </c:pt>
                <c:pt idx="4121">
                  <c:v>8908</c:v>
                </c:pt>
                <c:pt idx="4122">
                  <c:v>8853</c:v>
                </c:pt>
                <c:pt idx="4123">
                  <c:v>8838</c:v>
                </c:pt>
                <c:pt idx="4124">
                  <c:v>8873</c:v>
                </c:pt>
                <c:pt idx="4125">
                  <c:v>8836</c:v>
                </c:pt>
                <c:pt idx="4126">
                  <c:v>8815</c:v>
                </c:pt>
                <c:pt idx="4127">
                  <c:v>8853</c:v>
                </c:pt>
                <c:pt idx="4128">
                  <c:v>8945</c:v>
                </c:pt>
                <c:pt idx="4129">
                  <c:v>8975</c:v>
                </c:pt>
                <c:pt idx="4130">
                  <c:v>8977</c:v>
                </c:pt>
                <c:pt idx="4131">
                  <c:v>8938</c:v>
                </c:pt>
                <c:pt idx="4132">
                  <c:v>8955</c:v>
                </c:pt>
                <c:pt idx="4133">
                  <c:v>8920</c:v>
                </c:pt>
                <c:pt idx="4134">
                  <c:v>8890</c:v>
                </c:pt>
                <c:pt idx="4135">
                  <c:v>9000</c:v>
                </c:pt>
                <c:pt idx="4136">
                  <c:v>8967</c:v>
                </c:pt>
                <c:pt idx="4137">
                  <c:v>8965</c:v>
                </c:pt>
                <c:pt idx="4138">
                  <c:v>8995</c:v>
                </c:pt>
                <c:pt idx="4139">
                  <c:v>8998</c:v>
                </c:pt>
                <c:pt idx="4140">
                  <c:v>9000</c:v>
                </c:pt>
                <c:pt idx="4141">
                  <c:v>9020</c:v>
                </c:pt>
                <c:pt idx="4142">
                  <c:v>9053</c:v>
                </c:pt>
                <c:pt idx="4143">
                  <c:v>9045</c:v>
                </c:pt>
                <c:pt idx="4144">
                  <c:v>9110</c:v>
                </c:pt>
                <c:pt idx="4145">
                  <c:v>8993</c:v>
                </c:pt>
                <c:pt idx="4146">
                  <c:v>9058</c:v>
                </c:pt>
                <c:pt idx="4147">
                  <c:v>9118</c:v>
                </c:pt>
                <c:pt idx="4148">
                  <c:v>9158</c:v>
                </c:pt>
                <c:pt idx="4149">
                  <c:v>9113</c:v>
                </c:pt>
                <c:pt idx="4150">
                  <c:v>8998</c:v>
                </c:pt>
                <c:pt idx="4151">
                  <c:v>9025</c:v>
                </c:pt>
                <c:pt idx="4152">
                  <c:v>9038</c:v>
                </c:pt>
                <c:pt idx="4153">
                  <c:v>9036</c:v>
                </c:pt>
                <c:pt idx="4154">
                  <c:v>9038</c:v>
                </c:pt>
                <c:pt idx="4155">
                  <c:v>9000</c:v>
                </c:pt>
                <c:pt idx="4156">
                  <c:v>9050</c:v>
                </c:pt>
                <c:pt idx="4157">
                  <c:v>9051</c:v>
                </c:pt>
                <c:pt idx="4158">
                  <c:v>9105</c:v>
                </c:pt>
                <c:pt idx="4159">
                  <c:v>9089</c:v>
                </c:pt>
                <c:pt idx="4160">
                  <c:v>9091</c:v>
                </c:pt>
                <c:pt idx="4161">
                  <c:v>9035</c:v>
                </c:pt>
                <c:pt idx="4162">
                  <c:v>9068</c:v>
                </c:pt>
                <c:pt idx="4163">
                  <c:v>9080</c:v>
                </c:pt>
                <c:pt idx="4164">
                  <c:v>9071</c:v>
                </c:pt>
                <c:pt idx="4165">
                  <c:v>9068</c:v>
                </c:pt>
                <c:pt idx="4166">
                  <c:v>9100</c:v>
                </c:pt>
                <c:pt idx="4167">
                  <c:v>9055</c:v>
                </c:pt>
                <c:pt idx="4168">
                  <c:v>9075</c:v>
                </c:pt>
                <c:pt idx="4169">
                  <c:v>9073</c:v>
                </c:pt>
                <c:pt idx="4170">
                  <c:v>9075</c:v>
                </c:pt>
                <c:pt idx="4171">
                  <c:v>9069</c:v>
                </c:pt>
                <c:pt idx="4172">
                  <c:v>9080</c:v>
                </c:pt>
                <c:pt idx="4173">
                  <c:v>9126</c:v>
                </c:pt>
                <c:pt idx="4174">
                  <c:v>9145</c:v>
                </c:pt>
                <c:pt idx="4175">
                  <c:v>9163</c:v>
                </c:pt>
                <c:pt idx="4176">
                  <c:v>9098</c:v>
                </c:pt>
                <c:pt idx="4177">
                  <c:v>9185</c:v>
                </c:pt>
                <c:pt idx="4178">
                  <c:v>9170</c:v>
                </c:pt>
                <c:pt idx="4179">
                  <c:v>9180</c:v>
                </c:pt>
                <c:pt idx="4180">
                  <c:v>9170</c:v>
                </c:pt>
                <c:pt idx="4181">
                  <c:v>9180</c:v>
                </c:pt>
                <c:pt idx="4182">
                  <c:v>9138</c:v>
                </c:pt>
                <c:pt idx="4183">
                  <c:v>9113</c:v>
                </c:pt>
                <c:pt idx="4184">
                  <c:v>9048</c:v>
                </c:pt>
                <c:pt idx="4185">
                  <c:v>8999</c:v>
                </c:pt>
                <c:pt idx="4186">
                  <c:v>8948</c:v>
                </c:pt>
                <c:pt idx="4187">
                  <c:v>8960</c:v>
                </c:pt>
                <c:pt idx="4188">
                  <c:v>8970</c:v>
                </c:pt>
                <c:pt idx="4189">
                  <c:v>8888</c:v>
                </c:pt>
                <c:pt idx="4190">
                  <c:v>8956</c:v>
                </c:pt>
                <c:pt idx="4191">
                  <c:v>8976</c:v>
                </c:pt>
                <c:pt idx="4192">
                  <c:v>8990</c:v>
                </c:pt>
                <c:pt idx="4193">
                  <c:v>8998</c:v>
                </c:pt>
                <c:pt idx="4194">
                  <c:v>8985</c:v>
                </c:pt>
                <c:pt idx="4195">
                  <c:v>8955</c:v>
                </c:pt>
                <c:pt idx="4196">
                  <c:v>8983</c:v>
                </c:pt>
                <c:pt idx="4197">
                  <c:v>8989</c:v>
                </c:pt>
                <c:pt idx="4198">
                  <c:v>8953</c:v>
                </c:pt>
                <c:pt idx="4199">
                  <c:v>8950</c:v>
                </c:pt>
                <c:pt idx="4200">
                  <c:v>8956</c:v>
                </c:pt>
                <c:pt idx="4201">
                  <c:v>8985</c:v>
                </c:pt>
                <c:pt idx="4202">
                  <c:v>9014</c:v>
                </c:pt>
                <c:pt idx="4203">
                  <c:v>9049</c:v>
                </c:pt>
                <c:pt idx="4204">
                  <c:v>8958</c:v>
                </c:pt>
                <c:pt idx="4205">
                  <c:v>9093</c:v>
                </c:pt>
                <c:pt idx="4206">
                  <c:v>9030</c:v>
                </c:pt>
                <c:pt idx="4207">
                  <c:v>9011</c:v>
                </c:pt>
                <c:pt idx="4208">
                  <c:v>9050</c:v>
                </c:pt>
                <c:pt idx="4209">
                  <c:v>9052</c:v>
                </c:pt>
                <c:pt idx="4210">
                  <c:v>9045</c:v>
                </c:pt>
                <c:pt idx="4211">
                  <c:v>9048</c:v>
                </c:pt>
                <c:pt idx="4212">
                  <c:v>9169</c:v>
                </c:pt>
                <c:pt idx="4213">
                  <c:v>9128</c:v>
                </c:pt>
                <c:pt idx="4214">
                  <c:v>9023</c:v>
                </c:pt>
                <c:pt idx="4215">
                  <c:v>9103</c:v>
                </c:pt>
                <c:pt idx="4216">
                  <c:v>9088</c:v>
                </c:pt>
                <c:pt idx="4217">
                  <c:v>9124</c:v>
                </c:pt>
                <c:pt idx="4218">
                  <c:v>9189</c:v>
                </c:pt>
                <c:pt idx="4219">
                  <c:v>9118</c:v>
                </c:pt>
                <c:pt idx="4220">
                  <c:v>9135</c:v>
                </c:pt>
                <c:pt idx="4221">
                  <c:v>9136</c:v>
                </c:pt>
                <c:pt idx="4222">
                  <c:v>9169</c:v>
                </c:pt>
                <c:pt idx="4223">
                  <c:v>9179</c:v>
                </c:pt>
                <c:pt idx="4224">
                  <c:v>9173</c:v>
                </c:pt>
                <c:pt idx="4225">
                  <c:v>9180</c:v>
                </c:pt>
                <c:pt idx="4226">
                  <c:v>9133</c:v>
                </c:pt>
                <c:pt idx="4227">
                  <c:v>9128</c:v>
                </c:pt>
                <c:pt idx="4228">
                  <c:v>9160</c:v>
                </c:pt>
                <c:pt idx="4229">
                  <c:v>9182</c:v>
                </c:pt>
                <c:pt idx="4230">
                  <c:v>9189</c:v>
                </c:pt>
                <c:pt idx="4231">
                  <c:v>9197</c:v>
                </c:pt>
                <c:pt idx="4232">
                  <c:v>9204</c:v>
                </c:pt>
                <c:pt idx="4233">
                  <c:v>9184</c:v>
                </c:pt>
                <c:pt idx="4234">
                  <c:v>9149</c:v>
                </c:pt>
                <c:pt idx="4235">
                  <c:v>9183</c:v>
                </c:pt>
                <c:pt idx="4236">
                  <c:v>9146</c:v>
                </c:pt>
                <c:pt idx="4237">
                  <c:v>9140</c:v>
                </c:pt>
                <c:pt idx="4238">
                  <c:v>9133</c:v>
                </c:pt>
                <c:pt idx="4239">
                  <c:v>9165</c:v>
                </c:pt>
                <c:pt idx="4240">
                  <c:v>9166</c:v>
                </c:pt>
                <c:pt idx="4241">
                  <c:v>9169</c:v>
                </c:pt>
                <c:pt idx="4242">
                  <c:v>9150</c:v>
                </c:pt>
                <c:pt idx="4243">
                  <c:v>9168</c:v>
                </c:pt>
                <c:pt idx="4244">
                  <c:v>9173</c:v>
                </c:pt>
                <c:pt idx="4245">
                  <c:v>9182</c:v>
                </c:pt>
                <c:pt idx="4246">
                  <c:v>9177</c:v>
                </c:pt>
                <c:pt idx="4247">
                  <c:v>9188</c:v>
                </c:pt>
                <c:pt idx="4248">
                  <c:v>9174</c:v>
                </c:pt>
                <c:pt idx="4249">
                  <c:v>9179</c:v>
                </c:pt>
                <c:pt idx="4250">
                  <c:v>9181</c:v>
                </c:pt>
                <c:pt idx="4251">
                  <c:v>9184</c:v>
                </c:pt>
                <c:pt idx="4252">
                  <c:v>9187</c:v>
                </c:pt>
                <c:pt idx="4253">
                  <c:v>9199</c:v>
                </c:pt>
                <c:pt idx="4254">
                  <c:v>9199</c:v>
                </c:pt>
                <c:pt idx="4255">
                  <c:v>9192</c:v>
                </c:pt>
                <c:pt idx="4256">
                  <c:v>9189</c:v>
                </c:pt>
                <c:pt idx="4257">
                  <c:v>9177</c:v>
                </c:pt>
                <c:pt idx="4258">
                  <c:v>9189</c:v>
                </c:pt>
                <c:pt idx="4259">
                  <c:v>9204</c:v>
                </c:pt>
                <c:pt idx="4260">
                  <c:v>9231</c:v>
                </c:pt>
                <c:pt idx="4261">
                  <c:v>9214</c:v>
                </c:pt>
                <c:pt idx="4262">
                  <c:v>9228</c:v>
                </c:pt>
                <c:pt idx="4263">
                  <c:v>9238</c:v>
                </c:pt>
                <c:pt idx="4264">
                  <c:v>9259</c:v>
                </c:pt>
                <c:pt idx="4265">
                  <c:v>9258</c:v>
                </c:pt>
                <c:pt idx="4266">
                  <c:v>9218</c:v>
                </c:pt>
                <c:pt idx="4267">
                  <c:v>9250</c:v>
                </c:pt>
                <c:pt idx="4268">
                  <c:v>9274</c:v>
                </c:pt>
                <c:pt idx="4269">
                  <c:v>9305</c:v>
                </c:pt>
                <c:pt idx="4270">
                  <c:v>9324</c:v>
                </c:pt>
                <c:pt idx="4271">
                  <c:v>9350</c:v>
                </c:pt>
                <c:pt idx="4272">
                  <c:v>9354</c:v>
                </c:pt>
                <c:pt idx="4273">
                  <c:v>9302</c:v>
                </c:pt>
                <c:pt idx="4274">
                  <c:v>9359</c:v>
                </c:pt>
                <c:pt idx="4275">
                  <c:v>9426</c:v>
                </c:pt>
                <c:pt idx="4276">
                  <c:v>9454</c:v>
                </c:pt>
                <c:pt idx="4277">
                  <c:v>9408</c:v>
                </c:pt>
                <c:pt idx="4278">
                  <c:v>9487</c:v>
                </c:pt>
                <c:pt idx="4279">
                  <c:v>9540</c:v>
                </c:pt>
                <c:pt idx="4280">
                  <c:v>9480</c:v>
                </c:pt>
                <c:pt idx="4281">
                  <c:v>9390</c:v>
                </c:pt>
                <c:pt idx="4282">
                  <c:v>9427</c:v>
                </c:pt>
                <c:pt idx="4283">
                  <c:v>9449</c:v>
                </c:pt>
                <c:pt idx="4284">
                  <c:v>9329</c:v>
                </c:pt>
                <c:pt idx="4285">
                  <c:v>9459</c:v>
                </c:pt>
                <c:pt idx="4286">
                  <c:v>9388</c:v>
                </c:pt>
                <c:pt idx="4287">
                  <c:v>9410</c:v>
                </c:pt>
                <c:pt idx="4288">
                  <c:v>9449</c:v>
                </c:pt>
                <c:pt idx="4289">
                  <c:v>9430</c:v>
                </c:pt>
                <c:pt idx="4290">
                  <c:v>9449</c:v>
                </c:pt>
                <c:pt idx="4291">
                  <c:v>9398</c:v>
                </c:pt>
                <c:pt idx="4292">
                  <c:v>9450</c:v>
                </c:pt>
                <c:pt idx="4293">
                  <c:v>9408</c:v>
                </c:pt>
                <c:pt idx="4294">
                  <c:v>9430</c:v>
                </c:pt>
                <c:pt idx="4295">
                  <c:v>9482</c:v>
                </c:pt>
                <c:pt idx="4296">
                  <c:v>9494</c:v>
                </c:pt>
                <c:pt idx="4297">
                  <c:v>9509</c:v>
                </c:pt>
                <c:pt idx="4298">
                  <c:v>9508</c:v>
                </c:pt>
                <c:pt idx="4299">
                  <c:v>9490</c:v>
                </c:pt>
                <c:pt idx="4300">
                  <c:v>9494</c:v>
                </c:pt>
                <c:pt idx="4301">
                  <c:v>9433</c:v>
                </c:pt>
                <c:pt idx="4302">
                  <c:v>9382</c:v>
                </c:pt>
                <c:pt idx="4303">
                  <c:v>9379</c:v>
                </c:pt>
                <c:pt idx="4304">
                  <c:v>9367</c:v>
                </c:pt>
                <c:pt idx="4305">
                  <c:v>9381</c:v>
                </c:pt>
                <c:pt idx="4306">
                  <c:v>9405</c:v>
                </c:pt>
                <c:pt idx="4307">
                  <c:v>9449</c:v>
                </c:pt>
                <c:pt idx="4308">
                  <c:v>9433</c:v>
                </c:pt>
                <c:pt idx="4309">
                  <c:v>9436</c:v>
                </c:pt>
                <c:pt idx="4310">
                  <c:v>9448</c:v>
                </c:pt>
                <c:pt idx="4311">
                  <c:v>9448</c:v>
                </c:pt>
                <c:pt idx="4312">
                  <c:v>9489</c:v>
                </c:pt>
                <c:pt idx="4313">
                  <c:v>9456</c:v>
                </c:pt>
                <c:pt idx="4314">
                  <c:v>9453</c:v>
                </c:pt>
                <c:pt idx="4315">
                  <c:v>9460</c:v>
                </c:pt>
                <c:pt idx="4316">
                  <c:v>9458</c:v>
                </c:pt>
                <c:pt idx="4317">
                  <c:v>9503</c:v>
                </c:pt>
                <c:pt idx="4318">
                  <c:v>9509</c:v>
                </c:pt>
                <c:pt idx="4319">
                  <c:v>9508</c:v>
                </c:pt>
                <c:pt idx="4320">
                  <c:v>9503</c:v>
                </c:pt>
                <c:pt idx="4321">
                  <c:v>9494</c:v>
                </c:pt>
                <c:pt idx="4322">
                  <c:v>9492</c:v>
                </c:pt>
                <c:pt idx="4323">
                  <c:v>9467</c:v>
                </c:pt>
                <c:pt idx="4324">
                  <c:v>9469</c:v>
                </c:pt>
                <c:pt idx="4325">
                  <c:v>9476</c:v>
                </c:pt>
                <c:pt idx="4326">
                  <c:v>9476</c:v>
                </c:pt>
                <c:pt idx="4327">
                  <c:v>9469</c:v>
                </c:pt>
                <c:pt idx="4328">
                  <c:v>9472</c:v>
                </c:pt>
                <c:pt idx="4329">
                  <c:v>9479</c:v>
                </c:pt>
                <c:pt idx="4330">
                  <c:v>9478</c:v>
                </c:pt>
                <c:pt idx="4331">
                  <c:v>9485</c:v>
                </c:pt>
                <c:pt idx="4332">
                  <c:v>9494</c:v>
                </c:pt>
                <c:pt idx="4333">
                  <c:v>9488</c:v>
                </c:pt>
                <c:pt idx="4334">
                  <c:v>9513</c:v>
                </c:pt>
                <c:pt idx="4335">
                  <c:v>9512</c:v>
                </c:pt>
                <c:pt idx="4336">
                  <c:v>9519</c:v>
                </c:pt>
                <c:pt idx="4337">
                  <c:v>9517</c:v>
                </c:pt>
                <c:pt idx="4338">
                  <c:v>9503</c:v>
                </c:pt>
                <c:pt idx="4339">
                  <c:v>9505</c:v>
                </c:pt>
                <c:pt idx="4340">
                  <c:v>9494</c:v>
                </c:pt>
                <c:pt idx="4341">
                  <c:v>9519</c:v>
                </c:pt>
                <c:pt idx="4342">
                  <c:v>9534</c:v>
                </c:pt>
                <c:pt idx="4343">
                  <c:v>9549</c:v>
                </c:pt>
                <c:pt idx="4344">
                  <c:v>9581</c:v>
                </c:pt>
                <c:pt idx="4345">
                  <c:v>9582</c:v>
                </c:pt>
                <c:pt idx="4346">
                  <c:v>9572</c:v>
                </c:pt>
                <c:pt idx="4347">
                  <c:v>9535</c:v>
                </c:pt>
                <c:pt idx="4348">
                  <c:v>9588</c:v>
                </c:pt>
                <c:pt idx="4349">
                  <c:v>9599</c:v>
                </c:pt>
                <c:pt idx="4350">
                  <c:v>9591</c:v>
                </c:pt>
                <c:pt idx="4351">
                  <c:v>9591</c:v>
                </c:pt>
                <c:pt idx="4352">
                  <c:v>9579</c:v>
                </c:pt>
                <c:pt idx="4353">
                  <c:v>9581</c:v>
                </c:pt>
                <c:pt idx="4354">
                  <c:v>9577</c:v>
                </c:pt>
                <c:pt idx="4355">
                  <c:v>9599</c:v>
                </c:pt>
                <c:pt idx="4356">
                  <c:v>9520</c:v>
                </c:pt>
                <c:pt idx="4357">
                  <c:v>9464</c:v>
                </c:pt>
                <c:pt idx="4358">
                  <c:v>9505</c:v>
                </c:pt>
                <c:pt idx="4359">
                  <c:v>9549</c:v>
                </c:pt>
                <c:pt idx="4360">
                  <c:v>9574</c:v>
                </c:pt>
                <c:pt idx="4361">
                  <c:v>9552</c:v>
                </c:pt>
                <c:pt idx="4362">
                  <c:v>9565</c:v>
                </c:pt>
                <c:pt idx="4363">
                  <c:v>9582</c:v>
                </c:pt>
                <c:pt idx="4364">
                  <c:v>9624</c:v>
                </c:pt>
                <c:pt idx="4365">
                  <c:v>9599</c:v>
                </c:pt>
                <c:pt idx="4366">
                  <c:v>9591</c:v>
                </c:pt>
                <c:pt idx="4367">
                  <c:v>9579</c:v>
                </c:pt>
                <c:pt idx="4368">
                  <c:v>9591</c:v>
                </c:pt>
                <c:pt idx="4369">
                  <c:v>9599</c:v>
                </c:pt>
                <c:pt idx="4370">
                  <c:v>9595</c:v>
                </c:pt>
                <c:pt idx="4371">
                  <c:v>9594</c:v>
                </c:pt>
                <c:pt idx="4372">
                  <c:v>9604</c:v>
                </c:pt>
                <c:pt idx="4373">
                  <c:v>9614</c:v>
                </c:pt>
                <c:pt idx="4374">
                  <c:v>9594</c:v>
                </c:pt>
                <c:pt idx="4375">
                  <c:v>9634</c:v>
                </c:pt>
                <c:pt idx="4376">
                  <c:v>9585</c:v>
                </c:pt>
                <c:pt idx="4377">
                  <c:v>9623</c:v>
                </c:pt>
                <c:pt idx="4378">
                  <c:v>9598</c:v>
                </c:pt>
                <c:pt idx="4379">
                  <c:v>9606</c:v>
                </c:pt>
                <c:pt idx="4380">
                  <c:v>9599</c:v>
                </c:pt>
                <c:pt idx="4381">
                  <c:v>9629</c:v>
                </c:pt>
                <c:pt idx="4382">
                  <c:v>9611</c:v>
                </c:pt>
                <c:pt idx="4383">
                  <c:v>9617</c:v>
                </c:pt>
                <c:pt idx="4384">
                  <c:v>9629</c:v>
                </c:pt>
                <c:pt idx="4385">
                  <c:v>9617</c:v>
                </c:pt>
                <c:pt idx="4386">
                  <c:v>9618</c:v>
                </c:pt>
                <c:pt idx="4387">
                  <c:v>9610</c:v>
                </c:pt>
                <c:pt idx="4388">
                  <c:v>9623</c:v>
                </c:pt>
                <c:pt idx="4389">
                  <c:v>9624</c:v>
                </c:pt>
                <c:pt idx="4390">
                  <c:v>9622</c:v>
                </c:pt>
                <c:pt idx="4391">
                  <c:v>9631</c:v>
                </c:pt>
                <c:pt idx="4392">
                  <c:v>9633</c:v>
                </c:pt>
                <c:pt idx="4393">
                  <c:v>9626</c:v>
                </c:pt>
                <c:pt idx="4394">
                  <c:v>9629</c:v>
                </c:pt>
                <c:pt idx="4395">
                  <c:v>9632</c:v>
                </c:pt>
                <c:pt idx="4396">
                  <c:v>9634</c:v>
                </c:pt>
                <c:pt idx="4397">
                  <c:v>9638</c:v>
                </c:pt>
                <c:pt idx="4398">
                  <c:v>9634</c:v>
                </c:pt>
                <c:pt idx="4399">
                  <c:v>9630</c:v>
                </c:pt>
                <c:pt idx="4400">
                  <c:v>9629</c:v>
                </c:pt>
                <c:pt idx="4401">
                  <c:v>9629</c:v>
                </c:pt>
                <c:pt idx="4402">
                  <c:v>9632</c:v>
                </c:pt>
                <c:pt idx="4403">
                  <c:v>9640</c:v>
                </c:pt>
                <c:pt idx="4404">
                  <c:v>9654</c:v>
                </c:pt>
                <c:pt idx="4405">
                  <c:v>9644</c:v>
                </c:pt>
                <c:pt idx="4406">
                  <c:v>9649</c:v>
                </c:pt>
                <c:pt idx="4407">
                  <c:v>9600</c:v>
                </c:pt>
                <c:pt idx="4408">
                  <c:v>9639</c:v>
                </c:pt>
                <c:pt idx="4409">
                  <c:v>9644</c:v>
                </c:pt>
                <c:pt idx="4410">
                  <c:v>9634</c:v>
                </c:pt>
                <c:pt idx="4411">
                  <c:v>9618</c:v>
                </c:pt>
                <c:pt idx="4412">
                  <c:v>9614</c:v>
                </c:pt>
                <c:pt idx="4413">
                  <c:v>9624</c:v>
                </c:pt>
                <c:pt idx="4414">
                  <c:v>9644</c:v>
                </c:pt>
                <c:pt idx="4415">
                  <c:v>9649</c:v>
                </c:pt>
                <c:pt idx="4416">
                  <c:v>9708</c:v>
                </c:pt>
                <c:pt idx="4417">
                  <c:v>9633</c:v>
                </c:pt>
                <c:pt idx="4418">
                  <c:v>9695</c:v>
                </c:pt>
                <c:pt idx="4419">
                  <c:v>9670</c:v>
                </c:pt>
                <c:pt idx="4420">
                  <c:v>9689</c:v>
                </c:pt>
                <c:pt idx="4421">
                  <c:v>9694</c:v>
                </c:pt>
                <c:pt idx="4422">
                  <c:v>9699</c:v>
                </c:pt>
                <c:pt idx="4423">
                  <c:v>9706</c:v>
                </c:pt>
                <c:pt idx="4424">
                  <c:v>9691</c:v>
                </c:pt>
                <c:pt idx="4425">
                  <c:v>9655</c:v>
                </c:pt>
                <c:pt idx="4426">
                  <c:v>9728</c:v>
                </c:pt>
                <c:pt idx="4427">
                  <c:v>9796</c:v>
                </c:pt>
                <c:pt idx="4428">
                  <c:v>9794</c:v>
                </c:pt>
                <c:pt idx="4429">
                  <c:v>9799</c:v>
                </c:pt>
                <c:pt idx="4430">
                  <c:v>9731</c:v>
                </c:pt>
                <c:pt idx="4431">
                  <c:v>9679</c:v>
                </c:pt>
                <c:pt idx="4432">
                  <c:v>9793</c:v>
                </c:pt>
                <c:pt idx="4433">
                  <c:v>9795</c:v>
                </c:pt>
                <c:pt idx="4434">
                  <c:v>9653</c:v>
                </c:pt>
                <c:pt idx="4435">
                  <c:v>9653</c:v>
                </c:pt>
                <c:pt idx="4436">
                  <c:v>9788</c:v>
                </c:pt>
                <c:pt idx="4437">
                  <c:v>9670</c:v>
                </c:pt>
                <c:pt idx="4438">
                  <c:v>9827</c:v>
                </c:pt>
                <c:pt idx="4439">
                  <c:v>9663</c:v>
                </c:pt>
                <c:pt idx="4440">
                  <c:v>9867</c:v>
                </c:pt>
                <c:pt idx="4441">
                  <c:v>9866</c:v>
                </c:pt>
                <c:pt idx="4442">
                  <c:v>9635</c:v>
                </c:pt>
                <c:pt idx="4443">
                  <c:v>9868</c:v>
                </c:pt>
                <c:pt idx="4444">
                  <c:v>9668</c:v>
                </c:pt>
                <c:pt idx="4445">
                  <c:v>9650</c:v>
                </c:pt>
                <c:pt idx="4446">
                  <c:v>9828</c:v>
                </c:pt>
                <c:pt idx="4447">
                  <c:v>9618</c:v>
                </c:pt>
                <c:pt idx="4448">
                  <c:v>9620</c:v>
                </c:pt>
                <c:pt idx="4449">
                  <c:v>9625</c:v>
                </c:pt>
                <c:pt idx="4450">
                  <c:v>9760</c:v>
                </c:pt>
                <c:pt idx="4451">
                  <c:v>9653</c:v>
                </c:pt>
                <c:pt idx="4452">
                  <c:v>9832</c:v>
                </c:pt>
                <c:pt idx="4453">
                  <c:v>9684</c:v>
                </c:pt>
                <c:pt idx="4454">
                  <c:v>9688</c:v>
                </c:pt>
                <c:pt idx="4455">
                  <c:v>9744</c:v>
                </c:pt>
                <c:pt idx="4456">
                  <c:v>9727</c:v>
                </c:pt>
                <c:pt idx="4457">
                  <c:v>9664</c:v>
                </c:pt>
                <c:pt idx="4458">
                  <c:v>9662</c:v>
                </c:pt>
                <c:pt idx="4459">
                  <c:v>9700</c:v>
                </c:pt>
                <c:pt idx="4460">
                  <c:v>9677</c:v>
                </c:pt>
                <c:pt idx="4461">
                  <c:v>9657</c:v>
                </c:pt>
                <c:pt idx="4462">
                  <c:v>9620</c:v>
                </c:pt>
                <c:pt idx="4463">
                  <c:v>9625</c:v>
                </c:pt>
                <c:pt idx="4464">
                  <c:v>9635</c:v>
                </c:pt>
                <c:pt idx="4465">
                  <c:v>9656</c:v>
                </c:pt>
                <c:pt idx="4466">
                  <c:v>9670</c:v>
                </c:pt>
                <c:pt idx="4467">
                  <c:v>9685</c:v>
                </c:pt>
                <c:pt idx="4468">
                  <c:v>9709</c:v>
                </c:pt>
                <c:pt idx="4469">
                  <c:v>9684</c:v>
                </c:pt>
                <c:pt idx="4470">
                  <c:v>9723</c:v>
                </c:pt>
                <c:pt idx="4471">
                  <c:v>9707</c:v>
                </c:pt>
                <c:pt idx="4472">
                  <c:v>9703</c:v>
                </c:pt>
                <c:pt idx="4473">
                  <c:v>9707</c:v>
                </c:pt>
                <c:pt idx="4474">
                  <c:v>9680</c:v>
                </c:pt>
                <c:pt idx="4475">
                  <c:v>9669</c:v>
                </c:pt>
                <c:pt idx="4476">
                  <c:v>9682</c:v>
                </c:pt>
                <c:pt idx="4477">
                  <c:v>9714</c:v>
                </c:pt>
                <c:pt idx="4478">
                  <c:v>9696</c:v>
                </c:pt>
                <c:pt idx="4479">
                  <c:v>9693</c:v>
                </c:pt>
                <c:pt idx="4480">
                  <c:v>9695</c:v>
                </c:pt>
                <c:pt idx="4481">
                  <c:v>9685</c:v>
                </c:pt>
                <c:pt idx="4482">
                  <c:v>9700</c:v>
                </c:pt>
                <c:pt idx="4483">
                  <c:v>9693</c:v>
                </c:pt>
                <c:pt idx="4484">
                  <c:v>9689</c:v>
                </c:pt>
                <c:pt idx="4485">
                  <c:v>9700</c:v>
                </c:pt>
                <c:pt idx="4486">
                  <c:v>9706</c:v>
                </c:pt>
                <c:pt idx="4487">
                  <c:v>9715</c:v>
                </c:pt>
                <c:pt idx="4488">
                  <c:v>9720</c:v>
                </c:pt>
                <c:pt idx="4489">
                  <c:v>9724</c:v>
                </c:pt>
                <c:pt idx="4490">
                  <c:v>9755</c:v>
                </c:pt>
                <c:pt idx="4491">
                  <c:v>9777</c:v>
                </c:pt>
                <c:pt idx="4492">
                  <c:v>9736</c:v>
                </c:pt>
                <c:pt idx="4493">
                  <c:v>9738</c:v>
                </c:pt>
                <c:pt idx="4494">
                  <c:v>9725</c:v>
                </c:pt>
                <c:pt idx="4495">
                  <c:v>9740</c:v>
                </c:pt>
                <c:pt idx="4496">
                  <c:v>9735</c:v>
                </c:pt>
                <c:pt idx="4497">
                  <c:v>9739</c:v>
                </c:pt>
                <c:pt idx="4498">
                  <c:v>9739</c:v>
                </c:pt>
                <c:pt idx="4499">
                  <c:v>9747</c:v>
                </c:pt>
                <c:pt idx="4500">
                  <c:v>9749</c:v>
                </c:pt>
                <c:pt idx="4501">
                  <c:v>9753</c:v>
                </c:pt>
                <c:pt idx="4502">
                  <c:v>9751</c:v>
                </c:pt>
                <c:pt idx="4503">
                  <c:v>9718</c:v>
                </c:pt>
                <c:pt idx="4504">
                  <c:v>9692</c:v>
                </c:pt>
                <c:pt idx="4505">
                  <c:v>9706</c:v>
                </c:pt>
                <c:pt idx="4506">
                  <c:v>9714</c:v>
                </c:pt>
                <c:pt idx="4507">
                  <c:v>9714</c:v>
                </c:pt>
                <c:pt idx="4508">
                  <c:v>9717</c:v>
                </c:pt>
                <c:pt idx="4509">
                  <c:v>9711</c:v>
                </c:pt>
                <c:pt idx="4510">
                  <c:v>9716</c:v>
                </c:pt>
                <c:pt idx="4511">
                  <c:v>9705</c:v>
                </c:pt>
                <c:pt idx="4512">
                  <c:v>9716</c:v>
                </c:pt>
                <c:pt idx="4513">
                  <c:v>9731</c:v>
                </c:pt>
                <c:pt idx="4514">
                  <c:v>9719</c:v>
                </c:pt>
                <c:pt idx="4515">
                  <c:v>9718</c:v>
                </c:pt>
                <c:pt idx="4516">
                  <c:v>9722</c:v>
                </c:pt>
                <c:pt idx="4517">
                  <c:v>9722</c:v>
                </c:pt>
                <c:pt idx="4518">
                  <c:v>9734</c:v>
                </c:pt>
                <c:pt idx="4519">
                  <c:v>9724</c:v>
                </c:pt>
                <c:pt idx="4520">
                  <c:v>9738</c:v>
                </c:pt>
                <c:pt idx="4521">
                  <c:v>9735</c:v>
                </c:pt>
                <c:pt idx="4522">
                  <c:v>9736</c:v>
                </c:pt>
                <c:pt idx="4523">
                  <c:v>9730</c:v>
                </c:pt>
                <c:pt idx="4524">
                  <c:v>9727</c:v>
                </c:pt>
                <c:pt idx="4525">
                  <c:v>9718</c:v>
                </c:pt>
                <c:pt idx="4526">
                  <c:v>9737</c:v>
                </c:pt>
                <c:pt idx="4527">
                  <c:v>9741</c:v>
                </c:pt>
                <c:pt idx="4528">
                  <c:v>9757</c:v>
                </c:pt>
                <c:pt idx="4529">
                  <c:v>9748</c:v>
                </c:pt>
                <c:pt idx="4530">
                  <c:v>9752</c:v>
                </c:pt>
                <c:pt idx="4531">
                  <c:v>9757</c:v>
                </c:pt>
                <c:pt idx="4532">
                  <c:v>9758</c:v>
                </c:pt>
                <c:pt idx="4533">
                  <c:v>9763</c:v>
                </c:pt>
                <c:pt idx="4534">
                  <c:v>9770</c:v>
                </c:pt>
                <c:pt idx="4535">
                  <c:v>9783</c:v>
                </c:pt>
                <c:pt idx="4536">
                  <c:v>9774</c:v>
                </c:pt>
                <c:pt idx="4537">
                  <c:v>9793</c:v>
                </c:pt>
                <c:pt idx="4538">
                  <c:v>9862</c:v>
                </c:pt>
                <c:pt idx="4539">
                  <c:v>9805</c:v>
                </c:pt>
                <c:pt idx="4540">
                  <c:v>9808</c:v>
                </c:pt>
                <c:pt idx="4541">
                  <c:v>9877</c:v>
                </c:pt>
                <c:pt idx="4542">
                  <c:v>9808</c:v>
                </c:pt>
                <c:pt idx="4543">
                  <c:v>9875</c:v>
                </c:pt>
                <c:pt idx="4544">
                  <c:v>9795</c:v>
                </c:pt>
                <c:pt idx="4545">
                  <c:v>9895</c:v>
                </c:pt>
                <c:pt idx="4546">
                  <c:v>9886</c:v>
                </c:pt>
                <c:pt idx="4547">
                  <c:v>10087</c:v>
                </c:pt>
                <c:pt idx="4548">
                  <c:v>9828</c:v>
                </c:pt>
                <c:pt idx="4549">
                  <c:v>9861</c:v>
                </c:pt>
                <c:pt idx="4550">
                  <c:v>9885</c:v>
                </c:pt>
                <c:pt idx="4551">
                  <c:v>9875</c:v>
                </c:pt>
                <c:pt idx="4552">
                  <c:v>9888</c:v>
                </c:pt>
                <c:pt idx="4553">
                  <c:v>9908</c:v>
                </c:pt>
                <c:pt idx="4554">
                  <c:v>10026</c:v>
                </c:pt>
                <c:pt idx="4555">
                  <c:v>9982</c:v>
                </c:pt>
                <c:pt idx="4556">
                  <c:v>10011</c:v>
                </c:pt>
                <c:pt idx="4557">
                  <c:v>10009</c:v>
                </c:pt>
                <c:pt idx="4558">
                  <c:v>9920</c:v>
                </c:pt>
                <c:pt idx="4559">
                  <c:v>9965</c:v>
                </c:pt>
                <c:pt idx="4560">
                  <c:v>9908</c:v>
                </c:pt>
                <c:pt idx="4561">
                  <c:v>10004</c:v>
                </c:pt>
                <c:pt idx="4562">
                  <c:v>9928</c:v>
                </c:pt>
                <c:pt idx="4563">
                  <c:v>9935</c:v>
                </c:pt>
                <c:pt idx="4564">
                  <c:v>9977</c:v>
                </c:pt>
                <c:pt idx="4565">
                  <c:v>9943</c:v>
                </c:pt>
                <c:pt idx="4566">
                  <c:v>9945</c:v>
                </c:pt>
                <c:pt idx="4567">
                  <c:v>9956</c:v>
                </c:pt>
                <c:pt idx="4568">
                  <c:v>9983</c:v>
                </c:pt>
                <c:pt idx="4569">
                  <c:v>9981</c:v>
                </c:pt>
                <c:pt idx="4570">
                  <c:v>9973</c:v>
                </c:pt>
                <c:pt idx="4571">
                  <c:v>9991</c:v>
                </c:pt>
                <c:pt idx="4572">
                  <c:v>10074</c:v>
                </c:pt>
                <c:pt idx="4573">
                  <c:v>10103</c:v>
                </c:pt>
                <c:pt idx="4574">
                  <c:v>10045</c:v>
                </c:pt>
                <c:pt idx="4575">
                  <c:v>10060</c:v>
                </c:pt>
                <c:pt idx="4576">
                  <c:v>10129</c:v>
                </c:pt>
                <c:pt idx="4577">
                  <c:v>10165</c:v>
                </c:pt>
                <c:pt idx="4578">
                  <c:v>10200</c:v>
                </c:pt>
                <c:pt idx="4579">
                  <c:v>10263</c:v>
                </c:pt>
                <c:pt idx="4580">
                  <c:v>10301</c:v>
                </c:pt>
                <c:pt idx="4581">
                  <c:v>10291</c:v>
                </c:pt>
                <c:pt idx="4582">
                  <c:v>10275</c:v>
                </c:pt>
                <c:pt idx="4583">
                  <c:v>10274</c:v>
                </c:pt>
                <c:pt idx="4584">
                  <c:v>10257</c:v>
                </c:pt>
                <c:pt idx="4585">
                  <c:v>10271</c:v>
                </c:pt>
                <c:pt idx="4586">
                  <c:v>10333</c:v>
                </c:pt>
                <c:pt idx="4587">
                  <c:v>10249</c:v>
                </c:pt>
                <c:pt idx="4588">
                  <c:v>10286</c:v>
                </c:pt>
                <c:pt idx="4589">
                  <c:v>10335</c:v>
                </c:pt>
                <c:pt idx="4590">
                  <c:v>10310</c:v>
                </c:pt>
                <c:pt idx="4591">
                  <c:v>10267</c:v>
                </c:pt>
                <c:pt idx="4592">
                  <c:v>10293</c:v>
                </c:pt>
                <c:pt idx="4593">
                  <c:v>10307</c:v>
                </c:pt>
                <c:pt idx="4594">
                  <c:v>10297</c:v>
                </c:pt>
                <c:pt idx="4595">
                  <c:v>10409</c:v>
                </c:pt>
                <c:pt idx="4596">
                  <c:v>10430</c:v>
                </c:pt>
                <c:pt idx="4597">
                  <c:v>10533</c:v>
                </c:pt>
                <c:pt idx="4598">
                  <c:v>10723</c:v>
                </c:pt>
                <c:pt idx="4599">
                  <c:v>10775</c:v>
                </c:pt>
                <c:pt idx="4600">
                  <c:v>10875</c:v>
                </c:pt>
                <c:pt idx="4601">
                  <c:v>11058</c:v>
                </c:pt>
                <c:pt idx="4602">
                  <c:v>10848</c:v>
                </c:pt>
                <c:pt idx="4603">
                  <c:v>11337</c:v>
                </c:pt>
                <c:pt idx="4604">
                  <c:v>11265</c:v>
                </c:pt>
                <c:pt idx="4605">
                  <c:v>10935</c:v>
                </c:pt>
                <c:pt idx="4606">
                  <c:v>11184</c:v>
                </c:pt>
                <c:pt idx="4607">
                  <c:v>11371</c:v>
                </c:pt>
                <c:pt idx="4608">
                  <c:v>11445</c:v>
                </c:pt>
                <c:pt idx="4609">
                  <c:v>11411</c:v>
                </c:pt>
                <c:pt idx="4610">
                  <c:v>11649</c:v>
                </c:pt>
                <c:pt idx="4611">
                  <c:v>11176</c:v>
                </c:pt>
                <c:pt idx="4612">
                  <c:v>11384</c:v>
                </c:pt>
                <c:pt idx="4613">
                  <c:v>11235</c:v>
                </c:pt>
                <c:pt idx="4614">
                  <c:v>11346</c:v>
                </c:pt>
                <c:pt idx="4615">
                  <c:v>11350</c:v>
                </c:pt>
                <c:pt idx="4616">
                  <c:v>11232</c:v>
                </c:pt>
                <c:pt idx="4617">
                  <c:v>11380</c:v>
                </c:pt>
                <c:pt idx="4618">
                  <c:v>11182</c:v>
                </c:pt>
                <c:pt idx="4619">
                  <c:v>11324</c:v>
                </c:pt>
                <c:pt idx="4620">
                  <c:v>10847</c:v>
                </c:pt>
                <c:pt idx="4621">
                  <c:v>11041</c:v>
                </c:pt>
                <c:pt idx="4622">
                  <c:v>11445</c:v>
                </c:pt>
                <c:pt idx="4623">
                  <c:v>11473</c:v>
                </c:pt>
                <c:pt idx="4624">
                  <c:v>11488</c:v>
                </c:pt>
                <c:pt idx="4625">
                  <c:v>11203</c:v>
                </c:pt>
                <c:pt idx="4626">
                  <c:v>11284</c:v>
                </c:pt>
                <c:pt idx="4627">
                  <c:v>11406</c:v>
                </c:pt>
                <c:pt idx="4628">
                  <c:v>11360</c:v>
                </c:pt>
                <c:pt idx="4629">
                  <c:v>11357</c:v>
                </c:pt>
                <c:pt idx="4630">
                  <c:v>11530</c:v>
                </c:pt>
                <c:pt idx="4631">
                  <c:v>11381</c:v>
                </c:pt>
                <c:pt idx="4632">
                  <c:v>11248</c:v>
                </c:pt>
                <c:pt idx="4633">
                  <c:v>11252</c:v>
                </c:pt>
                <c:pt idx="4634">
                  <c:v>11213</c:v>
                </c:pt>
                <c:pt idx="4635">
                  <c:v>11148</c:v>
                </c:pt>
                <c:pt idx="4636">
                  <c:v>11365</c:v>
                </c:pt>
                <c:pt idx="4637">
                  <c:v>10948</c:v>
                </c:pt>
                <c:pt idx="4638">
                  <c:v>10904</c:v>
                </c:pt>
                <c:pt idx="4639">
                  <c:v>11195</c:v>
                </c:pt>
                <c:pt idx="4640">
                  <c:v>11125</c:v>
                </c:pt>
                <c:pt idx="4641">
                  <c:v>10904</c:v>
                </c:pt>
                <c:pt idx="4642">
                  <c:v>10853</c:v>
                </c:pt>
                <c:pt idx="4643">
                  <c:v>11291</c:v>
                </c:pt>
                <c:pt idx="4644">
                  <c:v>10902</c:v>
                </c:pt>
                <c:pt idx="4645">
                  <c:v>11150</c:v>
                </c:pt>
                <c:pt idx="4646">
                  <c:v>11015</c:v>
                </c:pt>
                <c:pt idx="4647">
                  <c:v>11055</c:v>
                </c:pt>
                <c:pt idx="4648">
                  <c:v>11103</c:v>
                </c:pt>
                <c:pt idx="4649">
                  <c:v>11175</c:v>
                </c:pt>
                <c:pt idx="4650">
                  <c:v>11274</c:v>
                </c:pt>
                <c:pt idx="4651">
                  <c:v>11335</c:v>
                </c:pt>
                <c:pt idx="4652">
                  <c:v>11356</c:v>
                </c:pt>
                <c:pt idx="4653">
                  <c:v>11410</c:v>
                </c:pt>
                <c:pt idx="4654">
                  <c:v>11393</c:v>
                </c:pt>
                <c:pt idx="4655">
                  <c:v>11413</c:v>
                </c:pt>
                <c:pt idx="4656">
                  <c:v>11563</c:v>
                </c:pt>
                <c:pt idx="4657">
                  <c:v>11605</c:v>
                </c:pt>
                <c:pt idx="4658">
                  <c:v>11605</c:v>
                </c:pt>
                <c:pt idx="4659">
                  <c:v>11545</c:v>
                </c:pt>
                <c:pt idx="4660">
                  <c:v>11623</c:v>
                </c:pt>
                <c:pt idx="4661">
                  <c:v>11635</c:v>
                </c:pt>
                <c:pt idx="4662">
                  <c:v>11599</c:v>
                </c:pt>
                <c:pt idx="4663">
                  <c:v>11660</c:v>
                </c:pt>
                <c:pt idx="4664">
                  <c:v>11705</c:v>
                </c:pt>
                <c:pt idx="4665">
                  <c:v>11700</c:v>
                </c:pt>
                <c:pt idx="4666">
                  <c:v>11510</c:v>
                </c:pt>
                <c:pt idx="4667">
                  <c:v>11765</c:v>
                </c:pt>
                <c:pt idx="4668">
                  <c:v>11886</c:v>
                </c:pt>
                <c:pt idx="4669">
                  <c:v>12018</c:v>
                </c:pt>
                <c:pt idx="4670">
                  <c:v>11965</c:v>
                </c:pt>
                <c:pt idx="4671">
                  <c:v>11770</c:v>
                </c:pt>
                <c:pt idx="4672">
                  <c:v>11888</c:v>
                </c:pt>
                <c:pt idx="4673">
                  <c:v>11986</c:v>
                </c:pt>
                <c:pt idx="4674">
                  <c:v>11965</c:v>
                </c:pt>
                <c:pt idx="4675">
                  <c:v>11964</c:v>
                </c:pt>
                <c:pt idx="4676">
                  <c:v>11974</c:v>
                </c:pt>
                <c:pt idx="4677">
                  <c:v>11920</c:v>
                </c:pt>
                <c:pt idx="4678">
                  <c:v>11991</c:v>
                </c:pt>
                <c:pt idx="4679">
                  <c:v>12023</c:v>
                </c:pt>
                <c:pt idx="4680">
                  <c:v>12106</c:v>
                </c:pt>
                <c:pt idx="4681">
                  <c:v>12105</c:v>
                </c:pt>
                <c:pt idx="4682">
                  <c:v>12125</c:v>
                </c:pt>
                <c:pt idx="4683">
                  <c:v>12168</c:v>
                </c:pt>
                <c:pt idx="4684">
                  <c:v>12209</c:v>
                </c:pt>
                <c:pt idx="4685">
                  <c:v>12214</c:v>
                </c:pt>
                <c:pt idx="4686">
                  <c:v>12195</c:v>
                </c:pt>
                <c:pt idx="4687">
                  <c:v>12201</c:v>
                </c:pt>
                <c:pt idx="4688">
                  <c:v>12160</c:v>
                </c:pt>
                <c:pt idx="4689">
                  <c:v>12261</c:v>
                </c:pt>
                <c:pt idx="4690">
                  <c:v>12210</c:v>
                </c:pt>
                <c:pt idx="4691">
                  <c:v>12171</c:v>
                </c:pt>
                <c:pt idx="4692">
                  <c:v>12160</c:v>
                </c:pt>
                <c:pt idx="4693">
                  <c:v>12180</c:v>
                </c:pt>
                <c:pt idx="4694">
                  <c:v>12181</c:v>
                </c:pt>
                <c:pt idx="4695">
                  <c:v>12238</c:v>
                </c:pt>
                <c:pt idx="4696">
                  <c:v>12235</c:v>
                </c:pt>
                <c:pt idx="4697">
                  <c:v>12193</c:v>
                </c:pt>
                <c:pt idx="4698">
                  <c:v>12162</c:v>
                </c:pt>
                <c:pt idx="4699">
                  <c:v>12050</c:v>
                </c:pt>
                <c:pt idx="4700">
                  <c:v>12085</c:v>
                </c:pt>
                <c:pt idx="4701">
                  <c:v>12125</c:v>
                </c:pt>
                <c:pt idx="4702">
                  <c:v>12091</c:v>
                </c:pt>
                <c:pt idx="4703">
                  <c:v>12113</c:v>
                </c:pt>
                <c:pt idx="4704">
                  <c:v>12134</c:v>
                </c:pt>
                <c:pt idx="4705">
                  <c:v>12143</c:v>
                </c:pt>
                <c:pt idx="4706">
                  <c:v>12165</c:v>
                </c:pt>
                <c:pt idx="4707">
                  <c:v>12181</c:v>
                </c:pt>
                <c:pt idx="4708">
                  <c:v>12238</c:v>
                </c:pt>
                <c:pt idx="4709">
                  <c:v>12190</c:v>
                </c:pt>
                <c:pt idx="4710">
                  <c:v>12166</c:v>
                </c:pt>
                <c:pt idx="4711">
                  <c:v>12213</c:v>
                </c:pt>
                <c:pt idx="4712">
                  <c:v>12240</c:v>
                </c:pt>
                <c:pt idx="4713">
                  <c:v>12203</c:v>
                </c:pt>
                <c:pt idx="4714">
                  <c:v>12194</c:v>
                </c:pt>
                <c:pt idx="4715">
                  <c:v>12194</c:v>
                </c:pt>
                <c:pt idx="4716">
                  <c:v>12161</c:v>
                </c:pt>
                <c:pt idx="4717">
                  <c:v>12173</c:v>
                </c:pt>
                <c:pt idx="4718">
                  <c:v>12148</c:v>
                </c:pt>
                <c:pt idx="4719">
                  <c:v>12088</c:v>
                </c:pt>
                <c:pt idx="4720">
                  <c:v>11980</c:v>
                </c:pt>
                <c:pt idx="4721">
                  <c:v>11831</c:v>
                </c:pt>
                <c:pt idx="4722">
                  <c:v>11785</c:v>
                </c:pt>
                <c:pt idx="4723">
                  <c:v>11848</c:v>
                </c:pt>
                <c:pt idx="4724">
                  <c:v>11778</c:v>
                </c:pt>
                <c:pt idx="4725">
                  <c:v>11825</c:v>
                </c:pt>
                <c:pt idx="4726">
                  <c:v>11744</c:v>
                </c:pt>
                <c:pt idx="4727">
                  <c:v>11649</c:v>
                </c:pt>
                <c:pt idx="4728">
                  <c:v>11665</c:v>
                </c:pt>
                <c:pt idx="4729">
                  <c:v>11648</c:v>
                </c:pt>
                <c:pt idx="4730">
                  <c:v>11668</c:v>
                </c:pt>
                <c:pt idx="4731">
                  <c:v>11610</c:v>
                </c:pt>
                <c:pt idx="4732">
                  <c:v>11593</c:v>
                </c:pt>
                <c:pt idx="4733">
                  <c:v>11598</c:v>
                </c:pt>
                <c:pt idx="4734">
                  <c:v>11582</c:v>
                </c:pt>
                <c:pt idx="4735">
                  <c:v>11482</c:v>
                </c:pt>
                <c:pt idx="4736">
                  <c:v>11440</c:v>
                </c:pt>
                <c:pt idx="4737">
                  <c:v>11370</c:v>
                </c:pt>
                <c:pt idx="4738">
                  <c:v>11400</c:v>
                </c:pt>
                <c:pt idx="4739">
                  <c:v>11428</c:v>
                </c:pt>
                <c:pt idx="4740">
                  <c:v>11386</c:v>
                </c:pt>
                <c:pt idx="4741">
                  <c:v>11356</c:v>
                </c:pt>
                <c:pt idx="4742">
                  <c:v>11293</c:v>
                </c:pt>
                <c:pt idx="4743">
                  <c:v>11329</c:v>
                </c:pt>
                <c:pt idx="4744">
                  <c:v>11316</c:v>
                </c:pt>
                <c:pt idx="4745">
                  <c:v>11446</c:v>
                </c:pt>
                <c:pt idx="4746">
                  <c:v>11425</c:v>
                </c:pt>
                <c:pt idx="4747">
                  <c:v>11380</c:v>
                </c:pt>
                <c:pt idx="4748">
                  <c:v>11394</c:v>
                </c:pt>
                <c:pt idx="4749">
                  <c:v>11413</c:v>
                </c:pt>
                <c:pt idx="4750">
                  <c:v>11448</c:v>
                </c:pt>
                <c:pt idx="4751">
                  <c:v>11361</c:v>
                </c:pt>
                <c:pt idx="4752">
                  <c:v>11314</c:v>
                </c:pt>
                <c:pt idx="4753">
                  <c:v>11295</c:v>
                </c:pt>
                <c:pt idx="4754">
                  <c:v>11324</c:v>
                </c:pt>
                <c:pt idx="4755">
                  <c:v>11317</c:v>
                </c:pt>
                <c:pt idx="4756">
                  <c:v>11305</c:v>
                </c:pt>
                <c:pt idx="4757">
                  <c:v>11289</c:v>
                </c:pt>
                <c:pt idx="4758">
                  <c:v>11358</c:v>
                </c:pt>
                <c:pt idx="4759">
                  <c:v>11414</c:v>
                </c:pt>
                <c:pt idx="4760">
                  <c:v>11438</c:v>
                </c:pt>
                <c:pt idx="4761">
                  <c:v>11428</c:v>
                </c:pt>
                <c:pt idx="4762">
                  <c:v>11436</c:v>
                </c:pt>
                <c:pt idx="4763">
                  <c:v>11424</c:v>
                </c:pt>
                <c:pt idx="4764">
                  <c:v>11446</c:v>
                </c:pt>
                <c:pt idx="4765">
                  <c:v>11521</c:v>
                </c:pt>
                <c:pt idx="4766">
                  <c:v>11630</c:v>
                </c:pt>
                <c:pt idx="4767">
                  <c:v>11603</c:v>
                </c:pt>
                <c:pt idx="4768">
                  <c:v>11565</c:v>
                </c:pt>
                <c:pt idx="4769">
                  <c:v>11587</c:v>
                </c:pt>
                <c:pt idx="4770">
                  <c:v>11549</c:v>
                </c:pt>
                <c:pt idx="4771">
                  <c:v>11562</c:v>
                </c:pt>
                <c:pt idx="4772">
                  <c:v>11525</c:v>
                </c:pt>
                <c:pt idx="4773">
                  <c:v>11520</c:v>
                </c:pt>
                <c:pt idx="4774">
                  <c:v>11519</c:v>
                </c:pt>
                <c:pt idx="4775">
                  <c:v>11578</c:v>
                </c:pt>
                <c:pt idx="4776">
                  <c:v>11563</c:v>
                </c:pt>
                <c:pt idx="4777">
                  <c:v>11532</c:v>
                </c:pt>
                <c:pt idx="4778">
                  <c:v>11523</c:v>
                </c:pt>
                <c:pt idx="4779">
                  <c:v>11538</c:v>
                </c:pt>
                <c:pt idx="4780">
                  <c:v>11447</c:v>
                </c:pt>
                <c:pt idx="4781">
                  <c:v>11413</c:v>
                </c:pt>
                <c:pt idx="4782">
                  <c:v>11419</c:v>
                </c:pt>
                <c:pt idx="4783">
                  <c:v>11490</c:v>
                </c:pt>
                <c:pt idx="4784">
                  <c:v>11509</c:v>
                </c:pt>
                <c:pt idx="4785">
                  <c:v>11531</c:v>
                </c:pt>
                <c:pt idx="4786">
                  <c:v>11615</c:v>
                </c:pt>
                <c:pt idx="4787">
                  <c:v>11579</c:v>
                </c:pt>
                <c:pt idx="4788">
                  <c:v>11633</c:v>
                </c:pt>
                <c:pt idx="4789">
                  <c:v>11676</c:v>
                </c:pt>
                <c:pt idx="4790">
                  <c:v>11766</c:v>
                </c:pt>
                <c:pt idx="4791">
                  <c:v>11810</c:v>
                </c:pt>
                <c:pt idx="4792">
                  <c:v>11890</c:v>
                </c:pt>
                <c:pt idx="4793">
                  <c:v>11860</c:v>
                </c:pt>
                <c:pt idx="4794">
                  <c:v>11838</c:v>
                </c:pt>
                <c:pt idx="4795">
                  <c:v>11779</c:v>
                </c:pt>
                <c:pt idx="4796">
                  <c:v>11815</c:v>
                </c:pt>
                <c:pt idx="4797">
                  <c:v>11810</c:v>
                </c:pt>
                <c:pt idx="4798">
                  <c:v>11790</c:v>
                </c:pt>
                <c:pt idx="4799">
                  <c:v>11796</c:v>
                </c:pt>
                <c:pt idx="4800">
                  <c:v>11819</c:v>
                </c:pt>
                <c:pt idx="4801">
                  <c:v>11893</c:v>
                </c:pt>
                <c:pt idx="4802">
                  <c:v>11997</c:v>
                </c:pt>
                <c:pt idx="4803">
                  <c:v>11935</c:v>
                </c:pt>
                <c:pt idx="4804">
                  <c:v>11973</c:v>
                </c:pt>
                <c:pt idx="4805">
                  <c:v>11992</c:v>
                </c:pt>
                <c:pt idx="4806">
                  <c:v>11989</c:v>
                </c:pt>
                <c:pt idx="4807">
                  <c:v>12090</c:v>
                </c:pt>
                <c:pt idx="4808">
                  <c:v>12099</c:v>
                </c:pt>
                <c:pt idx="4809">
                  <c:v>11995</c:v>
                </c:pt>
                <c:pt idx="4810">
                  <c:v>11875</c:v>
                </c:pt>
                <c:pt idx="4811">
                  <c:v>11864</c:v>
                </c:pt>
                <c:pt idx="4812">
                  <c:v>11913</c:v>
                </c:pt>
                <c:pt idx="4813">
                  <c:v>11918</c:v>
                </c:pt>
                <c:pt idx="4814">
                  <c:v>11873</c:v>
                </c:pt>
                <c:pt idx="4815">
                  <c:v>11713</c:v>
                </c:pt>
                <c:pt idx="4816">
                  <c:v>11626</c:v>
                </c:pt>
                <c:pt idx="4817">
                  <c:v>11574</c:v>
                </c:pt>
                <c:pt idx="4818">
                  <c:v>11588</c:v>
                </c:pt>
                <c:pt idx="4819">
                  <c:v>11665</c:v>
                </c:pt>
                <c:pt idx="4820">
                  <c:v>11736</c:v>
                </c:pt>
                <c:pt idx="4821">
                  <c:v>11698</c:v>
                </c:pt>
                <c:pt idx="4822">
                  <c:v>11686</c:v>
                </c:pt>
                <c:pt idx="4823">
                  <c:v>11615</c:v>
                </c:pt>
                <c:pt idx="4824">
                  <c:v>11572</c:v>
                </c:pt>
                <c:pt idx="4825">
                  <c:v>11606</c:v>
                </c:pt>
                <c:pt idx="4826">
                  <c:v>11508</c:v>
                </c:pt>
                <c:pt idx="4827">
                  <c:v>11569</c:v>
                </c:pt>
                <c:pt idx="4828">
                  <c:v>11578</c:v>
                </c:pt>
                <c:pt idx="4829">
                  <c:v>11580</c:v>
                </c:pt>
                <c:pt idx="4830">
                  <c:v>11803</c:v>
                </c:pt>
                <c:pt idx="4831">
                  <c:v>11761</c:v>
                </c:pt>
                <c:pt idx="4832">
                  <c:v>11698</c:v>
                </c:pt>
                <c:pt idx="4833">
                  <c:v>11751</c:v>
                </c:pt>
                <c:pt idx="4834">
                  <c:v>11796</c:v>
                </c:pt>
                <c:pt idx="4835">
                  <c:v>11779</c:v>
                </c:pt>
                <c:pt idx="4836">
                  <c:v>11678</c:v>
                </c:pt>
                <c:pt idx="4837">
                  <c:v>11689</c:v>
                </c:pt>
                <c:pt idx="4838">
                  <c:v>11693</c:v>
                </c:pt>
                <c:pt idx="4839">
                  <c:v>11679</c:v>
                </c:pt>
                <c:pt idx="4840">
                  <c:v>11678</c:v>
                </c:pt>
                <c:pt idx="4841">
                  <c:v>11687</c:v>
                </c:pt>
                <c:pt idx="4842">
                  <c:v>11679</c:v>
                </c:pt>
                <c:pt idx="4843">
                  <c:v>11705</c:v>
                </c:pt>
                <c:pt idx="4844">
                  <c:v>11693</c:v>
                </c:pt>
                <c:pt idx="4845">
                  <c:v>11673</c:v>
                </c:pt>
                <c:pt idx="4846">
                  <c:v>11714</c:v>
                </c:pt>
                <c:pt idx="4847">
                  <c:v>11707</c:v>
                </c:pt>
                <c:pt idx="4848">
                  <c:v>11682</c:v>
                </c:pt>
                <c:pt idx="4849">
                  <c:v>11701</c:v>
                </c:pt>
                <c:pt idx="4850">
                  <c:v>11690</c:v>
                </c:pt>
                <c:pt idx="4851">
                  <c:v>11716</c:v>
                </c:pt>
                <c:pt idx="4852">
                  <c:v>11748</c:v>
                </c:pt>
                <c:pt idx="4853">
                  <c:v>11764</c:v>
                </c:pt>
                <c:pt idx="4854">
                  <c:v>11765</c:v>
                </c:pt>
                <c:pt idx="4855">
                  <c:v>11759</c:v>
                </c:pt>
                <c:pt idx="4856">
                  <c:v>11726</c:v>
                </c:pt>
                <c:pt idx="4857">
                  <c:v>11771</c:v>
                </c:pt>
                <c:pt idx="4858">
                  <c:v>11814</c:v>
                </c:pt>
                <c:pt idx="4859">
                  <c:v>11827</c:v>
                </c:pt>
                <c:pt idx="4860">
                  <c:v>11822</c:v>
                </c:pt>
                <c:pt idx="4861">
                  <c:v>11971</c:v>
                </c:pt>
                <c:pt idx="4862">
                  <c:v>11971</c:v>
                </c:pt>
                <c:pt idx="4863">
                  <c:v>11970</c:v>
                </c:pt>
                <c:pt idx="4864">
                  <c:v>11983</c:v>
                </c:pt>
                <c:pt idx="4865">
                  <c:v>11970</c:v>
                </c:pt>
                <c:pt idx="4866">
                  <c:v>11976</c:v>
                </c:pt>
                <c:pt idx="4867">
                  <c:v>11969</c:v>
                </c:pt>
                <c:pt idx="4868">
                  <c:v>11954</c:v>
                </c:pt>
                <c:pt idx="4869">
                  <c:v>11983</c:v>
                </c:pt>
                <c:pt idx="4870">
                  <c:v>12048</c:v>
                </c:pt>
                <c:pt idx="4871">
                  <c:v>12169</c:v>
                </c:pt>
                <c:pt idx="4872">
                  <c:v>12188</c:v>
                </c:pt>
                <c:pt idx="4873">
                  <c:v>12135</c:v>
                </c:pt>
                <c:pt idx="4874">
                  <c:v>12150</c:v>
                </c:pt>
                <c:pt idx="4875">
                  <c:v>12178</c:v>
                </c:pt>
                <c:pt idx="4876">
                  <c:v>12212</c:v>
                </c:pt>
                <c:pt idx="4877">
                  <c:v>12202</c:v>
                </c:pt>
                <c:pt idx="4878">
                  <c:v>12239</c:v>
                </c:pt>
                <c:pt idx="4879">
                  <c:v>12186</c:v>
                </c:pt>
                <c:pt idx="4880">
                  <c:v>12222</c:v>
                </c:pt>
                <c:pt idx="4881">
                  <c:v>12201</c:v>
                </c:pt>
                <c:pt idx="4882">
                  <c:v>12206</c:v>
                </c:pt>
                <c:pt idx="4883">
                  <c:v>12227</c:v>
                </c:pt>
                <c:pt idx="4884">
                  <c:v>12260</c:v>
                </c:pt>
                <c:pt idx="4885">
                  <c:v>12110</c:v>
                </c:pt>
                <c:pt idx="4886">
                  <c:v>12032</c:v>
                </c:pt>
                <c:pt idx="4887">
                  <c:v>12001</c:v>
                </c:pt>
                <c:pt idx="4888">
                  <c:v>12014</c:v>
                </c:pt>
                <c:pt idx="4889">
                  <c:v>12063</c:v>
                </c:pt>
                <c:pt idx="4890">
                  <c:v>12069</c:v>
                </c:pt>
                <c:pt idx="4891">
                  <c:v>12109</c:v>
                </c:pt>
                <c:pt idx="4892">
                  <c:v>12169</c:v>
                </c:pt>
                <c:pt idx="4893">
                  <c:v>12083</c:v>
                </c:pt>
                <c:pt idx="4894">
                  <c:v>12139</c:v>
                </c:pt>
                <c:pt idx="4895">
                  <c:v>12085</c:v>
                </c:pt>
                <c:pt idx="4896">
                  <c:v>12109</c:v>
                </c:pt>
                <c:pt idx="4897">
                  <c:v>12110</c:v>
                </c:pt>
                <c:pt idx="4898">
                  <c:v>12162</c:v>
                </c:pt>
                <c:pt idx="4899">
                  <c:v>12149</c:v>
                </c:pt>
                <c:pt idx="4900">
                  <c:v>12178</c:v>
                </c:pt>
                <c:pt idx="4901">
                  <c:v>12168</c:v>
                </c:pt>
                <c:pt idx="4902">
                  <c:v>12222</c:v>
                </c:pt>
                <c:pt idx="4903">
                  <c:v>12195</c:v>
                </c:pt>
                <c:pt idx="4904">
                  <c:v>12205</c:v>
                </c:pt>
                <c:pt idx="4905">
                  <c:v>12214</c:v>
                </c:pt>
                <c:pt idx="4906">
                  <c:v>12206</c:v>
                </c:pt>
                <c:pt idx="4907">
                  <c:v>12136</c:v>
                </c:pt>
                <c:pt idx="4908">
                  <c:v>12142</c:v>
                </c:pt>
                <c:pt idx="4909">
                  <c:v>12175</c:v>
                </c:pt>
                <c:pt idx="4910">
                  <c:v>12147</c:v>
                </c:pt>
                <c:pt idx="4911">
                  <c:v>12153</c:v>
                </c:pt>
                <c:pt idx="4912">
                  <c:v>12164</c:v>
                </c:pt>
                <c:pt idx="4913">
                  <c:v>12178</c:v>
                </c:pt>
                <c:pt idx="4914">
                  <c:v>12177</c:v>
                </c:pt>
                <c:pt idx="4915">
                  <c:v>12206</c:v>
                </c:pt>
                <c:pt idx="4916">
                  <c:v>12281</c:v>
                </c:pt>
                <c:pt idx="4917">
                  <c:v>12271</c:v>
                </c:pt>
                <c:pt idx="4918">
                  <c:v>12301</c:v>
                </c:pt>
                <c:pt idx="4919">
                  <c:v>12309</c:v>
                </c:pt>
                <c:pt idx="4920">
                  <c:v>12299</c:v>
                </c:pt>
                <c:pt idx="4921">
                  <c:v>12390</c:v>
                </c:pt>
                <c:pt idx="4922">
                  <c:v>12331</c:v>
                </c:pt>
                <c:pt idx="4923">
                  <c:v>12338</c:v>
                </c:pt>
                <c:pt idx="4924">
                  <c:v>12350</c:v>
                </c:pt>
                <c:pt idx="4925">
                  <c:v>12467</c:v>
                </c:pt>
                <c:pt idx="4926">
                  <c:v>12714</c:v>
                </c:pt>
                <c:pt idx="4927">
                  <c:v>12725</c:v>
                </c:pt>
                <c:pt idx="4928">
                  <c:v>12667</c:v>
                </c:pt>
                <c:pt idx="4929">
                  <c:v>12563</c:v>
                </c:pt>
                <c:pt idx="4930">
                  <c:v>12497</c:v>
                </c:pt>
                <c:pt idx="4931">
                  <c:v>12441</c:v>
                </c:pt>
                <c:pt idx="4932">
                  <c:v>12463</c:v>
                </c:pt>
                <c:pt idx="4933">
                  <c:v>12469</c:v>
                </c:pt>
                <c:pt idx="4934">
                  <c:v>12440</c:v>
                </c:pt>
                <c:pt idx="4935">
                  <c:v>12409</c:v>
                </c:pt>
                <c:pt idx="4936">
                  <c:v>12441</c:v>
                </c:pt>
                <c:pt idx="4937">
                  <c:v>12434</c:v>
                </c:pt>
                <c:pt idx="4938">
                  <c:v>12388</c:v>
                </c:pt>
                <c:pt idx="4939">
                  <c:v>12545</c:v>
                </c:pt>
                <c:pt idx="4940">
                  <c:v>12614</c:v>
                </c:pt>
                <c:pt idx="4941">
                  <c:v>12647</c:v>
                </c:pt>
                <c:pt idx="4942">
                  <c:v>12735</c:v>
                </c:pt>
                <c:pt idx="4943">
                  <c:v>12674</c:v>
                </c:pt>
                <c:pt idx="4944">
                  <c:v>12647</c:v>
                </c:pt>
                <c:pt idx="4945">
                  <c:v>12599</c:v>
                </c:pt>
                <c:pt idx="4946">
                  <c:v>12601</c:v>
                </c:pt>
                <c:pt idx="4947">
                  <c:v>12614</c:v>
                </c:pt>
                <c:pt idx="4948">
                  <c:v>12555</c:v>
                </c:pt>
                <c:pt idx="4949">
                  <c:v>12590</c:v>
                </c:pt>
                <c:pt idx="4950">
                  <c:v>12618</c:v>
                </c:pt>
                <c:pt idx="4951">
                  <c:v>12576</c:v>
                </c:pt>
                <c:pt idx="4952">
                  <c:v>12481</c:v>
                </c:pt>
                <c:pt idx="4953">
                  <c:v>12487</c:v>
                </c:pt>
                <c:pt idx="4954">
                  <c:v>12459</c:v>
                </c:pt>
                <c:pt idx="4955">
                  <c:v>12507</c:v>
                </c:pt>
                <c:pt idx="4956">
                  <c:v>12469</c:v>
                </c:pt>
                <c:pt idx="4957">
                  <c:v>12487</c:v>
                </c:pt>
                <c:pt idx="4958">
                  <c:v>12582</c:v>
                </c:pt>
                <c:pt idx="4959">
                  <c:v>12672</c:v>
                </c:pt>
                <c:pt idx="4960">
                  <c:v>12686</c:v>
                </c:pt>
                <c:pt idx="4961">
                  <c:v>12657</c:v>
                </c:pt>
                <c:pt idx="4962">
                  <c:v>12630</c:v>
                </c:pt>
                <c:pt idx="4963">
                  <c:v>12635</c:v>
                </c:pt>
                <c:pt idx="4964">
                  <c:v>12621</c:v>
                </c:pt>
                <c:pt idx="4965">
                  <c:v>12653</c:v>
                </c:pt>
                <c:pt idx="4966">
                  <c:v>12670</c:v>
                </c:pt>
                <c:pt idx="4967">
                  <c:v>12723</c:v>
                </c:pt>
                <c:pt idx="4968">
                  <c:v>12802</c:v>
                </c:pt>
                <c:pt idx="4969">
                  <c:v>12798</c:v>
                </c:pt>
                <c:pt idx="4970">
                  <c:v>12753</c:v>
                </c:pt>
                <c:pt idx="4971">
                  <c:v>12762</c:v>
                </c:pt>
                <c:pt idx="4972">
                  <c:v>12870</c:v>
                </c:pt>
                <c:pt idx="4973">
                  <c:v>12832</c:v>
                </c:pt>
                <c:pt idx="4974">
                  <c:v>12825</c:v>
                </c:pt>
                <c:pt idx="4975">
                  <c:v>12836</c:v>
                </c:pt>
                <c:pt idx="4976">
                  <c:v>12922</c:v>
                </c:pt>
                <c:pt idx="4977">
                  <c:v>12856</c:v>
                </c:pt>
                <c:pt idx="4978">
                  <c:v>12831</c:v>
                </c:pt>
                <c:pt idx="4979">
                  <c:v>12932</c:v>
                </c:pt>
                <c:pt idx="4980">
                  <c:v>12970</c:v>
                </c:pt>
                <c:pt idx="4981">
                  <c:v>12969</c:v>
                </c:pt>
                <c:pt idx="4982">
                  <c:v>12991</c:v>
                </c:pt>
                <c:pt idx="4983">
                  <c:v>12990</c:v>
                </c:pt>
                <c:pt idx="4984">
                  <c:v>12976</c:v>
                </c:pt>
                <c:pt idx="4985">
                  <c:v>13051</c:v>
                </c:pt>
                <c:pt idx="4986">
                  <c:v>13094</c:v>
                </c:pt>
                <c:pt idx="4987">
                  <c:v>13192</c:v>
                </c:pt>
                <c:pt idx="4988">
                  <c:v>13183</c:v>
                </c:pt>
                <c:pt idx="4989">
                  <c:v>13205</c:v>
                </c:pt>
                <c:pt idx="4990">
                  <c:v>13245</c:v>
                </c:pt>
                <c:pt idx="4991">
                  <c:v>13180</c:v>
                </c:pt>
                <c:pt idx="4992">
                  <c:v>13178</c:v>
                </c:pt>
                <c:pt idx="4993">
                  <c:v>13057</c:v>
                </c:pt>
                <c:pt idx="4994">
                  <c:v>13124</c:v>
                </c:pt>
                <c:pt idx="4995">
                  <c:v>13022</c:v>
                </c:pt>
                <c:pt idx="4996">
                  <c:v>12912</c:v>
                </c:pt>
                <c:pt idx="4997">
                  <c:v>12984</c:v>
                </c:pt>
                <c:pt idx="4998">
                  <c:v>13018</c:v>
                </c:pt>
                <c:pt idx="4999">
                  <c:v>13065</c:v>
                </c:pt>
                <c:pt idx="5000">
                  <c:v>13075</c:v>
                </c:pt>
                <c:pt idx="5001">
                  <c:v>13074</c:v>
                </c:pt>
                <c:pt idx="5002">
                  <c:v>13048</c:v>
                </c:pt>
                <c:pt idx="5003">
                  <c:v>13003</c:v>
                </c:pt>
                <c:pt idx="5004">
                  <c:v>13020</c:v>
                </c:pt>
                <c:pt idx="5005">
                  <c:v>12960</c:v>
                </c:pt>
                <c:pt idx="5006">
                  <c:v>12987</c:v>
                </c:pt>
                <c:pt idx="5007">
                  <c:v>12957</c:v>
                </c:pt>
                <c:pt idx="5008">
                  <c:v>12905</c:v>
                </c:pt>
                <c:pt idx="5009">
                  <c:v>12927</c:v>
                </c:pt>
                <c:pt idx="5010">
                  <c:v>12988</c:v>
                </c:pt>
                <c:pt idx="5011">
                  <c:v>12984</c:v>
                </c:pt>
                <c:pt idx="5012">
                  <c:v>12905</c:v>
                </c:pt>
                <c:pt idx="5013">
                  <c:v>12859</c:v>
                </c:pt>
                <c:pt idx="5014">
                  <c:v>12850</c:v>
                </c:pt>
                <c:pt idx="5015">
                  <c:v>12893</c:v>
                </c:pt>
                <c:pt idx="5016">
                  <c:v>12955</c:v>
                </c:pt>
                <c:pt idx="5017">
                  <c:v>12896</c:v>
                </c:pt>
                <c:pt idx="5018">
                  <c:v>12954</c:v>
                </c:pt>
                <c:pt idx="5019">
                  <c:v>12922</c:v>
                </c:pt>
                <c:pt idx="5020">
                  <c:v>12983</c:v>
                </c:pt>
                <c:pt idx="5021">
                  <c:v>12996</c:v>
                </c:pt>
                <c:pt idx="5022">
                  <c:v>12937</c:v>
                </c:pt>
                <c:pt idx="5023">
                  <c:v>12963</c:v>
                </c:pt>
                <c:pt idx="5024">
                  <c:v>12948</c:v>
                </c:pt>
                <c:pt idx="5025">
                  <c:v>12987</c:v>
                </c:pt>
                <c:pt idx="5026">
                  <c:v>13062</c:v>
                </c:pt>
                <c:pt idx="5027">
                  <c:v>13035</c:v>
                </c:pt>
                <c:pt idx="5028">
                  <c:v>13148</c:v>
                </c:pt>
                <c:pt idx="5029">
                  <c:v>13121</c:v>
                </c:pt>
                <c:pt idx="5030">
                  <c:v>13155</c:v>
                </c:pt>
                <c:pt idx="5031">
                  <c:v>13194</c:v>
                </c:pt>
                <c:pt idx="5032">
                  <c:v>13122</c:v>
                </c:pt>
                <c:pt idx="5033">
                  <c:v>13055</c:v>
                </c:pt>
                <c:pt idx="5034">
                  <c:v>13084</c:v>
                </c:pt>
                <c:pt idx="5035">
                  <c:v>13139</c:v>
                </c:pt>
                <c:pt idx="5036">
                  <c:v>13098</c:v>
                </c:pt>
                <c:pt idx="5037">
                  <c:v>13175</c:v>
                </c:pt>
                <c:pt idx="5038">
                  <c:v>13122</c:v>
                </c:pt>
                <c:pt idx="5039">
                  <c:v>13158</c:v>
                </c:pt>
                <c:pt idx="5040">
                  <c:v>13187</c:v>
                </c:pt>
                <c:pt idx="5041">
                  <c:v>13220</c:v>
                </c:pt>
                <c:pt idx="5042">
                  <c:v>13189</c:v>
                </c:pt>
                <c:pt idx="5043">
                  <c:v>13223</c:v>
                </c:pt>
                <c:pt idx="5044">
                  <c:v>13224</c:v>
                </c:pt>
                <c:pt idx="5045">
                  <c:v>13214</c:v>
                </c:pt>
                <c:pt idx="5046">
                  <c:v>13210</c:v>
                </c:pt>
                <c:pt idx="5047">
                  <c:v>13230</c:v>
                </c:pt>
                <c:pt idx="5048">
                  <c:v>13281</c:v>
                </c:pt>
                <c:pt idx="5049">
                  <c:v>13290</c:v>
                </c:pt>
                <c:pt idx="5050">
                  <c:v>13385</c:v>
                </c:pt>
                <c:pt idx="5051">
                  <c:v>13308</c:v>
                </c:pt>
                <c:pt idx="5052">
                  <c:v>13315</c:v>
                </c:pt>
                <c:pt idx="5053">
                  <c:v>13322</c:v>
                </c:pt>
                <c:pt idx="5054">
                  <c:v>13335</c:v>
                </c:pt>
                <c:pt idx="5055">
                  <c:v>13326</c:v>
                </c:pt>
                <c:pt idx="5056">
                  <c:v>13348</c:v>
                </c:pt>
                <c:pt idx="5057">
                  <c:v>13348</c:v>
                </c:pt>
                <c:pt idx="5058">
                  <c:v>13307</c:v>
                </c:pt>
                <c:pt idx="5059">
                  <c:v>13332</c:v>
                </c:pt>
                <c:pt idx="5060">
                  <c:v>13306</c:v>
                </c:pt>
                <c:pt idx="5061">
                  <c:v>13255</c:v>
                </c:pt>
                <c:pt idx="5062">
                  <c:v>13301</c:v>
                </c:pt>
                <c:pt idx="5063">
                  <c:v>13328</c:v>
                </c:pt>
                <c:pt idx="5064">
                  <c:v>13308</c:v>
                </c:pt>
                <c:pt idx="5065">
                  <c:v>13339</c:v>
                </c:pt>
                <c:pt idx="5066">
                  <c:v>13339</c:v>
                </c:pt>
                <c:pt idx="5067">
                  <c:v>13325</c:v>
                </c:pt>
                <c:pt idx="5068">
                  <c:v>13337</c:v>
                </c:pt>
                <c:pt idx="5069">
                  <c:v>13320</c:v>
                </c:pt>
                <c:pt idx="5070">
                  <c:v>13347</c:v>
                </c:pt>
                <c:pt idx="5071">
                  <c:v>13330</c:v>
                </c:pt>
                <c:pt idx="5072">
                  <c:v>13356</c:v>
                </c:pt>
                <c:pt idx="5073">
                  <c:v>13334</c:v>
                </c:pt>
                <c:pt idx="5074">
                  <c:v>13314</c:v>
                </c:pt>
                <c:pt idx="5075">
                  <c:v>13298</c:v>
                </c:pt>
                <c:pt idx="5076">
                  <c:v>13339</c:v>
                </c:pt>
                <c:pt idx="5077">
                  <c:v>13346</c:v>
                </c:pt>
                <c:pt idx="5078">
                  <c:v>13348</c:v>
                </c:pt>
                <c:pt idx="5079">
                  <c:v>13353</c:v>
                </c:pt>
                <c:pt idx="5080">
                  <c:v>13395</c:v>
                </c:pt>
                <c:pt idx="5081">
                  <c:v>13373</c:v>
                </c:pt>
                <c:pt idx="5082">
                  <c:v>13375</c:v>
                </c:pt>
                <c:pt idx="5083">
                  <c:v>13420</c:v>
                </c:pt>
                <c:pt idx="5084">
                  <c:v>13447</c:v>
                </c:pt>
                <c:pt idx="5085">
                  <c:v>13463</c:v>
                </c:pt>
                <c:pt idx="5086">
                  <c:v>13465</c:v>
                </c:pt>
                <c:pt idx="5087">
                  <c:v>13456</c:v>
                </c:pt>
                <c:pt idx="5088">
                  <c:v>13458</c:v>
                </c:pt>
                <c:pt idx="5089">
                  <c:v>13539</c:v>
                </c:pt>
                <c:pt idx="5090">
                  <c:v>13510</c:v>
                </c:pt>
                <c:pt idx="5091">
                  <c:v>13472</c:v>
                </c:pt>
                <c:pt idx="5092">
                  <c:v>13515</c:v>
                </c:pt>
                <c:pt idx="5093">
                  <c:v>13529</c:v>
                </c:pt>
                <c:pt idx="5094">
                  <c:v>13541</c:v>
                </c:pt>
                <c:pt idx="5095">
                  <c:v>13551</c:v>
                </c:pt>
                <c:pt idx="5096">
                  <c:v>13607</c:v>
                </c:pt>
                <c:pt idx="5097">
                  <c:v>13800</c:v>
                </c:pt>
                <c:pt idx="5098">
                  <c:v>13768</c:v>
                </c:pt>
                <c:pt idx="5099">
                  <c:v>13787</c:v>
                </c:pt>
                <c:pt idx="5100">
                  <c:v>13822</c:v>
                </c:pt>
                <c:pt idx="5101">
                  <c:v>13800</c:v>
                </c:pt>
                <c:pt idx="5102">
                  <c:v>13843</c:v>
                </c:pt>
                <c:pt idx="5103">
                  <c:v>13885</c:v>
                </c:pt>
                <c:pt idx="5104">
                  <c:v>13941</c:v>
                </c:pt>
                <c:pt idx="5105">
                  <c:v>14050</c:v>
                </c:pt>
                <c:pt idx="5106">
                  <c:v>14054</c:v>
                </c:pt>
                <c:pt idx="5107">
                  <c:v>14133</c:v>
                </c:pt>
                <c:pt idx="5108">
                  <c:v>13990</c:v>
                </c:pt>
                <c:pt idx="5109">
                  <c:v>13983</c:v>
                </c:pt>
                <c:pt idx="5110">
                  <c:v>14067</c:v>
                </c:pt>
                <c:pt idx="5111">
                  <c:v>14098</c:v>
                </c:pt>
                <c:pt idx="5112">
                  <c:v>14137</c:v>
                </c:pt>
                <c:pt idx="5113">
                  <c:v>14170</c:v>
                </c:pt>
                <c:pt idx="5114">
                  <c:v>14172</c:v>
                </c:pt>
                <c:pt idx="5115">
                  <c:v>14266</c:v>
                </c:pt>
                <c:pt idx="5116">
                  <c:v>14280</c:v>
                </c:pt>
                <c:pt idx="5117">
                  <c:v>14262</c:v>
                </c:pt>
                <c:pt idx="5118">
                  <c:v>14333</c:v>
                </c:pt>
                <c:pt idx="5119">
                  <c:v>14322</c:v>
                </c:pt>
                <c:pt idx="5120">
                  <c:v>14333</c:v>
                </c:pt>
                <c:pt idx="5121">
                  <c:v>14408</c:v>
                </c:pt>
                <c:pt idx="5122">
                  <c:v>14459</c:v>
                </c:pt>
                <c:pt idx="5123">
                  <c:v>14459</c:v>
                </c:pt>
                <c:pt idx="5124">
                  <c:v>14374</c:v>
                </c:pt>
                <c:pt idx="5125">
                  <c:v>14486</c:v>
                </c:pt>
                <c:pt idx="5126">
                  <c:v>14552</c:v>
                </c:pt>
                <c:pt idx="5127">
                  <c:v>14647</c:v>
                </c:pt>
                <c:pt idx="5128">
                  <c:v>14684</c:v>
                </c:pt>
                <c:pt idx="5129">
                  <c:v>14693</c:v>
                </c:pt>
              </c:numCache>
            </c:numRef>
          </c:val>
          <c:smooth val="0"/>
        </c:ser>
        <c:dLbls>
          <c:showLegendKey val="0"/>
          <c:showVal val="0"/>
          <c:showCatName val="0"/>
          <c:showSerName val="0"/>
          <c:showPercent val="0"/>
          <c:showBubbleSize val="0"/>
        </c:dLbls>
        <c:marker val="1"/>
        <c:smooth val="0"/>
        <c:axId val="122657024"/>
        <c:axId val="122658816"/>
      </c:lineChart>
      <c:dateAx>
        <c:axId val="122657024"/>
        <c:scaling>
          <c:orientation val="minMax"/>
        </c:scaling>
        <c:delete val="0"/>
        <c:axPos val="b"/>
        <c:numFmt formatCode="mmm\-yy" sourceLinked="0"/>
        <c:majorTickMark val="out"/>
        <c:minorTickMark val="none"/>
        <c:tickLblPos val="nextTo"/>
        <c:txPr>
          <a:bodyPr rot="-5400000" vert="horz"/>
          <a:lstStyle/>
          <a:p>
            <a:pPr>
              <a:defRPr/>
            </a:pPr>
            <a:endParaRPr lang="id-ID"/>
          </a:p>
        </c:txPr>
        <c:crossAx val="122658816"/>
        <c:crosses val="autoZero"/>
        <c:auto val="1"/>
        <c:lblOffset val="100"/>
        <c:baseTimeUnit val="days"/>
      </c:dateAx>
      <c:valAx>
        <c:axId val="122658816"/>
        <c:scaling>
          <c:orientation val="minMax"/>
          <c:max val="17000"/>
          <c:min val="2000"/>
        </c:scaling>
        <c:delete val="0"/>
        <c:axPos val="l"/>
        <c:numFmt formatCode="#,##0" sourceLinked="0"/>
        <c:majorTickMark val="out"/>
        <c:minorTickMark val="none"/>
        <c:tickLblPos val="nextTo"/>
        <c:crossAx val="122657024"/>
        <c:crosses val="autoZero"/>
        <c:crossBetween val="between"/>
        <c:majorUnit val="1000"/>
      </c:valAx>
    </c:plotArea>
    <c:plotVisOnly val="1"/>
    <c:dispBlanksAs val="zero"/>
    <c:showDLblsOverMax val="0"/>
  </c:chart>
  <c:txPr>
    <a:bodyPr/>
    <a:lstStyle/>
    <a:p>
      <a:pPr>
        <a:defRPr sz="1400"/>
      </a:pPr>
      <a:endParaRPr lang="id-ID"/>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gradFill flip="none" rotWithShape="1">
              <a:gsLst>
                <a:gs pos="0">
                  <a:schemeClr val="accent1">
                    <a:lumMod val="67000"/>
                  </a:schemeClr>
                </a:gs>
                <a:gs pos="66000">
                  <a:schemeClr val="accent1">
                    <a:lumMod val="97000"/>
                    <a:lumOff val="3000"/>
                  </a:schemeClr>
                </a:gs>
                <a:gs pos="100000">
                  <a:schemeClr val="accent1">
                    <a:lumMod val="60000"/>
                    <a:lumOff val="40000"/>
                  </a:schemeClr>
                </a:gs>
              </a:gsLst>
              <a:lin ang="16200000" scaled="1"/>
              <a:tileRect/>
            </a:gradFill>
            <a:ln>
              <a:noFill/>
            </a:ln>
            <a:effectLst/>
          </c:spPr>
          <c:invertIfNegative val="0"/>
          <c:dPt>
            <c:idx val="14"/>
            <c:invertIfNegative val="0"/>
            <c:bubble3D val="0"/>
            <c:spPr>
              <a:solidFill>
                <a:srgbClr val="00B050"/>
              </a:solidFill>
              <a:ln>
                <a:noFill/>
              </a:ln>
              <a:effectLst/>
            </c:spPr>
          </c:dPt>
          <c:dPt>
            <c:idx val="15"/>
            <c:invertIfNegative val="0"/>
            <c:bubble3D val="0"/>
            <c:spPr>
              <a:solidFill>
                <a:srgbClr val="00B05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id-ID"/>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Grafik Addhoc'!$B$1:$Q$2</c:f>
              <c:multiLvlStrCache>
                <c:ptCount val="16"/>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lvl>
                <c:lvl>
                  <c:pt idx="0">
                    <c:v>2012</c:v>
                  </c:pt>
                  <c:pt idx="4">
                    <c:v>2013</c:v>
                  </c:pt>
                  <c:pt idx="8">
                    <c:v>2014</c:v>
                  </c:pt>
                  <c:pt idx="12">
                    <c:v>2015</c:v>
                  </c:pt>
                </c:lvl>
              </c:multiLvlStrCache>
            </c:multiLvlStrRef>
          </c:cat>
          <c:val>
            <c:numRef>
              <c:f>'Grafik Addhoc'!$B$3:$Q$3</c:f>
              <c:numCache>
                <c:formatCode>0.0</c:formatCode>
                <c:ptCount val="16"/>
                <c:pt idx="0">
                  <c:v>6.1100871306011051</c:v>
                </c:pt>
                <c:pt idx="1">
                  <c:v>6.2078111591659626</c:v>
                </c:pt>
                <c:pt idx="2">
                  <c:v>5.9400386757775303</c:v>
                </c:pt>
                <c:pt idx="3">
                  <c:v>5.8706437499379982</c:v>
                </c:pt>
                <c:pt idx="4">
                  <c:v>5.6105632082088297</c:v>
                </c:pt>
                <c:pt idx="5">
                  <c:v>5.5935383104375376</c:v>
                </c:pt>
                <c:pt idx="6">
                  <c:v>5.5026746908137154</c:v>
                </c:pt>
                <c:pt idx="7">
                  <c:v>5.6134734075775397</c:v>
                </c:pt>
                <c:pt idx="8">
                  <c:v>5.1433066894752004</c:v>
                </c:pt>
                <c:pt idx="9">
                  <c:v>5.0263213693666264</c:v>
                </c:pt>
                <c:pt idx="10">
                  <c:v>4.9226195689004246</c:v>
                </c:pt>
                <c:pt idx="11">
                  <c:v>5.0143459214522874</c:v>
                </c:pt>
                <c:pt idx="12">
                  <c:v>4.7210227318226519</c:v>
                </c:pt>
                <c:pt idx="13">
                  <c:v>4.6738252659326074</c:v>
                </c:pt>
                <c:pt idx="14">
                  <c:v>4.9000000000000004</c:v>
                </c:pt>
                <c:pt idx="15">
                  <c:v>5.0999999999999996</c:v>
                </c:pt>
              </c:numCache>
            </c:numRef>
          </c:val>
        </c:ser>
        <c:dLbls>
          <c:showLegendKey val="0"/>
          <c:showVal val="0"/>
          <c:showCatName val="0"/>
          <c:showSerName val="0"/>
          <c:showPercent val="0"/>
          <c:showBubbleSize val="0"/>
        </c:dLbls>
        <c:gapWidth val="84"/>
        <c:overlap val="-27"/>
        <c:axId val="122729216"/>
        <c:axId val="122730752"/>
      </c:barChart>
      <c:lineChart>
        <c:grouping val="standard"/>
        <c:varyColors val="0"/>
        <c:ser>
          <c:idx val="1"/>
          <c:order val="1"/>
          <c:spPr>
            <a:ln w="28575" cap="rnd">
              <a:solidFill>
                <a:schemeClr val="accent2"/>
              </a:solidFill>
              <a:round/>
            </a:ln>
            <a:effectLst/>
          </c:spPr>
          <c:marker>
            <c:symbol val="none"/>
          </c:marker>
          <c:dPt>
            <c:idx val="4"/>
            <c:bubble3D val="0"/>
            <c:spPr>
              <a:ln w="28575" cap="rnd">
                <a:noFill/>
                <a:round/>
              </a:ln>
              <a:effectLst/>
            </c:spPr>
          </c:dPt>
          <c:dPt>
            <c:idx val="8"/>
            <c:bubble3D val="0"/>
            <c:spPr>
              <a:ln w="28575" cap="rnd">
                <a:noFill/>
                <a:round/>
              </a:ln>
              <a:effectLst/>
            </c:spPr>
          </c:dPt>
          <c:dPt>
            <c:idx val="12"/>
            <c:bubble3D val="0"/>
            <c:spPr>
              <a:ln w="28575" cap="rnd">
                <a:noFill/>
                <a:round/>
              </a:ln>
              <a:effectLst/>
            </c:spPr>
          </c:dPt>
          <c:cat>
            <c:strRef>
              <c:f>'Grafik Addhoc'!$B$2:$Q$2</c:f>
              <c:strCache>
                <c:ptCount val="16"/>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strCache>
            </c:strRef>
          </c:cat>
          <c:val>
            <c:numRef>
              <c:f>'Grafik Addhoc'!$B$4:$Q$4</c:f>
              <c:numCache>
                <c:formatCode>General</c:formatCode>
                <c:ptCount val="16"/>
                <c:pt idx="0">
                  <c:v>6</c:v>
                </c:pt>
                <c:pt idx="1">
                  <c:v>6</c:v>
                </c:pt>
                <c:pt idx="2">
                  <c:v>6</c:v>
                </c:pt>
                <c:pt idx="3">
                  <c:v>6</c:v>
                </c:pt>
                <c:pt idx="4">
                  <c:v>5.6</c:v>
                </c:pt>
                <c:pt idx="5">
                  <c:v>5.6</c:v>
                </c:pt>
                <c:pt idx="6">
                  <c:v>5.6</c:v>
                </c:pt>
                <c:pt idx="7">
                  <c:v>5.6</c:v>
                </c:pt>
                <c:pt idx="8">
                  <c:v>5</c:v>
                </c:pt>
                <c:pt idx="9">
                  <c:v>5</c:v>
                </c:pt>
                <c:pt idx="10">
                  <c:v>5</c:v>
                </c:pt>
                <c:pt idx="11">
                  <c:v>5</c:v>
                </c:pt>
                <c:pt idx="12">
                  <c:v>4.9000000000000004</c:v>
                </c:pt>
                <c:pt idx="13">
                  <c:v>4.9000000000000004</c:v>
                </c:pt>
                <c:pt idx="14">
                  <c:v>4.9000000000000004</c:v>
                </c:pt>
                <c:pt idx="15">
                  <c:v>4.9000000000000004</c:v>
                </c:pt>
              </c:numCache>
            </c:numRef>
          </c:val>
          <c:smooth val="0"/>
        </c:ser>
        <c:dLbls>
          <c:showLegendKey val="0"/>
          <c:showVal val="0"/>
          <c:showCatName val="0"/>
          <c:showSerName val="0"/>
          <c:showPercent val="0"/>
          <c:showBubbleSize val="0"/>
        </c:dLbls>
        <c:marker val="1"/>
        <c:smooth val="0"/>
        <c:axId val="122729216"/>
        <c:axId val="122730752"/>
      </c:lineChart>
      <c:catAx>
        <c:axId val="12272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id-ID"/>
          </a:p>
        </c:txPr>
        <c:crossAx val="122730752"/>
        <c:crosses val="autoZero"/>
        <c:auto val="1"/>
        <c:lblAlgn val="ctr"/>
        <c:lblOffset val="100"/>
        <c:noMultiLvlLbl val="0"/>
      </c:catAx>
      <c:valAx>
        <c:axId val="122730752"/>
        <c:scaling>
          <c:orientation val="minMax"/>
          <c:min val="3"/>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d-ID"/>
          </a:p>
        </c:txPr>
        <c:crossAx val="122729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d-ID"/>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469137688404995E-2"/>
          <c:y val="8.2782786070509998E-2"/>
          <c:w val="0.88913828247478799"/>
          <c:h val="0.79808084911449795"/>
        </c:manualLayout>
      </c:layout>
      <c:barChart>
        <c:barDir val="col"/>
        <c:grouping val="stacked"/>
        <c:varyColors val="0"/>
        <c:ser>
          <c:idx val="1"/>
          <c:order val="1"/>
          <c:tx>
            <c:strRef>
              <c:f>NP!$I$2</c:f>
              <c:strCache>
                <c:ptCount val="1"/>
                <c:pt idx="0">
                  <c:v>NONMIGAS</c:v>
                </c:pt>
              </c:strCache>
            </c:strRef>
          </c:tx>
          <c:spPr>
            <a:solidFill>
              <a:srgbClr val="3366FF"/>
            </a:solidFill>
            <a:ln w="25400">
              <a:noFill/>
            </a:ln>
          </c:spPr>
          <c:invertIfNegative val="0"/>
          <c:cat>
            <c:strRef>
              <c:f>NP!$A$147:$A$190</c:f>
              <c:strCache>
                <c:ptCount val="44"/>
                <c:pt idx="0">
                  <c:v>2012-J</c:v>
                </c:pt>
                <c:pt idx="1">
                  <c:v>F</c:v>
                </c:pt>
                <c:pt idx="2">
                  <c:v>M</c:v>
                </c:pt>
                <c:pt idx="3">
                  <c:v>A</c:v>
                </c:pt>
                <c:pt idx="4">
                  <c:v>M</c:v>
                </c:pt>
                <c:pt idx="5">
                  <c:v>J</c:v>
                </c:pt>
                <c:pt idx="6">
                  <c:v>J</c:v>
                </c:pt>
                <c:pt idx="7">
                  <c:v>A</c:v>
                </c:pt>
                <c:pt idx="8">
                  <c:v>S</c:v>
                </c:pt>
                <c:pt idx="9">
                  <c:v>O</c:v>
                </c:pt>
                <c:pt idx="10">
                  <c:v>N</c:v>
                </c:pt>
                <c:pt idx="11">
                  <c:v>D</c:v>
                </c:pt>
                <c:pt idx="12">
                  <c:v>2013-J</c:v>
                </c:pt>
                <c:pt idx="13">
                  <c:v>F</c:v>
                </c:pt>
                <c:pt idx="14">
                  <c:v>M</c:v>
                </c:pt>
                <c:pt idx="15">
                  <c:v>A</c:v>
                </c:pt>
                <c:pt idx="16">
                  <c:v>M</c:v>
                </c:pt>
                <c:pt idx="17">
                  <c:v>J</c:v>
                </c:pt>
                <c:pt idx="18">
                  <c:v>J</c:v>
                </c:pt>
                <c:pt idx="19">
                  <c:v>A</c:v>
                </c:pt>
                <c:pt idx="20">
                  <c:v>S</c:v>
                </c:pt>
                <c:pt idx="21">
                  <c:v>O</c:v>
                </c:pt>
                <c:pt idx="22">
                  <c:v>N</c:v>
                </c:pt>
                <c:pt idx="23">
                  <c:v>D</c:v>
                </c:pt>
                <c:pt idx="24">
                  <c:v>2014-J</c:v>
                </c:pt>
                <c:pt idx="25">
                  <c:v>F</c:v>
                </c:pt>
                <c:pt idx="26">
                  <c:v>M</c:v>
                </c:pt>
                <c:pt idx="27">
                  <c:v>A</c:v>
                </c:pt>
                <c:pt idx="28">
                  <c:v>M</c:v>
                </c:pt>
                <c:pt idx="29">
                  <c:v>J</c:v>
                </c:pt>
                <c:pt idx="30">
                  <c:v>J</c:v>
                </c:pt>
                <c:pt idx="31">
                  <c:v>A</c:v>
                </c:pt>
                <c:pt idx="32">
                  <c:v>S</c:v>
                </c:pt>
                <c:pt idx="33">
                  <c:v>O</c:v>
                </c:pt>
                <c:pt idx="34">
                  <c:v>N</c:v>
                </c:pt>
                <c:pt idx="35">
                  <c:v>D</c:v>
                </c:pt>
                <c:pt idx="36">
                  <c:v>2015-J</c:v>
                </c:pt>
                <c:pt idx="37">
                  <c:v>F</c:v>
                </c:pt>
                <c:pt idx="38">
                  <c:v>M</c:v>
                </c:pt>
                <c:pt idx="39">
                  <c:v>A</c:v>
                </c:pt>
                <c:pt idx="40">
                  <c:v>M</c:v>
                </c:pt>
                <c:pt idx="41">
                  <c:v>J</c:v>
                </c:pt>
                <c:pt idx="42">
                  <c:v>J</c:v>
                </c:pt>
                <c:pt idx="43">
                  <c:v>A</c:v>
                </c:pt>
              </c:strCache>
            </c:strRef>
          </c:cat>
          <c:val>
            <c:numRef>
              <c:f>NP!$C$147:$C$190</c:f>
              <c:numCache>
                <c:formatCode>0</c:formatCode>
                <c:ptCount val="44"/>
                <c:pt idx="0">
                  <c:v>892.20000000000073</c:v>
                </c:pt>
                <c:pt idx="1">
                  <c:v>965.79999999999939</c:v>
                </c:pt>
                <c:pt idx="2">
                  <c:v>1448.6</c:v>
                </c:pt>
                <c:pt idx="3">
                  <c:v>-205</c:v>
                </c:pt>
                <c:pt idx="4">
                  <c:v>-490</c:v>
                </c:pt>
                <c:pt idx="5">
                  <c:v>-831.70000000000073</c:v>
                </c:pt>
                <c:pt idx="6">
                  <c:v>-423.52103299999948</c:v>
                </c:pt>
                <c:pt idx="7">
                  <c:v>762.20000000000073</c:v>
                </c:pt>
                <c:pt idx="8">
                  <c:v>1222</c:v>
                </c:pt>
                <c:pt idx="9">
                  <c:v>-706.60000000000059</c:v>
                </c:pt>
                <c:pt idx="10">
                  <c:v>743.45646300000226</c:v>
                </c:pt>
                <c:pt idx="11">
                  <c:v>550.5</c:v>
                </c:pt>
                <c:pt idx="12">
                  <c:v>1237.5999999999981</c:v>
                </c:pt>
                <c:pt idx="13">
                  <c:v>777.07552999999803</c:v>
                </c:pt>
                <c:pt idx="14">
                  <c:v>1112.0999999999981</c:v>
                </c:pt>
                <c:pt idx="15">
                  <c:v>-525.20000000000073</c:v>
                </c:pt>
                <c:pt idx="16">
                  <c:v>-17.89999999999964</c:v>
                </c:pt>
                <c:pt idx="17">
                  <c:v>-146.60000000000039</c:v>
                </c:pt>
                <c:pt idx="18">
                  <c:v>-474.40000000000151</c:v>
                </c:pt>
                <c:pt idx="19">
                  <c:v>1023.1</c:v>
                </c:pt>
                <c:pt idx="20">
                  <c:v>497.89999999999912</c:v>
                </c:pt>
                <c:pt idx="21">
                  <c:v>783</c:v>
                </c:pt>
                <c:pt idx="22">
                  <c:v>1961.3000000000011</c:v>
                </c:pt>
                <c:pt idx="23">
                  <c:v>2328.400000000001</c:v>
                </c:pt>
                <c:pt idx="24">
                  <c:v>604.89999999999941</c:v>
                </c:pt>
                <c:pt idx="25">
                  <c:v>1571.441771000005</c:v>
                </c:pt>
                <c:pt idx="26">
                  <c:v>2022.199999999998</c:v>
                </c:pt>
                <c:pt idx="27">
                  <c:v>-921.10000000000059</c:v>
                </c:pt>
                <c:pt idx="28">
                  <c:v>1384.199999999998</c:v>
                </c:pt>
                <c:pt idx="29">
                  <c:v>319.89999999999912</c:v>
                </c:pt>
                <c:pt idx="30">
                  <c:v>1719.0999999999981</c:v>
                </c:pt>
                <c:pt idx="31">
                  <c:v>489.60000000000042</c:v>
                </c:pt>
                <c:pt idx="32">
                  <c:v>758.70000000000073</c:v>
                </c:pt>
                <c:pt idx="33">
                  <c:v>1129.200000000001</c:v>
                </c:pt>
                <c:pt idx="34">
                  <c:v>940.69999999999902</c:v>
                </c:pt>
                <c:pt idx="35">
                  <c:v>1223</c:v>
                </c:pt>
                <c:pt idx="36">
                  <c:v>788.29999999999802</c:v>
                </c:pt>
                <c:pt idx="37">
                  <c:v>628.89999999999941</c:v>
                </c:pt>
                <c:pt idx="38">
                  <c:v>1304.699999999998</c:v>
                </c:pt>
                <c:pt idx="39">
                  <c:v>1355.4870000000001</c:v>
                </c:pt>
                <c:pt idx="40">
                  <c:v>1786.8</c:v>
                </c:pt>
                <c:pt idx="41">
                  <c:v>1665.700000000001</c:v>
                </c:pt>
                <c:pt idx="42">
                  <c:v>2256.1</c:v>
                </c:pt>
                <c:pt idx="43">
                  <c:v>1011</c:v>
                </c:pt>
              </c:numCache>
            </c:numRef>
          </c:val>
        </c:ser>
        <c:ser>
          <c:idx val="2"/>
          <c:order val="2"/>
          <c:tx>
            <c:strRef>
              <c:f>NP!$J$2</c:f>
              <c:strCache>
                <c:ptCount val="1"/>
                <c:pt idx="0">
                  <c:v>MIGAS</c:v>
                </c:pt>
              </c:strCache>
            </c:strRef>
          </c:tx>
          <c:spPr>
            <a:solidFill>
              <a:srgbClr val="FF6600"/>
            </a:solidFill>
            <a:ln w="25400">
              <a:noFill/>
            </a:ln>
          </c:spPr>
          <c:invertIfNegative val="0"/>
          <c:cat>
            <c:strRef>
              <c:f>NP!$A$147:$A$190</c:f>
              <c:strCache>
                <c:ptCount val="44"/>
                <c:pt idx="0">
                  <c:v>2012-J</c:v>
                </c:pt>
                <c:pt idx="1">
                  <c:v>F</c:v>
                </c:pt>
                <c:pt idx="2">
                  <c:v>M</c:v>
                </c:pt>
                <c:pt idx="3">
                  <c:v>A</c:v>
                </c:pt>
                <c:pt idx="4">
                  <c:v>M</c:v>
                </c:pt>
                <c:pt idx="5">
                  <c:v>J</c:v>
                </c:pt>
                <c:pt idx="6">
                  <c:v>J</c:v>
                </c:pt>
                <c:pt idx="7">
                  <c:v>A</c:v>
                </c:pt>
                <c:pt idx="8">
                  <c:v>S</c:v>
                </c:pt>
                <c:pt idx="9">
                  <c:v>O</c:v>
                </c:pt>
                <c:pt idx="10">
                  <c:v>N</c:v>
                </c:pt>
                <c:pt idx="11">
                  <c:v>D</c:v>
                </c:pt>
                <c:pt idx="12">
                  <c:v>2013-J</c:v>
                </c:pt>
                <c:pt idx="13">
                  <c:v>F</c:v>
                </c:pt>
                <c:pt idx="14">
                  <c:v>M</c:v>
                </c:pt>
                <c:pt idx="15">
                  <c:v>A</c:v>
                </c:pt>
                <c:pt idx="16">
                  <c:v>M</c:v>
                </c:pt>
                <c:pt idx="17">
                  <c:v>J</c:v>
                </c:pt>
                <c:pt idx="18">
                  <c:v>J</c:v>
                </c:pt>
                <c:pt idx="19">
                  <c:v>A</c:v>
                </c:pt>
                <c:pt idx="20">
                  <c:v>S</c:v>
                </c:pt>
                <c:pt idx="21">
                  <c:v>O</c:v>
                </c:pt>
                <c:pt idx="22">
                  <c:v>N</c:v>
                </c:pt>
                <c:pt idx="23">
                  <c:v>D</c:v>
                </c:pt>
                <c:pt idx="24">
                  <c:v>2014-J</c:v>
                </c:pt>
                <c:pt idx="25">
                  <c:v>F</c:v>
                </c:pt>
                <c:pt idx="26">
                  <c:v>M</c:v>
                </c:pt>
                <c:pt idx="27">
                  <c:v>A</c:v>
                </c:pt>
                <c:pt idx="28">
                  <c:v>M</c:v>
                </c:pt>
                <c:pt idx="29">
                  <c:v>J</c:v>
                </c:pt>
                <c:pt idx="30">
                  <c:v>J</c:v>
                </c:pt>
                <c:pt idx="31">
                  <c:v>A</c:v>
                </c:pt>
                <c:pt idx="32">
                  <c:v>S</c:v>
                </c:pt>
                <c:pt idx="33">
                  <c:v>O</c:v>
                </c:pt>
                <c:pt idx="34">
                  <c:v>N</c:v>
                </c:pt>
                <c:pt idx="35">
                  <c:v>D</c:v>
                </c:pt>
                <c:pt idx="36">
                  <c:v>2015-J</c:v>
                </c:pt>
                <c:pt idx="37">
                  <c:v>F</c:v>
                </c:pt>
                <c:pt idx="38">
                  <c:v>M</c:v>
                </c:pt>
                <c:pt idx="39">
                  <c:v>A</c:v>
                </c:pt>
                <c:pt idx="40">
                  <c:v>M</c:v>
                </c:pt>
                <c:pt idx="41">
                  <c:v>J</c:v>
                </c:pt>
                <c:pt idx="42">
                  <c:v>J</c:v>
                </c:pt>
                <c:pt idx="43">
                  <c:v>A</c:v>
                </c:pt>
              </c:strCache>
            </c:strRef>
          </c:cat>
          <c:val>
            <c:numRef>
              <c:f>NP!$D$147:$D$190</c:f>
              <c:numCache>
                <c:formatCode>0</c:formatCode>
                <c:ptCount val="44"/>
                <c:pt idx="0">
                  <c:v>123.3</c:v>
                </c:pt>
                <c:pt idx="1">
                  <c:v>-137.19999999999979</c:v>
                </c:pt>
                <c:pt idx="2">
                  <c:v>-522.80000000000018</c:v>
                </c:pt>
                <c:pt idx="3">
                  <c:v>-559.69999999999982</c:v>
                </c:pt>
                <c:pt idx="4">
                  <c:v>282.8000000000003</c:v>
                </c:pt>
                <c:pt idx="5">
                  <c:v>-454.3000000000003</c:v>
                </c:pt>
                <c:pt idx="6">
                  <c:v>159.68633200000059</c:v>
                </c:pt>
                <c:pt idx="7">
                  <c:v>-529.1</c:v>
                </c:pt>
                <c:pt idx="8">
                  <c:v>-672.5</c:v>
                </c:pt>
                <c:pt idx="9">
                  <c:v>-1177.3</c:v>
                </c:pt>
                <c:pt idx="10">
                  <c:v>-1361.56519</c:v>
                </c:pt>
                <c:pt idx="11">
                  <c:v>-738.6</c:v>
                </c:pt>
                <c:pt idx="12">
                  <c:v>-1312.3</c:v>
                </c:pt>
                <c:pt idx="13">
                  <c:v>-1074.7777950000011</c:v>
                </c:pt>
                <c:pt idx="14">
                  <c:v>-974.59999999999945</c:v>
                </c:pt>
                <c:pt idx="15">
                  <c:v>-1177.4000000000001</c:v>
                </c:pt>
                <c:pt idx="16">
                  <c:v>-509.19999999999959</c:v>
                </c:pt>
                <c:pt idx="17">
                  <c:v>-730.6</c:v>
                </c:pt>
                <c:pt idx="18">
                  <c:v>-1854.7</c:v>
                </c:pt>
                <c:pt idx="19">
                  <c:v>-951.5</c:v>
                </c:pt>
                <c:pt idx="20">
                  <c:v>-1300.9000000000001</c:v>
                </c:pt>
                <c:pt idx="21">
                  <c:v>-758.7000000000005</c:v>
                </c:pt>
                <c:pt idx="22">
                  <c:v>-1172</c:v>
                </c:pt>
                <c:pt idx="23">
                  <c:v>-816.50000000000045</c:v>
                </c:pt>
                <c:pt idx="24">
                  <c:v>-1048.8</c:v>
                </c:pt>
                <c:pt idx="25">
                  <c:v>-728.04938099999981</c:v>
                </c:pt>
                <c:pt idx="26">
                  <c:v>-1353.3</c:v>
                </c:pt>
                <c:pt idx="27">
                  <c:v>-1041.4000000000001</c:v>
                </c:pt>
                <c:pt idx="28">
                  <c:v>-1330.9</c:v>
                </c:pt>
                <c:pt idx="29">
                  <c:v>-608.19999999999982</c:v>
                </c:pt>
                <c:pt idx="30">
                  <c:v>-1676.7</c:v>
                </c:pt>
                <c:pt idx="31">
                  <c:v>-801.10000000000059</c:v>
                </c:pt>
                <c:pt idx="32">
                  <c:v>-1029</c:v>
                </c:pt>
                <c:pt idx="33">
                  <c:v>-1108.2</c:v>
                </c:pt>
                <c:pt idx="34">
                  <c:v>-1366.1</c:v>
                </c:pt>
                <c:pt idx="35">
                  <c:v>-1036.2</c:v>
                </c:pt>
                <c:pt idx="36">
                  <c:v>-156.00000000000051</c:v>
                </c:pt>
                <c:pt idx="37">
                  <c:v>33.800000000000153</c:v>
                </c:pt>
                <c:pt idx="38">
                  <c:v>-279.09999999999911</c:v>
                </c:pt>
                <c:pt idx="39">
                  <c:v>-878.10800000000052</c:v>
                </c:pt>
                <c:pt idx="40">
                  <c:v>-710.22827300000051</c:v>
                </c:pt>
                <c:pt idx="41">
                  <c:v>-1137.5999999999999</c:v>
                </c:pt>
                <c:pt idx="42">
                  <c:v>-872.50000000000023</c:v>
                </c:pt>
                <c:pt idx="43">
                  <c:v>-577.20000000000005</c:v>
                </c:pt>
              </c:numCache>
            </c:numRef>
          </c:val>
        </c:ser>
        <c:dLbls>
          <c:showLegendKey val="0"/>
          <c:showVal val="0"/>
          <c:showCatName val="0"/>
          <c:showSerName val="0"/>
          <c:showPercent val="0"/>
          <c:showBubbleSize val="0"/>
        </c:dLbls>
        <c:gapWidth val="70"/>
        <c:overlap val="100"/>
        <c:axId val="123654912"/>
        <c:axId val="123657216"/>
      </c:barChart>
      <c:lineChart>
        <c:grouping val="standard"/>
        <c:varyColors val="0"/>
        <c:ser>
          <c:idx val="0"/>
          <c:order val="0"/>
          <c:tx>
            <c:strRef>
              <c:f>NP!$H$2</c:f>
              <c:strCache>
                <c:ptCount val="1"/>
                <c:pt idx="0">
                  <c:v>TOTAL</c:v>
                </c:pt>
              </c:strCache>
            </c:strRef>
          </c:tx>
          <c:spPr>
            <a:ln w="25400">
              <a:solidFill>
                <a:srgbClr val="000000"/>
              </a:solidFill>
              <a:prstDash val="solid"/>
            </a:ln>
          </c:spPr>
          <c:marker>
            <c:symbol val="circle"/>
            <c:size val="5"/>
            <c:spPr>
              <a:solidFill>
                <a:srgbClr val="FF0000"/>
              </a:solidFill>
              <a:ln>
                <a:solidFill>
                  <a:srgbClr val="000000"/>
                </a:solidFill>
                <a:prstDash val="solid"/>
              </a:ln>
            </c:spPr>
          </c:marker>
          <c:cat>
            <c:strRef>
              <c:f>NP!$A$147:$A$190</c:f>
              <c:strCache>
                <c:ptCount val="44"/>
                <c:pt idx="0">
                  <c:v>2012-J</c:v>
                </c:pt>
                <c:pt idx="1">
                  <c:v>F</c:v>
                </c:pt>
                <c:pt idx="2">
                  <c:v>M</c:v>
                </c:pt>
                <c:pt idx="3">
                  <c:v>A</c:v>
                </c:pt>
                <c:pt idx="4">
                  <c:v>M</c:v>
                </c:pt>
                <c:pt idx="5">
                  <c:v>J</c:v>
                </c:pt>
                <c:pt idx="6">
                  <c:v>J</c:v>
                </c:pt>
                <c:pt idx="7">
                  <c:v>A</c:v>
                </c:pt>
                <c:pt idx="8">
                  <c:v>S</c:v>
                </c:pt>
                <c:pt idx="9">
                  <c:v>O</c:v>
                </c:pt>
                <c:pt idx="10">
                  <c:v>N</c:v>
                </c:pt>
                <c:pt idx="11">
                  <c:v>D</c:v>
                </c:pt>
                <c:pt idx="12">
                  <c:v>2013-J</c:v>
                </c:pt>
                <c:pt idx="13">
                  <c:v>F</c:v>
                </c:pt>
                <c:pt idx="14">
                  <c:v>M</c:v>
                </c:pt>
                <c:pt idx="15">
                  <c:v>A</c:v>
                </c:pt>
                <c:pt idx="16">
                  <c:v>M</c:v>
                </c:pt>
                <c:pt idx="17">
                  <c:v>J</c:v>
                </c:pt>
                <c:pt idx="18">
                  <c:v>J</c:v>
                </c:pt>
                <c:pt idx="19">
                  <c:v>A</c:v>
                </c:pt>
                <c:pt idx="20">
                  <c:v>S</c:v>
                </c:pt>
                <c:pt idx="21">
                  <c:v>O</c:v>
                </c:pt>
                <c:pt idx="22">
                  <c:v>N</c:v>
                </c:pt>
                <c:pt idx="23">
                  <c:v>D</c:v>
                </c:pt>
                <c:pt idx="24">
                  <c:v>2014-J</c:v>
                </c:pt>
                <c:pt idx="25">
                  <c:v>F</c:v>
                </c:pt>
                <c:pt idx="26">
                  <c:v>M</c:v>
                </c:pt>
                <c:pt idx="27">
                  <c:v>A</c:v>
                </c:pt>
                <c:pt idx="28">
                  <c:v>M</c:v>
                </c:pt>
                <c:pt idx="29">
                  <c:v>J</c:v>
                </c:pt>
                <c:pt idx="30">
                  <c:v>J</c:v>
                </c:pt>
                <c:pt idx="31">
                  <c:v>A</c:v>
                </c:pt>
                <c:pt idx="32">
                  <c:v>S</c:v>
                </c:pt>
                <c:pt idx="33">
                  <c:v>O</c:v>
                </c:pt>
                <c:pt idx="34">
                  <c:v>N</c:v>
                </c:pt>
                <c:pt idx="35">
                  <c:v>D</c:v>
                </c:pt>
                <c:pt idx="36">
                  <c:v>2015-J</c:v>
                </c:pt>
                <c:pt idx="37">
                  <c:v>F</c:v>
                </c:pt>
                <c:pt idx="38">
                  <c:v>M</c:v>
                </c:pt>
                <c:pt idx="39">
                  <c:v>A</c:v>
                </c:pt>
                <c:pt idx="40">
                  <c:v>M</c:v>
                </c:pt>
                <c:pt idx="41">
                  <c:v>J</c:v>
                </c:pt>
                <c:pt idx="42">
                  <c:v>J</c:v>
                </c:pt>
                <c:pt idx="43">
                  <c:v>A</c:v>
                </c:pt>
              </c:strCache>
            </c:strRef>
          </c:cat>
          <c:val>
            <c:numRef>
              <c:f>NP!$B$147:$B$190</c:f>
              <c:numCache>
                <c:formatCode>0</c:formatCode>
                <c:ptCount val="44"/>
                <c:pt idx="0">
                  <c:v>1015.5</c:v>
                </c:pt>
                <c:pt idx="1">
                  <c:v>828.60000000000059</c:v>
                </c:pt>
                <c:pt idx="2">
                  <c:v>925.79999999999939</c:v>
                </c:pt>
                <c:pt idx="3">
                  <c:v>-764.70000000000073</c:v>
                </c:pt>
                <c:pt idx="4">
                  <c:v>-207.2000000000007</c:v>
                </c:pt>
                <c:pt idx="5">
                  <c:v>-1286</c:v>
                </c:pt>
                <c:pt idx="6">
                  <c:v>-263.8347010000017</c:v>
                </c:pt>
                <c:pt idx="7">
                  <c:v>233.10000000000039</c:v>
                </c:pt>
                <c:pt idx="8">
                  <c:v>549.5</c:v>
                </c:pt>
                <c:pt idx="9">
                  <c:v>-1883.900000000001</c:v>
                </c:pt>
                <c:pt idx="10">
                  <c:v>-618.10872699999902</c:v>
                </c:pt>
                <c:pt idx="11">
                  <c:v>-188.10000000000039</c:v>
                </c:pt>
                <c:pt idx="12">
                  <c:v>-74.700000000000728</c:v>
                </c:pt>
                <c:pt idx="13">
                  <c:v>-297.7022649999999</c:v>
                </c:pt>
                <c:pt idx="14" formatCode="_(* #.##0000_);_(* \(#.##0000\);_(* &quot;-&quot;_);_(@_)">
                  <c:v>137.49999999999821</c:v>
                </c:pt>
                <c:pt idx="15" formatCode="_(* #.##0000_);_(* \(#.##0000\);_(* &quot;-&quot;_);_(@_)">
                  <c:v>-1702.6</c:v>
                </c:pt>
                <c:pt idx="16" formatCode="_(* #.##0000_);_(* \(#.##0000\);_(* &quot;-&quot;_);_(@_)">
                  <c:v>-527.10000000000059</c:v>
                </c:pt>
                <c:pt idx="17" formatCode="_(* #.##0000_);_(* \(#.##0000\);_(* &quot;-&quot;_);_(@_)">
                  <c:v>-877.20000000000073</c:v>
                </c:pt>
                <c:pt idx="18" formatCode="_(* #.##0000_);_(* \(#.##0000\);_(* &quot;-&quot;_);_(@_)">
                  <c:v>-2329.1</c:v>
                </c:pt>
                <c:pt idx="19" formatCode="_(* #.##0000_);_(* \(#.##0000\);_(* &quot;-&quot;_);_(@_)">
                  <c:v>71.60000000000035</c:v>
                </c:pt>
                <c:pt idx="20" formatCode="_(* #.##0000_);_(* \(#.##0000\);_(* &quot;-&quot;_);_(@_)">
                  <c:v>-803</c:v>
                </c:pt>
                <c:pt idx="21" formatCode="_(* #.##0000_);_(* \(#.##0000\);_(* &quot;-&quot;_);_(@_)">
                  <c:v>24.299999999999269</c:v>
                </c:pt>
                <c:pt idx="22" formatCode="_(* #.##0000_);_(* \(#.##0000\);_(* &quot;-&quot;_);_(@_)">
                  <c:v>789.30000000000109</c:v>
                </c:pt>
                <c:pt idx="23" formatCode="_(* #.##0000_);_(* \(#.##0000\);_(* &quot;-&quot;_);_(@_)">
                  <c:v>1511.9</c:v>
                </c:pt>
                <c:pt idx="24">
                  <c:v>-443.90000000000151</c:v>
                </c:pt>
                <c:pt idx="25">
                  <c:v>843.39239000000089</c:v>
                </c:pt>
                <c:pt idx="26" formatCode="#,#00">
                  <c:v>668.89999999999941</c:v>
                </c:pt>
                <c:pt idx="27" formatCode="#,#00">
                  <c:v>-1962.5</c:v>
                </c:pt>
                <c:pt idx="28" formatCode="#,#00">
                  <c:v>53.300000000001098</c:v>
                </c:pt>
                <c:pt idx="29" formatCode="#,#00">
                  <c:v>-288.20000000000073</c:v>
                </c:pt>
                <c:pt idx="30" formatCode="#,#00">
                  <c:v>42.399999999999643</c:v>
                </c:pt>
                <c:pt idx="31" formatCode="#,#00">
                  <c:v>-311.5</c:v>
                </c:pt>
                <c:pt idx="32" formatCode="#,#00">
                  <c:v>-270.30000000000132</c:v>
                </c:pt>
                <c:pt idx="33" formatCode="#,#00">
                  <c:v>21</c:v>
                </c:pt>
                <c:pt idx="34" formatCode="#,#00">
                  <c:v>-425.39999999999912</c:v>
                </c:pt>
                <c:pt idx="35" formatCode="#,#00">
                  <c:v>186.79999999999919</c:v>
                </c:pt>
                <c:pt idx="36" formatCode="#,#00">
                  <c:v>632.30000000000109</c:v>
                </c:pt>
                <c:pt idx="37" formatCode="#,#00">
                  <c:v>662.69999999999902</c:v>
                </c:pt>
                <c:pt idx="38" formatCode="#,#00">
                  <c:v>1025.5999999999981</c:v>
                </c:pt>
                <c:pt idx="39" formatCode="#,#00">
                  <c:v>474.40000000000151</c:v>
                </c:pt>
                <c:pt idx="40" formatCode="#,#00">
                  <c:v>1076.5999999999999</c:v>
                </c:pt>
                <c:pt idx="41" formatCode="#,#00">
                  <c:v>528</c:v>
                </c:pt>
                <c:pt idx="42" formatCode="#,#00">
                  <c:v>1383.9</c:v>
                </c:pt>
                <c:pt idx="43" formatCode="#,#00">
                  <c:v>433.79999999999859</c:v>
                </c:pt>
              </c:numCache>
            </c:numRef>
          </c:val>
          <c:smooth val="0"/>
        </c:ser>
        <c:dLbls>
          <c:showLegendKey val="0"/>
          <c:showVal val="0"/>
          <c:showCatName val="0"/>
          <c:showSerName val="0"/>
          <c:showPercent val="0"/>
          <c:showBubbleSize val="0"/>
        </c:dLbls>
        <c:marker val="1"/>
        <c:smooth val="0"/>
        <c:axId val="123654912"/>
        <c:axId val="123657216"/>
      </c:lineChart>
      <c:catAx>
        <c:axId val="123654912"/>
        <c:scaling>
          <c:orientation val="minMax"/>
        </c:scaling>
        <c:delete val="0"/>
        <c:axPos val="b"/>
        <c:numFmt formatCode="General" sourceLinked="1"/>
        <c:majorTickMark val="out"/>
        <c:minorTickMark val="none"/>
        <c:tickLblPos val="low"/>
        <c:spPr>
          <a:ln w="3175">
            <a:solidFill>
              <a:srgbClr val="000000"/>
            </a:solidFill>
            <a:prstDash val="solid"/>
          </a:ln>
        </c:spPr>
        <c:txPr>
          <a:bodyPr rot="-5400000" vert="horz"/>
          <a:lstStyle/>
          <a:p>
            <a:pPr>
              <a:defRPr/>
            </a:pPr>
            <a:endParaRPr lang="id-ID"/>
          </a:p>
        </c:txPr>
        <c:crossAx val="123657216"/>
        <c:crosses val="autoZero"/>
        <c:auto val="1"/>
        <c:lblAlgn val="ctr"/>
        <c:lblOffset val="100"/>
        <c:tickLblSkip val="1"/>
        <c:tickMarkSkip val="1"/>
        <c:noMultiLvlLbl val="0"/>
      </c:catAx>
      <c:valAx>
        <c:axId val="123657216"/>
        <c:scaling>
          <c:orientation val="minMax"/>
        </c:scaling>
        <c:delete val="0"/>
        <c:axPos val="l"/>
        <c:title>
          <c:tx>
            <c:rich>
              <a:bodyPr/>
              <a:lstStyle/>
              <a:p>
                <a:pPr>
                  <a:defRPr/>
                </a:pPr>
                <a:r>
                  <a:rPr lang="en-US"/>
                  <a:t>Juta USD</a:t>
                </a:r>
              </a:p>
            </c:rich>
          </c:tx>
          <c:layout>
            <c:manualLayout>
              <c:xMode val="edge"/>
              <c:yMode val="edge"/>
              <c:x val="4.5942040390573903E-3"/>
              <c:y val="0.38347780988367902"/>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id-ID"/>
          </a:p>
        </c:txPr>
        <c:crossAx val="123654912"/>
        <c:crosses val="autoZero"/>
        <c:crossBetween val="between"/>
      </c:valAx>
      <c:spPr>
        <a:noFill/>
        <a:ln w="25400">
          <a:noFill/>
        </a:ln>
      </c:spPr>
    </c:plotArea>
    <c:legend>
      <c:legendPos val="r"/>
      <c:layout>
        <c:manualLayout>
          <c:xMode val="edge"/>
          <c:yMode val="edge"/>
          <c:x val="0.1098795735659"/>
          <c:y val="0.78920110901837803"/>
          <c:w val="0.740837437815551"/>
          <c:h val="7.7198051808784099E-2"/>
        </c:manualLayout>
      </c:layout>
      <c:overlay val="0"/>
      <c:spPr>
        <a:solidFill>
          <a:srgbClr val="FFFFCC"/>
        </a:solidFill>
        <a:ln w="25400">
          <a:noFill/>
        </a:ln>
      </c:spPr>
    </c:legend>
    <c:plotVisOnly val="1"/>
    <c:dispBlanksAs val="gap"/>
    <c:showDLblsOverMax val="0"/>
  </c:chart>
  <c:spPr>
    <a:noFill/>
    <a:ln w="9525">
      <a:noFill/>
    </a:ln>
  </c:spPr>
  <c:txPr>
    <a:bodyPr/>
    <a:lstStyle/>
    <a:p>
      <a:pPr>
        <a:defRPr sz="700" b="0" i="0" u="none" strike="noStrike" baseline="0">
          <a:solidFill>
            <a:srgbClr val="000000"/>
          </a:solidFill>
          <a:latin typeface="Calibri"/>
          <a:ea typeface="Arial"/>
          <a:cs typeface="Calibri"/>
        </a:defRPr>
      </a:pPr>
      <a:endParaRPr lang="id-ID"/>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id-ID"/>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7585180767616"/>
          <c:y val="0.101457133218375"/>
          <c:w val="0.77753255681536604"/>
          <c:h val="0.68269467546364404"/>
        </c:manualLayout>
      </c:layout>
      <c:barChart>
        <c:barDir val="col"/>
        <c:grouping val="clustered"/>
        <c:varyColors val="0"/>
        <c:ser>
          <c:idx val="1"/>
          <c:order val="1"/>
          <c:tx>
            <c:strRef>
              <c:f>ca!$J$2</c:f>
              <c:strCache>
                <c:ptCount val="1"/>
                <c:pt idx="0">
                  <c:v>Goods</c:v>
                </c:pt>
              </c:strCache>
            </c:strRef>
          </c:tx>
          <c:spPr>
            <a:solidFill>
              <a:schemeClr val="tx2">
                <a:lumMod val="75000"/>
              </a:schemeClr>
            </a:solidFill>
          </c:spPr>
          <c:invertIfNegative val="0"/>
          <c:cat>
            <c:multiLvlStrRef>
              <c:f>ca!$F$3:$G$20</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ca!$J$3:$J$20</c:f>
              <c:numCache>
                <c:formatCode>0</c:formatCode>
                <c:ptCount val="18"/>
                <c:pt idx="0">
                  <c:v>9263.9196120500001</c:v>
                </c:pt>
                <c:pt idx="1">
                  <c:v>9222.9469260898604</c:v>
                </c:pt>
                <c:pt idx="2">
                  <c:v>9699.8216763300006</c:v>
                </c:pt>
                <c:pt idx="3">
                  <c:v>6595.9186943000004</c:v>
                </c:pt>
                <c:pt idx="4">
                  <c:v>3809.7965989999998</c:v>
                </c:pt>
                <c:pt idx="5">
                  <c:v>817.75638909999998</c:v>
                </c:pt>
                <c:pt idx="6">
                  <c:v>3189.7251020000008</c:v>
                </c:pt>
                <c:pt idx="7">
                  <c:v>800.90502729999787</c:v>
                </c:pt>
                <c:pt idx="8">
                  <c:v>1602.0562850600011</c:v>
                </c:pt>
                <c:pt idx="9">
                  <c:v>-556.47579264000115</c:v>
                </c:pt>
                <c:pt idx="10">
                  <c:v>84.766219460000457</c:v>
                </c:pt>
                <c:pt idx="11">
                  <c:v>4702.8857969999999</c:v>
                </c:pt>
                <c:pt idx="12">
                  <c:v>3349.64</c:v>
                </c:pt>
                <c:pt idx="13">
                  <c:v>-375.16</c:v>
                </c:pt>
                <c:pt idx="14">
                  <c:v>1560.11</c:v>
                </c:pt>
                <c:pt idx="15">
                  <c:v>2447.5</c:v>
                </c:pt>
                <c:pt idx="16">
                  <c:v>3063</c:v>
                </c:pt>
                <c:pt idx="17">
                  <c:v>4118</c:v>
                </c:pt>
              </c:numCache>
            </c:numRef>
          </c:val>
        </c:ser>
        <c:ser>
          <c:idx val="3"/>
          <c:order val="2"/>
          <c:tx>
            <c:strRef>
              <c:f>ca!$L$2</c:f>
              <c:strCache>
                <c:ptCount val="1"/>
                <c:pt idx="0">
                  <c:v>Income</c:v>
                </c:pt>
              </c:strCache>
            </c:strRef>
          </c:tx>
          <c:spPr>
            <a:solidFill>
              <a:schemeClr val="accent1">
                <a:lumMod val="60000"/>
                <a:lumOff val="40000"/>
              </a:schemeClr>
            </a:solidFill>
          </c:spPr>
          <c:invertIfNegative val="0"/>
          <c:cat>
            <c:multiLvlStrRef>
              <c:f>ca!$F$3:$G$20</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ca!$L$3:$L$20</c:f>
              <c:numCache>
                <c:formatCode>0</c:formatCode>
                <c:ptCount val="18"/>
                <c:pt idx="0">
                  <c:v>-5524.9671125000004</c:v>
                </c:pt>
                <c:pt idx="1">
                  <c:v>-6775.7715258400003</c:v>
                </c:pt>
                <c:pt idx="2">
                  <c:v>-7416.1556472300008</c:v>
                </c:pt>
                <c:pt idx="3">
                  <c:v>-6958.9258327100006</c:v>
                </c:pt>
                <c:pt idx="4">
                  <c:v>-6048.2263730000004</c:v>
                </c:pt>
                <c:pt idx="5">
                  <c:v>-7101.0942290000121</c:v>
                </c:pt>
                <c:pt idx="6">
                  <c:v>-6955.1505410000054</c:v>
                </c:pt>
                <c:pt idx="7">
                  <c:v>-6695.2975979999856</c:v>
                </c:pt>
                <c:pt idx="8">
                  <c:v>-6052.3713266100003</c:v>
                </c:pt>
                <c:pt idx="9">
                  <c:v>-7020.1008761100002</c:v>
                </c:pt>
                <c:pt idx="10">
                  <c:v>-6805.6</c:v>
                </c:pt>
                <c:pt idx="11">
                  <c:v>-7172.4</c:v>
                </c:pt>
                <c:pt idx="12">
                  <c:v>-6354.7</c:v>
                </c:pt>
                <c:pt idx="13">
                  <c:v>-7147.8</c:v>
                </c:pt>
                <c:pt idx="14">
                  <c:v>-7136.64</c:v>
                </c:pt>
                <c:pt idx="15">
                  <c:v>-6957.5</c:v>
                </c:pt>
                <c:pt idx="16">
                  <c:v>-6724</c:v>
                </c:pt>
                <c:pt idx="17">
                  <c:v>-7369</c:v>
                </c:pt>
              </c:numCache>
            </c:numRef>
          </c:val>
        </c:ser>
        <c:ser>
          <c:idx val="2"/>
          <c:order val="3"/>
          <c:tx>
            <c:strRef>
              <c:f>ca!$K$2</c:f>
              <c:strCache>
                <c:ptCount val="1"/>
                <c:pt idx="0">
                  <c:v>Services</c:v>
                </c:pt>
              </c:strCache>
            </c:strRef>
          </c:tx>
          <c:spPr>
            <a:solidFill>
              <a:schemeClr val="tx2">
                <a:lumMod val="60000"/>
                <a:lumOff val="40000"/>
              </a:schemeClr>
            </a:solidFill>
          </c:spPr>
          <c:invertIfNegative val="0"/>
          <c:cat>
            <c:multiLvlStrRef>
              <c:f>ca!$F$3:$G$20</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ca!$K$3:$K$20</c:f>
              <c:numCache>
                <c:formatCode>0</c:formatCode>
                <c:ptCount val="18"/>
                <c:pt idx="0">
                  <c:v>-1821.6875622699999</c:v>
                </c:pt>
                <c:pt idx="1">
                  <c:v>-3133.3609644199992</c:v>
                </c:pt>
                <c:pt idx="2">
                  <c:v>-2562.4066503399999</c:v>
                </c:pt>
                <c:pt idx="3">
                  <c:v>-3114.7729805600002</c:v>
                </c:pt>
                <c:pt idx="4">
                  <c:v>-1983.4135839999999</c:v>
                </c:pt>
                <c:pt idx="5">
                  <c:v>-2790.0740890000002</c:v>
                </c:pt>
                <c:pt idx="6">
                  <c:v>-2359.4121260000061</c:v>
                </c:pt>
                <c:pt idx="7">
                  <c:v>-3197.9443080000001</c:v>
                </c:pt>
                <c:pt idx="8">
                  <c:v>-2633.18252188</c:v>
                </c:pt>
                <c:pt idx="9">
                  <c:v>-3551.59027401</c:v>
                </c:pt>
                <c:pt idx="10">
                  <c:v>-2780.8</c:v>
                </c:pt>
                <c:pt idx="11">
                  <c:v>-3104.55</c:v>
                </c:pt>
                <c:pt idx="12">
                  <c:v>-2131</c:v>
                </c:pt>
                <c:pt idx="13">
                  <c:v>-2831</c:v>
                </c:pt>
                <c:pt idx="14">
                  <c:v>-2485</c:v>
                </c:pt>
                <c:pt idx="15">
                  <c:v>-2560.5</c:v>
                </c:pt>
                <c:pt idx="16">
                  <c:v>-1857</c:v>
                </c:pt>
                <c:pt idx="17">
                  <c:v>-2645</c:v>
                </c:pt>
              </c:numCache>
            </c:numRef>
          </c:val>
        </c:ser>
        <c:ser>
          <c:idx val="4"/>
          <c:order val="4"/>
          <c:tx>
            <c:strRef>
              <c:f>ca!$M$2</c:f>
              <c:strCache>
                <c:ptCount val="1"/>
                <c:pt idx="0">
                  <c:v>Curr. Trsfs</c:v>
                </c:pt>
              </c:strCache>
            </c:strRef>
          </c:tx>
          <c:spPr>
            <a:solidFill>
              <a:schemeClr val="accent1">
                <a:lumMod val="40000"/>
                <a:lumOff val="60000"/>
              </a:schemeClr>
            </a:solidFill>
          </c:spPr>
          <c:invertIfNegative val="0"/>
          <c:cat>
            <c:multiLvlStrRef>
              <c:f>ca!$F$3:$G$20</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ca!$M$3:$M$20</c:f>
              <c:numCache>
                <c:formatCode>0</c:formatCode>
                <c:ptCount val="18"/>
                <c:pt idx="0">
                  <c:v>1029.42145641</c:v>
                </c:pt>
                <c:pt idx="1">
                  <c:v>959.50773631000004</c:v>
                </c:pt>
                <c:pt idx="2">
                  <c:v>1045.098331319999</c:v>
                </c:pt>
                <c:pt idx="3">
                  <c:v>1176.4818461299999</c:v>
                </c:pt>
                <c:pt idx="4">
                  <c:v>1030.3256640000011</c:v>
                </c:pt>
                <c:pt idx="5">
                  <c:v>924.10539350000124</c:v>
                </c:pt>
                <c:pt idx="6">
                  <c:v>860.10432960000003</c:v>
                </c:pt>
                <c:pt idx="7">
                  <c:v>1279.843638999999</c:v>
                </c:pt>
                <c:pt idx="8">
                  <c:v>1076.1396289100001</c:v>
                </c:pt>
                <c:pt idx="9">
                  <c:v>1002.51832772</c:v>
                </c:pt>
                <c:pt idx="10">
                  <c:v>861.68069723000053</c:v>
                </c:pt>
                <c:pt idx="11">
                  <c:v>1237.8088330200001</c:v>
                </c:pt>
                <c:pt idx="12">
                  <c:v>1085.21</c:v>
                </c:pt>
                <c:pt idx="13">
                  <c:v>1534.15</c:v>
                </c:pt>
                <c:pt idx="14">
                  <c:v>1203.8399999999999</c:v>
                </c:pt>
                <c:pt idx="15">
                  <c:v>1396.52</c:v>
                </c:pt>
                <c:pt idx="16">
                  <c:v>1422</c:v>
                </c:pt>
                <c:pt idx="17">
                  <c:v>1420</c:v>
                </c:pt>
              </c:numCache>
            </c:numRef>
          </c:val>
        </c:ser>
        <c:dLbls>
          <c:showLegendKey val="0"/>
          <c:showVal val="0"/>
          <c:showCatName val="0"/>
          <c:showSerName val="0"/>
          <c:showPercent val="0"/>
          <c:showBubbleSize val="0"/>
        </c:dLbls>
        <c:gapWidth val="73"/>
        <c:overlap val="100"/>
        <c:axId val="123788672"/>
        <c:axId val="123802752"/>
      </c:barChart>
      <c:lineChart>
        <c:grouping val="standard"/>
        <c:varyColors val="0"/>
        <c:ser>
          <c:idx val="0"/>
          <c:order val="0"/>
          <c:tx>
            <c:strRef>
              <c:f>ca!$I$2</c:f>
              <c:strCache>
                <c:ptCount val="1"/>
                <c:pt idx="0">
                  <c:v>Current Account (RHS)</c:v>
                </c:pt>
              </c:strCache>
            </c:strRef>
          </c:tx>
          <c:spPr>
            <a:ln>
              <a:solidFill>
                <a:srgbClr val="FF0000"/>
              </a:solidFill>
            </a:ln>
          </c:spPr>
          <c:marker>
            <c:symbol val="none"/>
          </c:marker>
          <c:cat>
            <c:multiLvlStrRef>
              <c:f>ca!$F$3:$G$20</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11</c:v>
                  </c:pt>
                  <c:pt idx="4">
                    <c:v>2012</c:v>
                  </c:pt>
                  <c:pt idx="8">
                    <c:v>2013</c:v>
                  </c:pt>
                  <c:pt idx="12">
                    <c:v>2014</c:v>
                  </c:pt>
                  <c:pt idx="16">
                    <c:v>2015</c:v>
                  </c:pt>
                </c:lvl>
              </c:multiLvlStrCache>
            </c:multiLvlStrRef>
          </c:cat>
          <c:val>
            <c:numRef>
              <c:f>ca!$I$3:$I$20</c:f>
              <c:numCache>
                <c:formatCode>0</c:formatCode>
                <c:ptCount val="18"/>
                <c:pt idx="0">
                  <c:v>2946.6863936999998</c:v>
                </c:pt>
                <c:pt idx="1">
                  <c:v>273.32217214999912</c:v>
                </c:pt>
                <c:pt idx="2">
                  <c:v>766.35771007999938</c:v>
                </c:pt>
                <c:pt idx="3">
                  <c:v>-2301.2982728300012</c:v>
                </c:pt>
                <c:pt idx="4">
                  <c:v>-3191.5176929999998</c:v>
                </c:pt>
                <c:pt idx="5">
                  <c:v>-8149.3065350000024</c:v>
                </c:pt>
                <c:pt idx="6">
                  <c:v>-5264.733236</c:v>
                </c:pt>
                <c:pt idx="7">
                  <c:v>-7812.4932390000004</c:v>
                </c:pt>
                <c:pt idx="8">
                  <c:v>-6007.3600000000024</c:v>
                </c:pt>
                <c:pt idx="9">
                  <c:v>-10125.65</c:v>
                </c:pt>
                <c:pt idx="10">
                  <c:v>-8639.57</c:v>
                </c:pt>
                <c:pt idx="11">
                  <c:v>-4336</c:v>
                </c:pt>
                <c:pt idx="12">
                  <c:v>-4050.849999999999</c:v>
                </c:pt>
                <c:pt idx="13">
                  <c:v>-8819.8099999998012</c:v>
                </c:pt>
                <c:pt idx="14">
                  <c:v>-6857.6900000000014</c:v>
                </c:pt>
                <c:pt idx="15">
                  <c:v>-5673.98</c:v>
                </c:pt>
                <c:pt idx="16">
                  <c:v>-4096</c:v>
                </c:pt>
                <c:pt idx="17">
                  <c:v>-4476</c:v>
                </c:pt>
              </c:numCache>
            </c:numRef>
          </c:val>
          <c:smooth val="1"/>
        </c:ser>
        <c:dLbls>
          <c:showLegendKey val="0"/>
          <c:showVal val="0"/>
          <c:showCatName val="0"/>
          <c:showSerName val="0"/>
          <c:showPercent val="0"/>
          <c:showBubbleSize val="0"/>
        </c:dLbls>
        <c:marker val="1"/>
        <c:smooth val="0"/>
        <c:axId val="123806848"/>
        <c:axId val="123804672"/>
      </c:lineChart>
      <c:catAx>
        <c:axId val="123788672"/>
        <c:scaling>
          <c:orientation val="minMax"/>
        </c:scaling>
        <c:delete val="0"/>
        <c:axPos val="b"/>
        <c:numFmt formatCode="General" sourceLinked="0"/>
        <c:majorTickMark val="out"/>
        <c:minorTickMark val="none"/>
        <c:tickLblPos val="low"/>
        <c:crossAx val="123802752"/>
        <c:crosses val="autoZero"/>
        <c:auto val="1"/>
        <c:lblAlgn val="ctr"/>
        <c:lblOffset val="100"/>
        <c:noMultiLvlLbl val="0"/>
      </c:catAx>
      <c:valAx>
        <c:axId val="123802752"/>
        <c:scaling>
          <c:orientation val="minMax"/>
          <c:min val="-15000"/>
        </c:scaling>
        <c:delete val="0"/>
        <c:axPos val="l"/>
        <c:title>
          <c:tx>
            <c:rich>
              <a:bodyPr rot="0" vert="horz"/>
              <a:lstStyle/>
              <a:p>
                <a:pPr>
                  <a:defRPr/>
                </a:pPr>
                <a:r>
                  <a:rPr lang="en-US"/>
                  <a:t>USD mn</a:t>
                </a:r>
              </a:p>
            </c:rich>
          </c:tx>
          <c:layout>
            <c:manualLayout>
              <c:xMode val="edge"/>
              <c:yMode val="edge"/>
              <c:x val="2.7822573283757399E-2"/>
              <c:y val="0"/>
            </c:manualLayout>
          </c:layout>
          <c:overlay val="0"/>
        </c:title>
        <c:numFmt formatCode="0" sourceLinked="0"/>
        <c:majorTickMark val="out"/>
        <c:minorTickMark val="none"/>
        <c:tickLblPos val="nextTo"/>
        <c:crossAx val="123788672"/>
        <c:crosses val="autoZero"/>
        <c:crossBetween val="between"/>
        <c:majorUnit val="5000"/>
      </c:valAx>
      <c:valAx>
        <c:axId val="123804672"/>
        <c:scaling>
          <c:orientation val="minMax"/>
          <c:max val="15000"/>
        </c:scaling>
        <c:delete val="0"/>
        <c:axPos val="r"/>
        <c:title>
          <c:tx>
            <c:rich>
              <a:bodyPr rot="0" vert="horz"/>
              <a:lstStyle/>
              <a:p>
                <a:pPr>
                  <a:defRPr/>
                </a:pPr>
                <a:r>
                  <a:rPr lang="en-US"/>
                  <a:t>USD mn</a:t>
                </a:r>
              </a:p>
            </c:rich>
          </c:tx>
          <c:layout>
            <c:manualLayout>
              <c:xMode val="edge"/>
              <c:yMode val="edge"/>
              <c:x val="0.86298928356265303"/>
              <c:y val="0"/>
            </c:manualLayout>
          </c:layout>
          <c:overlay val="0"/>
        </c:title>
        <c:numFmt formatCode="0" sourceLinked="0"/>
        <c:majorTickMark val="out"/>
        <c:minorTickMark val="none"/>
        <c:tickLblPos val="nextTo"/>
        <c:crossAx val="123806848"/>
        <c:crosses val="max"/>
        <c:crossBetween val="between"/>
        <c:majorUnit val="5000"/>
      </c:valAx>
      <c:catAx>
        <c:axId val="123806848"/>
        <c:scaling>
          <c:orientation val="minMax"/>
        </c:scaling>
        <c:delete val="1"/>
        <c:axPos val="b"/>
        <c:numFmt formatCode="General" sourceLinked="1"/>
        <c:majorTickMark val="out"/>
        <c:minorTickMark val="none"/>
        <c:tickLblPos val="none"/>
        <c:crossAx val="123804672"/>
        <c:crosses val="autoZero"/>
        <c:auto val="1"/>
        <c:lblAlgn val="ctr"/>
        <c:lblOffset val="100"/>
        <c:noMultiLvlLbl val="0"/>
      </c:catAx>
      <c:spPr>
        <a:noFill/>
        <a:ln w="25400">
          <a:noFill/>
        </a:ln>
      </c:spPr>
    </c:plotArea>
    <c:legend>
      <c:legendPos val="b"/>
      <c:layout>
        <c:manualLayout>
          <c:xMode val="edge"/>
          <c:yMode val="edge"/>
          <c:x val="0.14472583776099701"/>
          <c:y val="7.0480912215601196E-2"/>
          <c:w val="0.75463561499675602"/>
          <c:h val="0.122829486331081"/>
        </c:manualLayout>
      </c:layout>
      <c:overlay val="0"/>
      <c:txPr>
        <a:bodyPr/>
        <a:lstStyle/>
        <a:p>
          <a:pPr>
            <a:defRPr sz="600"/>
          </a:pPr>
          <a:endParaRPr lang="id-ID"/>
        </a:p>
      </c:txPr>
    </c:legend>
    <c:plotVisOnly val="1"/>
    <c:dispBlanksAs val="gap"/>
    <c:showDLblsOverMax val="0"/>
  </c:chart>
  <c:txPr>
    <a:bodyPr/>
    <a:lstStyle/>
    <a:p>
      <a:pPr>
        <a:defRPr sz="700"/>
      </a:pPr>
      <a:endParaRPr lang="id-ID"/>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EE631E-F8A9-4FF9-AB21-1FF030CDE5E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id-ID"/>
        </a:p>
      </dgm:t>
    </dgm:pt>
    <dgm:pt modelId="{F8CAF50C-E61C-4673-AD86-AAA8A0F40119}">
      <dgm:prSet phldrT="[Text]" custT="1"/>
      <dgm:spPr>
        <a:solidFill>
          <a:srgbClr val="002060"/>
        </a:solidFill>
      </dgm:spPr>
      <dgm:t>
        <a:bodyPr/>
        <a:lstStyle/>
        <a:p>
          <a:r>
            <a:rPr lang="id-ID" sz="1800" dirty="0" smtClean="0"/>
            <a:t>Infrastruktur Pertanian</a:t>
          </a:r>
          <a:endParaRPr lang="id-ID" sz="1800" dirty="0"/>
        </a:p>
      </dgm:t>
    </dgm:pt>
    <dgm:pt modelId="{63DCFEFD-284D-4008-A8E1-0258D86725D5}" type="parTrans" cxnId="{91617DCE-256F-47B3-B6FD-B0215074002F}">
      <dgm:prSet/>
      <dgm:spPr/>
      <dgm:t>
        <a:bodyPr/>
        <a:lstStyle/>
        <a:p>
          <a:endParaRPr lang="id-ID" sz="1800"/>
        </a:p>
      </dgm:t>
    </dgm:pt>
    <dgm:pt modelId="{262A425B-6DAB-4A4F-A4B5-160038F6AA74}" type="sibTrans" cxnId="{91617DCE-256F-47B3-B6FD-B0215074002F}">
      <dgm:prSet/>
      <dgm:spPr/>
      <dgm:t>
        <a:bodyPr/>
        <a:lstStyle/>
        <a:p>
          <a:endParaRPr lang="id-ID" sz="1800"/>
        </a:p>
      </dgm:t>
    </dgm:pt>
    <dgm:pt modelId="{F59F4ACE-A9E8-4C0F-BB01-EFF771F3F111}">
      <dgm:prSet phldrT="[Text]" custT="1"/>
      <dgm:spPr>
        <a:solidFill>
          <a:schemeClr val="bg1">
            <a:lumMod val="75000"/>
            <a:alpha val="90000"/>
          </a:schemeClr>
        </a:solidFill>
      </dgm:spPr>
      <dgm:t>
        <a:bodyPr/>
        <a:lstStyle/>
        <a:p>
          <a:r>
            <a:rPr lang="id-ID" sz="1800" dirty="0" smtClean="0"/>
            <a:t>Waduk</a:t>
          </a:r>
          <a:endParaRPr lang="id-ID" sz="1800" dirty="0"/>
        </a:p>
      </dgm:t>
    </dgm:pt>
    <dgm:pt modelId="{3647E38D-68CD-4396-9F3A-4FAAA0DE07B3}" type="parTrans" cxnId="{D638C233-73C4-4DDF-A92A-772B98EF1E74}">
      <dgm:prSet/>
      <dgm:spPr/>
      <dgm:t>
        <a:bodyPr/>
        <a:lstStyle/>
        <a:p>
          <a:endParaRPr lang="id-ID" sz="1800"/>
        </a:p>
      </dgm:t>
    </dgm:pt>
    <dgm:pt modelId="{3611E0E8-A0B7-4600-A110-6F405A6E5089}" type="sibTrans" cxnId="{D638C233-73C4-4DDF-A92A-772B98EF1E74}">
      <dgm:prSet/>
      <dgm:spPr/>
      <dgm:t>
        <a:bodyPr/>
        <a:lstStyle/>
        <a:p>
          <a:endParaRPr lang="id-ID" sz="1800"/>
        </a:p>
      </dgm:t>
    </dgm:pt>
    <dgm:pt modelId="{36A007A4-A089-4288-AB8E-6FA722BC5436}">
      <dgm:prSet phldrT="[Text]" custT="1"/>
      <dgm:spPr>
        <a:solidFill>
          <a:srgbClr val="002060"/>
        </a:solidFill>
      </dgm:spPr>
      <dgm:t>
        <a:bodyPr/>
        <a:lstStyle/>
        <a:p>
          <a:r>
            <a:rPr lang="id-ID" sz="1800" dirty="0" smtClean="0"/>
            <a:t>Infrastruktur Energi</a:t>
          </a:r>
          <a:endParaRPr lang="id-ID" sz="1800" dirty="0"/>
        </a:p>
      </dgm:t>
    </dgm:pt>
    <dgm:pt modelId="{0705BEF5-31F2-4FA3-8DA5-48FC05F140B7}" type="parTrans" cxnId="{9D4F1269-CD9F-4C73-ADCC-4F7FF7FD55F7}">
      <dgm:prSet/>
      <dgm:spPr/>
      <dgm:t>
        <a:bodyPr/>
        <a:lstStyle/>
        <a:p>
          <a:endParaRPr lang="id-ID" sz="1800"/>
        </a:p>
      </dgm:t>
    </dgm:pt>
    <dgm:pt modelId="{8F665B0C-0A4D-4917-809C-A9D13A966407}" type="sibTrans" cxnId="{9D4F1269-CD9F-4C73-ADCC-4F7FF7FD55F7}">
      <dgm:prSet/>
      <dgm:spPr/>
      <dgm:t>
        <a:bodyPr/>
        <a:lstStyle/>
        <a:p>
          <a:endParaRPr lang="id-ID" sz="1800"/>
        </a:p>
      </dgm:t>
    </dgm:pt>
    <dgm:pt modelId="{8041BBF2-2EC7-4945-B7F9-0F1A26E73080}">
      <dgm:prSet phldrT="[Text]" custT="1"/>
      <dgm:spPr>
        <a:solidFill>
          <a:schemeClr val="bg1">
            <a:lumMod val="75000"/>
            <a:alpha val="90000"/>
          </a:schemeClr>
        </a:solidFill>
      </dgm:spPr>
      <dgm:t>
        <a:bodyPr/>
        <a:lstStyle/>
        <a:p>
          <a:r>
            <a:rPr lang="id-ID" sz="1800" dirty="0" smtClean="0"/>
            <a:t>Listrik</a:t>
          </a:r>
          <a:endParaRPr lang="id-ID" sz="1800" dirty="0"/>
        </a:p>
      </dgm:t>
    </dgm:pt>
    <dgm:pt modelId="{6465D240-88F5-4F7A-A0A6-1DA96DE23DA5}" type="parTrans" cxnId="{DE530A52-55E4-4B7E-88E5-03F2AD0EF608}">
      <dgm:prSet/>
      <dgm:spPr/>
      <dgm:t>
        <a:bodyPr/>
        <a:lstStyle/>
        <a:p>
          <a:endParaRPr lang="id-ID" sz="1800"/>
        </a:p>
      </dgm:t>
    </dgm:pt>
    <dgm:pt modelId="{232A258A-2A96-4152-B57B-122D90DF8FD5}" type="sibTrans" cxnId="{DE530A52-55E4-4B7E-88E5-03F2AD0EF608}">
      <dgm:prSet/>
      <dgm:spPr/>
      <dgm:t>
        <a:bodyPr/>
        <a:lstStyle/>
        <a:p>
          <a:endParaRPr lang="id-ID" sz="1800"/>
        </a:p>
      </dgm:t>
    </dgm:pt>
    <dgm:pt modelId="{ACC631A8-6AA8-4190-9C67-80250729E5A6}">
      <dgm:prSet phldrT="[Text]" custT="1"/>
      <dgm:spPr>
        <a:solidFill>
          <a:srgbClr val="002060"/>
        </a:solidFill>
      </dgm:spPr>
      <dgm:t>
        <a:bodyPr/>
        <a:lstStyle/>
        <a:p>
          <a:r>
            <a:rPr lang="id-ID" sz="1800" dirty="0" smtClean="0"/>
            <a:t>Infrastuktur Logistik</a:t>
          </a:r>
          <a:endParaRPr lang="id-ID" sz="1800" dirty="0"/>
        </a:p>
      </dgm:t>
    </dgm:pt>
    <dgm:pt modelId="{A837DCBE-EEA9-480E-A204-87E7FB5316B3}" type="parTrans" cxnId="{20A19CCE-9911-4EA0-AE45-FCB884C92690}">
      <dgm:prSet/>
      <dgm:spPr/>
      <dgm:t>
        <a:bodyPr/>
        <a:lstStyle/>
        <a:p>
          <a:endParaRPr lang="id-ID" sz="1800"/>
        </a:p>
      </dgm:t>
    </dgm:pt>
    <dgm:pt modelId="{D9141F5D-3BB9-4905-9CF9-5114AAE9E259}" type="sibTrans" cxnId="{20A19CCE-9911-4EA0-AE45-FCB884C92690}">
      <dgm:prSet/>
      <dgm:spPr/>
      <dgm:t>
        <a:bodyPr/>
        <a:lstStyle/>
        <a:p>
          <a:endParaRPr lang="id-ID" sz="1800"/>
        </a:p>
      </dgm:t>
    </dgm:pt>
    <dgm:pt modelId="{740A94AD-CB65-42F7-A30A-FBB46D729B00}">
      <dgm:prSet phldrT="[Text]" custT="1"/>
      <dgm:spPr>
        <a:solidFill>
          <a:schemeClr val="bg1">
            <a:lumMod val="75000"/>
            <a:alpha val="90000"/>
          </a:schemeClr>
        </a:solidFill>
      </dgm:spPr>
      <dgm:t>
        <a:bodyPr/>
        <a:lstStyle/>
        <a:p>
          <a:r>
            <a:rPr lang="id-ID" sz="1800" dirty="0" smtClean="0"/>
            <a:t>Irigasi</a:t>
          </a:r>
          <a:endParaRPr lang="id-ID" sz="1800" dirty="0"/>
        </a:p>
      </dgm:t>
    </dgm:pt>
    <dgm:pt modelId="{B6613372-FCB3-4B80-9578-E9431FBD323E}" type="parTrans" cxnId="{CA67B540-0010-4F8A-A2FC-6ECBD2163A57}">
      <dgm:prSet/>
      <dgm:spPr/>
      <dgm:t>
        <a:bodyPr/>
        <a:lstStyle/>
        <a:p>
          <a:endParaRPr lang="id-ID" sz="1800"/>
        </a:p>
      </dgm:t>
    </dgm:pt>
    <dgm:pt modelId="{BE933377-5208-4490-8093-7142CC3AB1D9}" type="sibTrans" cxnId="{CA67B540-0010-4F8A-A2FC-6ECBD2163A57}">
      <dgm:prSet/>
      <dgm:spPr/>
      <dgm:t>
        <a:bodyPr/>
        <a:lstStyle/>
        <a:p>
          <a:endParaRPr lang="id-ID" sz="1800"/>
        </a:p>
      </dgm:t>
    </dgm:pt>
    <dgm:pt modelId="{636EBC0F-7DD6-482B-ADD8-09BD9E85C45C}">
      <dgm:prSet phldrT="[Text]" custT="1"/>
      <dgm:spPr>
        <a:solidFill>
          <a:schemeClr val="bg1">
            <a:lumMod val="75000"/>
            <a:alpha val="90000"/>
          </a:schemeClr>
        </a:solidFill>
      </dgm:spPr>
      <dgm:t>
        <a:bodyPr/>
        <a:lstStyle/>
        <a:p>
          <a:r>
            <a:rPr lang="id-ID" sz="1800" dirty="0" smtClean="0"/>
            <a:t>Jalan</a:t>
          </a:r>
          <a:endParaRPr lang="id-ID" sz="1800" dirty="0"/>
        </a:p>
      </dgm:t>
    </dgm:pt>
    <dgm:pt modelId="{654D7480-A18A-4A11-B7BA-35B6781B9468}" type="parTrans" cxnId="{496242ED-157D-42BC-A9A7-6BF3CBBAC550}">
      <dgm:prSet/>
      <dgm:spPr/>
      <dgm:t>
        <a:bodyPr/>
        <a:lstStyle/>
        <a:p>
          <a:endParaRPr lang="id-ID" sz="1800"/>
        </a:p>
      </dgm:t>
    </dgm:pt>
    <dgm:pt modelId="{E76BAA94-8098-4865-83E5-4FFCE6ECC24D}" type="sibTrans" cxnId="{496242ED-157D-42BC-A9A7-6BF3CBBAC550}">
      <dgm:prSet/>
      <dgm:spPr/>
      <dgm:t>
        <a:bodyPr/>
        <a:lstStyle/>
        <a:p>
          <a:endParaRPr lang="id-ID" sz="1800"/>
        </a:p>
      </dgm:t>
    </dgm:pt>
    <dgm:pt modelId="{5DBB39CF-5C6A-4BF8-B796-B0BB624040FD}">
      <dgm:prSet phldrT="[Text]" custT="1"/>
      <dgm:spPr>
        <a:solidFill>
          <a:schemeClr val="bg1">
            <a:lumMod val="75000"/>
            <a:alpha val="90000"/>
          </a:schemeClr>
        </a:solidFill>
      </dgm:spPr>
      <dgm:t>
        <a:bodyPr/>
        <a:lstStyle/>
        <a:p>
          <a:r>
            <a:rPr lang="id-ID" sz="1800" dirty="0" smtClean="0"/>
            <a:t>Kereta Api</a:t>
          </a:r>
          <a:endParaRPr lang="id-ID" sz="1800" dirty="0"/>
        </a:p>
      </dgm:t>
    </dgm:pt>
    <dgm:pt modelId="{7D9D4D4D-525E-4513-9523-8C8AC21D5851}" type="parTrans" cxnId="{7B718A0F-0404-4FB3-A542-EEB33A05C2D5}">
      <dgm:prSet/>
      <dgm:spPr/>
      <dgm:t>
        <a:bodyPr/>
        <a:lstStyle/>
        <a:p>
          <a:endParaRPr lang="id-ID" sz="1800"/>
        </a:p>
      </dgm:t>
    </dgm:pt>
    <dgm:pt modelId="{60163D9F-5EB0-4886-B0ED-C13CF25541EC}" type="sibTrans" cxnId="{7B718A0F-0404-4FB3-A542-EEB33A05C2D5}">
      <dgm:prSet/>
      <dgm:spPr/>
      <dgm:t>
        <a:bodyPr/>
        <a:lstStyle/>
        <a:p>
          <a:endParaRPr lang="id-ID" sz="1800"/>
        </a:p>
      </dgm:t>
    </dgm:pt>
    <dgm:pt modelId="{09F984A5-666B-42D4-8234-331064316EF9}">
      <dgm:prSet phldrT="[Text]" custT="1"/>
      <dgm:spPr>
        <a:solidFill>
          <a:schemeClr val="bg1">
            <a:lumMod val="75000"/>
            <a:alpha val="90000"/>
          </a:schemeClr>
        </a:solidFill>
      </dgm:spPr>
      <dgm:t>
        <a:bodyPr/>
        <a:lstStyle/>
        <a:p>
          <a:r>
            <a:rPr lang="id-ID" sz="1800" dirty="0" smtClean="0"/>
            <a:t>Airport</a:t>
          </a:r>
          <a:endParaRPr lang="id-ID" sz="1800" dirty="0"/>
        </a:p>
      </dgm:t>
    </dgm:pt>
    <dgm:pt modelId="{0D350B94-9B00-4E95-8465-6C5320AFE2DF}" type="parTrans" cxnId="{A7CC3240-372C-44C1-9475-97B44DADB620}">
      <dgm:prSet/>
      <dgm:spPr/>
      <dgm:t>
        <a:bodyPr/>
        <a:lstStyle/>
        <a:p>
          <a:endParaRPr lang="id-ID" sz="1800"/>
        </a:p>
      </dgm:t>
    </dgm:pt>
    <dgm:pt modelId="{6952FC3B-C4A1-4EB2-901A-BAD6942A2F69}" type="sibTrans" cxnId="{A7CC3240-372C-44C1-9475-97B44DADB620}">
      <dgm:prSet/>
      <dgm:spPr/>
      <dgm:t>
        <a:bodyPr/>
        <a:lstStyle/>
        <a:p>
          <a:endParaRPr lang="id-ID" sz="1800"/>
        </a:p>
      </dgm:t>
    </dgm:pt>
    <dgm:pt modelId="{B2B52BA5-77DB-4629-96B3-8819FA741EE7}">
      <dgm:prSet phldrT="[Text]" custT="1"/>
      <dgm:spPr>
        <a:solidFill>
          <a:srgbClr val="002060"/>
        </a:solidFill>
      </dgm:spPr>
      <dgm:t>
        <a:bodyPr/>
        <a:lstStyle/>
        <a:p>
          <a:r>
            <a:rPr lang="id-ID" sz="1800" dirty="0" smtClean="0"/>
            <a:t>Infrastruktur Pemukiman</a:t>
          </a:r>
          <a:endParaRPr lang="id-ID" sz="1800" dirty="0"/>
        </a:p>
      </dgm:t>
    </dgm:pt>
    <dgm:pt modelId="{8F1432BB-4F3D-474A-968D-125FC77BAE64}" type="parTrans" cxnId="{3080472D-B411-4696-865B-E16D8FE38DF0}">
      <dgm:prSet/>
      <dgm:spPr/>
      <dgm:t>
        <a:bodyPr/>
        <a:lstStyle/>
        <a:p>
          <a:endParaRPr lang="id-ID" sz="1800"/>
        </a:p>
      </dgm:t>
    </dgm:pt>
    <dgm:pt modelId="{3F55BE0B-7332-4CAB-937A-4E1920C13D77}" type="sibTrans" cxnId="{3080472D-B411-4696-865B-E16D8FE38DF0}">
      <dgm:prSet/>
      <dgm:spPr/>
      <dgm:t>
        <a:bodyPr/>
        <a:lstStyle/>
        <a:p>
          <a:endParaRPr lang="id-ID" sz="1800"/>
        </a:p>
      </dgm:t>
    </dgm:pt>
    <dgm:pt modelId="{C34B891A-01A2-4916-8717-07BEA5AEC77A}">
      <dgm:prSet phldrT="[Text]" custT="1"/>
      <dgm:spPr>
        <a:solidFill>
          <a:schemeClr val="bg1">
            <a:lumMod val="75000"/>
            <a:alpha val="90000"/>
          </a:schemeClr>
        </a:solidFill>
      </dgm:spPr>
      <dgm:t>
        <a:bodyPr/>
        <a:lstStyle/>
        <a:p>
          <a:r>
            <a:rPr lang="id-ID" sz="1800" dirty="0" smtClean="0"/>
            <a:t>Perumahan</a:t>
          </a:r>
          <a:endParaRPr lang="id-ID" sz="1800" dirty="0"/>
        </a:p>
      </dgm:t>
    </dgm:pt>
    <dgm:pt modelId="{2046C2D8-B773-408C-944D-33EF5A6CD860}" type="parTrans" cxnId="{C5FDA910-836E-46AC-9D97-1A702D8B8958}">
      <dgm:prSet/>
      <dgm:spPr/>
      <dgm:t>
        <a:bodyPr/>
        <a:lstStyle/>
        <a:p>
          <a:endParaRPr lang="id-ID" sz="1800"/>
        </a:p>
      </dgm:t>
    </dgm:pt>
    <dgm:pt modelId="{22E0747C-3B2E-445B-A9E1-AA8E88ADA2CC}" type="sibTrans" cxnId="{C5FDA910-836E-46AC-9D97-1A702D8B8958}">
      <dgm:prSet/>
      <dgm:spPr/>
      <dgm:t>
        <a:bodyPr/>
        <a:lstStyle/>
        <a:p>
          <a:endParaRPr lang="id-ID" sz="1800"/>
        </a:p>
      </dgm:t>
    </dgm:pt>
    <dgm:pt modelId="{A53BF3D9-4809-4052-B1F7-762CE3611C30}" type="pres">
      <dgm:prSet presAssocID="{97EE631E-F8A9-4FF9-AB21-1FF030CDE5E1}" presName="Name0" presStyleCnt="0">
        <dgm:presLayoutVars>
          <dgm:dir/>
          <dgm:animLvl val="lvl"/>
          <dgm:resizeHandles val="exact"/>
        </dgm:presLayoutVars>
      </dgm:prSet>
      <dgm:spPr/>
      <dgm:t>
        <a:bodyPr/>
        <a:lstStyle/>
        <a:p>
          <a:endParaRPr lang="id-ID"/>
        </a:p>
      </dgm:t>
    </dgm:pt>
    <dgm:pt modelId="{82C319DD-6E6D-434E-9950-854FFCDF0A0F}" type="pres">
      <dgm:prSet presAssocID="{F8CAF50C-E61C-4673-AD86-AAA8A0F40119}" presName="linNode" presStyleCnt="0"/>
      <dgm:spPr/>
    </dgm:pt>
    <dgm:pt modelId="{A1F0791D-E345-478C-8F05-ACD963282546}" type="pres">
      <dgm:prSet presAssocID="{F8CAF50C-E61C-4673-AD86-AAA8A0F40119}" presName="parentText" presStyleLbl="node1" presStyleIdx="0" presStyleCnt="4">
        <dgm:presLayoutVars>
          <dgm:chMax val="1"/>
          <dgm:bulletEnabled val="1"/>
        </dgm:presLayoutVars>
      </dgm:prSet>
      <dgm:spPr/>
      <dgm:t>
        <a:bodyPr/>
        <a:lstStyle/>
        <a:p>
          <a:endParaRPr lang="id-ID"/>
        </a:p>
      </dgm:t>
    </dgm:pt>
    <dgm:pt modelId="{581D6389-51F0-4C19-A8FC-80B65A0098FB}" type="pres">
      <dgm:prSet presAssocID="{F8CAF50C-E61C-4673-AD86-AAA8A0F40119}" presName="descendantText" presStyleLbl="alignAccFollowNode1" presStyleIdx="0" presStyleCnt="4">
        <dgm:presLayoutVars>
          <dgm:bulletEnabled val="1"/>
        </dgm:presLayoutVars>
      </dgm:prSet>
      <dgm:spPr/>
      <dgm:t>
        <a:bodyPr/>
        <a:lstStyle/>
        <a:p>
          <a:endParaRPr lang="id-ID"/>
        </a:p>
      </dgm:t>
    </dgm:pt>
    <dgm:pt modelId="{A927CE39-5E49-4012-98A9-4CE172CB0B8D}" type="pres">
      <dgm:prSet presAssocID="{262A425B-6DAB-4A4F-A4B5-160038F6AA74}" presName="sp" presStyleCnt="0"/>
      <dgm:spPr/>
    </dgm:pt>
    <dgm:pt modelId="{488F6B59-C405-4B7A-8DAF-D1732E66A75D}" type="pres">
      <dgm:prSet presAssocID="{36A007A4-A089-4288-AB8E-6FA722BC5436}" presName="linNode" presStyleCnt="0"/>
      <dgm:spPr/>
    </dgm:pt>
    <dgm:pt modelId="{2BD02D22-5C70-4F0F-BDE2-9CD34597483C}" type="pres">
      <dgm:prSet presAssocID="{36A007A4-A089-4288-AB8E-6FA722BC5436}" presName="parentText" presStyleLbl="node1" presStyleIdx="1" presStyleCnt="4">
        <dgm:presLayoutVars>
          <dgm:chMax val="1"/>
          <dgm:bulletEnabled val="1"/>
        </dgm:presLayoutVars>
      </dgm:prSet>
      <dgm:spPr/>
      <dgm:t>
        <a:bodyPr/>
        <a:lstStyle/>
        <a:p>
          <a:endParaRPr lang="id-ID"/>
        </a:p>
      </dgm:t>
    </dgm:pt>
    <dgm:pt modelId="{A103E28C-4A99-4D9E-8F0C-0346740231E4}" type="pres">
      <dgm:prSet presAssocID="{36A007A4-A089-4288-AB8E-6FA722BC5436}" presName="descendantText" presStyleLbl="alignAccFollowNode1" presStyleIdx="1" presStyleCnt="4">
        <dgm:presLayoutVars>
          <dgm:bulletEnabled val="1"/>
        </dgm:presLayoutVars>
      </dgm:prSet>
      <dgm:spPr/>
      <dgm:t>
        <a:bodyPr/>
        <a:lstStyle/>
        <a:p>
          <a:endParaRPr lang="id-ID"/>
        </a:p>
      </dgm:t>
    </dgm:pt>
    <dgm:pt modelId="{670CAA98-6D26-4958-9198-37EF3B9FDBDD}" type="pres">
      <dgm:prSet presAssocID="{8F665B0C-0A4D-4917-809C-A9D13A966407}" presName="sp" presStyleCnt="0"/>
      <dgm:spPr/>
    </dgm:pt>
    <dgm:pt modelId="{AA8489E1-A5DC-4F39-A70C-1FA3692F6409}" type="pres">
      <dgm:prSet presAssocID="{ACC631A8-6AA8-4190-9C67-80250729E5A6}" presName="linNode" presStyleCnt="0"/>
      <dgm:spPr/>
    </dgm:pt>
    <dgm:pt modelId="{365B3A70-271E-40C8-97C9-59D47220DE58}" type="pres">
      <dgm:prSet presAssocID="{ACC631A8-6AA8-4190-9C67-80250729E5A6}" presName="parentText" presStyleLbl="node1" presStyleIdx="2" presStyleCnt="4">
        <dgm:presLayoutVars>
          <dgm:chMax val="1"/>
          <dgm:bulletEnabled val="1"/>
        </dgm:presLayoutVars>
      </dgm:prSet>
      <dgm:spPr/>
      <dgm:t>
        <a:bodyPr/>
        <a:lstStyle/>
        <a:p>
          <a:endParaRPr lang="id-ID"/>
        </a:p>
      </dgm:t>
    </dgm:pt>
    <dgm:pt modelId="{411D23D0-3519-4A11-8CEC-5113A218898B}" type="pres">
      <dgm:prSet presAssocID="{ACC631A8-6AA8-4190-9C67-80250729E5A6}" presName="descendantText" presStyleLbl="alignAccFollowNode1" presStyleIdx="2" presStyleCnt="4">
        <dgm:presLayoutVars>
          <dgm:bulletEnabled val="1"/>
        </dgm:presLayoutVars>
      </dgm:prSet>
      <dgm:spPr/>
      <dgm:t>
        <a:bodyPr/>
        <a:lstStyle/>
        <a:p>
          <a:endParaRPr lang="id-ID"/>
        </a:p>
      </dgm:t>
    </dgm:pt>
    <dgm:pt modelId="{A70C06B7-88A6-412F-AEBF-34F00675D6E3}" type="pres">
      <dgm:prSet presAssocID="{D9141F5D-3BB9-4905-9CF9-5114AAE9E259}" presName="sp" presStyleCnt="0"/>
      <dgm:spPr/>
    </dgm:pt>
    <dgm:pt modelId="{CECAADBA-3B94-4467-8AF1-2E951D5645E0}" type="pres">
      <dgm:prSet presAssocID="{B2B52BA5-77DB-4629-96B3-8819FA741EE7}" presName="linNode" presStyleCnt="0"/>
      <dgm:spPr/>
    </dgm:pt>
    <dgm:pt modelId="{21127FDD-0AB2-4A67-875D-DD2495E43273}" type="pres">
      <dgm:prSet presAssocID="{B2B52BA5-77DB-4629-96B3-8819FA741EE7}" presName="parentText" presStyleLbl="node1" presStyleIdx="3" presStyleCnt="4">
        <dgm:presLayoutVars>
          <dgm:chMax val="1"/>
          <dgm:bulletEnabled val="1"/>
        </dgm:presLayoutVars>
      </dgm:prSet>
      <dgm:spPr/>
      <dgm:t>
        <a:bodyPr/>
        <a:lstStyle/>
        <a:p>
          <a:endParaRPr lang="id-ID"/>
        </a:p>
      </dgm:t>
    </dgm:pt>
    <dgm:pt modelId="{F50E2C76-C511-4036-AAB2-F0BC0DC04537}" type="pres">
      <dgm:prSet presAssocID="{B2B52BA5-77DB-4629-96B3-8819FA741EE7}" presName="descendantText" presStyleLbl="alignAccFollowNode1" presStyleIdx="3" presStyleCnt="4">
        <dgm:presLayoutVars>
          <dgm:bulletEnabled val="1"/>
        </dgm:presLayoutVars>
      </dgm:prSet>
      <dgm:spPr/>
      <dgm:t>
        <a:bodyPr/>
        <a:lstStyle/>
        <a:p>
          <a:endParaRPr lang="id-ID"/>
        </a:p>
      </dgm:t>
    </dgm:pt>
  </dgm:ptLst>
  <dgm:cxnLst>
    <dgm:cxn modelId="{3080472D-B411-4696-865B-E16D8FE38DF0}" srcId="{97EE631E-F8A9-4FF9-AB21-1FF030CDE5E1}" destId="{B2B52BA5-77DB-4629-96B3-8819FA741EE7}" srcOrd="3" destOrd="0" parTransId="{8F1432BB-4F3D-474A-968D-125FC77BAE64}" sibTransId="{3F55BE0B-7332-4CAB-937A-4E1920C13D77}"/>
    <dgm:cxn modelId="{C5FDA910-836E-46AC-9D97-1A702D8B8958}" srcId="{B2B52BA5-77DB-4629-96B3-8819FA741EE7}" destId="{C34B891A-01A2-4916-8717-07BEA5AEC77A}" srcOrd="0" destOrd="0" parTransId="{2046C2D8-B773-408C-944D-33EF5A6CD860}" sibTransId="{22E0747C-3B2E-445B-A9E1-AA8E88ADA2CC}"/>
    <dgm:cxn modelId="{3AEA177D-7F83-4BDF-B43C-1D2B5BC0FB5A}" type="presOf" srcId="{09F984A5-666B-42D4-8234-331064316EF9}" destId="{411D23D0-3519-4A11-8CEC-5113A218898B}" srcOrd="0" destOrd="2" presId="urn:microsoft.com/office/officeart/2005/8/layout/vList5"/>
    <dgm:cxn modelId="{AE7A8B05-5BBF-4B0D-8B3A-F3AF2CDFF56A}" type="presOf" srcId="{B2B52BA5-77DB-4629-96B3-8819FA741EE7}" destId="{21127FDD-0AB2-4A67-875D-DD2495E43273}" srcOrd="0" destOrd="0" presId="urn:microsoft.com/office/officeart/2005/8/layout/vList5"/>
    <dgm:cxn modelId="{20A19CCE-9911-4EA0-AE45-FCB884C92690}" srcId="{97EE631E-F8A9-4FF9-AB21-1FF030CDE5E1}" destId="{ACC631A8-6AA8-4190-9C67-80250729E5A6}" srcOrd="2" destOrd="0" parTransId="{A837DCBE-EEA9-480E-A204-87E7FB5316B3}" sibTransId="{D9141F5D-3BB9-4905-9CF9-5114AAE9E259}"/>
    <dgm:cxn modelId="{CA67B540-0010-4F8A-A2FC-6ECBD2163A57}" srcId="{F8CAF50C-E61C-4673-AD86-AAA8A0F40119}" destId="{740A94AD-CB65-42F7-A30A-FBB46D729B00}" srcOrd="1" destOrd="0" parTransId="{B6613372-FCB3-4B80-9578-E9431FBD323E}" sibTransId="{BE933377-5208-4490-8093-7142CC3AB1D9}"/>
    <dgm:cxn modelId="{91617DCE-256F-47B3-B6FD-B0215074002F}" srcId="{97EE631E-F8A9-4FF9-AB21-1FF030CDE5E1}" destId="{F8CAF50C-E61C-4673-AD86-AAA8A0F40119}" srcOrd="0" destOrd="0" parTransId="{63DCFEFD-284D-4008-A8E1-0258D86725D5}" sibTransId="{262A425B-6DAB-4A4F-A4B5-160038F6AA74}"/>
    <dgm:cxn modelId="{AEF65125-23C7-4E27-AF46-43848F9D9829}" type="presOf" srcId="{F59F4ACE-A9E8-4C0F-BB01-EFF771F3F111}" destId="{581D6389-51F0-4C19-A8FC-80B65A0098FB}" srcOrd="0" destOrd="0" presId="urn:microsoft.com/office/officeart/2005/8/layout/vList5"/>
    <dgm:cxn modelId="{D638C233-73C4-4DDF-A92A-772B98EF1E74}" srcId="{F8CAF50C-E61C-4673-AD86-AAA8A0F40119}" destId="{F59F4ACE-A9E8-4C0F-BB01-EFF771F3F111}" srcOrd="0" destOrd="0" parTransId="{3647E38D-68CD-4396-9F3A-4FAAA0DE07B3}" sibTransId="{3611E0E8-A0B7-4600-A110-6F405A6E5089}"/>
    <dgm:cxn modelId="{B9C75F95-BCEB-4ED8-9AC5-76B92DFAE4C2}" type="presOf" srcId="{740A94AD-CB65-42F7-A30A-FBB46D729B00}" destId="{581D6389-51F0-4C19-A8FC-80B65A0098FB}" srcOrd="0" destOrd="1" presId="urn:microsoft.com/office/officeart/2005/8/layout/vList5"/>
    <dgm:cxn modelId="{DE530A52-55E4-4B7E-88E5-03F2AD0EF608}" srcId="{36A007A4-A089-4288-AB8E-6FA722BC5436}" destId="{8041BBF2-2EC7-4945-B7F9-0F1A26E73080}" srcOrd="0" destOrd="0" parTransId="{6465D240-88F5-4F7A-A0A6-1DA96DE23DA5}" sibTransId="{232A258A-2A96-4152-B57B-122D90DF8FD5}"/>
    <dgm:cxn modelId="{E8136F02-6449-4776-A9F7-F2A89CD7FC6A}" type="presOf" srcId="{636EBC0F-7DD6-482B-ADD8-09BD9E85C45C}" destId="{411D23D0-3519-4A11-8CEC-5113A218898B}" srcOrd="0" destOrd="0" presId="urn:microsoft.com/office/officeart/2005/8/layout/vList5"/>
    <dgm:cxn modelId="{D3070BAD-E879-4125-BAAA-B62F5F3C63BE}" type="presOf" srcId="{F8CAF50C-E61C-4673-AD86-AAA8A0F40119}" destId="{A1F0791D-E345-478C-8F05-ACD963282546}" srcOrd="0" destOrd="0" presId="urn:microsoft.com/office/officeart/2005/8/layout/vList5"/>
    <dgm:cxn modelId="{A7CC3240-372C-44C1-9475-97B44DADB620}" srcId="{ACC631A8-6AA8-4190-9C67-80250729E5A6}" destId="{09F984A5-666B-42D4-8234-331064316EF9}" srcOrd="2" destOrd="0" parTransId="{0D350B94-9B00-4E95-8465-6C5320AFE2DF}" sibTransId="{6952FC3B-C4A1-4EB2-901A-BAD6942A2F69}"/>
    <dgm:cxn modelId="{9616C4C6-3101-4057-A395-B6F9389E2459}" type="presOf" srcId="{36A007A4-A089-4288-AB8E-6FA722BC5436}" destId="{2BD02D22-5C70-4F0F-BDE2-9CD34597483C}" srcOrd="0" destOrd="0" presId="urn:microsoft.com/office/officeart/2005/8/layout/vList5"/>
    <dgm:cxn modelId="{9E81181D-AC2C-4520-ACC6-089FA4355ACA}" type="presOf" srcId="{97EE631E-F8A9-4FF9-AB21-1FF030CDE5E1}" destId="{A53BF3D9-4809-4052-B1F7-762CE3611C30}" srcOrd="0" destOrd="0" presId="urn:microsoft.com/office/officeart/2005/8/layout/vList5"/>
    <dgm:cxn modelId="{1B290CAE-3A54-40F5-8C58-F92240118077}" type="presOf" srcId="{5DBB39CF-5C6A-4BF8-B796-B0BB624040FD}" destId="{411D23D0-3519-4A11-8CEC-5113A218898B}" srcOrd="0" destOrd="1" presId="urn:microsoft.com/office/officeart/2005/8/layout/vList5"/>
    <dgm:cxn modelId="{B6571CCF-425B-4C0D-9797-F7DF4E2A6D7E}" type="presOf" srcId="{ACC631A8-6AA8-4190-9C67-80250729E5A6}" destId="{365B3A70-271E-40C8-97C9-59D47220DE58}" srcOrd="0" destOrd="0" presId="urn:microsoft.com/office/officeart/2005/8/layout/vList5"/>
    <dgm:cxn modelId="{2865EFDD-1AD8-4156-8803-B5C0894A9A45}" type="presOf" srcId="{8041BBF2-2EC7-4945-B7F9-0F1A26E73080}" destId="{A103E28C-4A99-4D9E-8F0C-0346740231E4}" srcOrd="0" destOrd="0" presId="urn:microsoft.com/office/officeart/2005/8/layout/vList5"/>
    <dgm:cxn modelId="{496242ED-157D-42BC-A9A7-6BF3CBBAC550}" srcId="{ACC631A8-6AA8-4190-9C67-80250729E5A6}" destId="{636EBC0F-7DD6-482B-ADD8-09BD9E85C45C}" srcOrd="0" destOrd="0" parTransId="{654D7480-A18A-4A11-B7BA-35B6781B9468}" sibTransId="{E76BAA94-8098-4865-83E5-4FFCE6ECC24D}"/>
    <dgm:cxn modelId="{9D4F1269-CD9F-4C73-ADCC-4F7FF7FD55F7}" srcId="{97EE631E-F8A9-4FF9-AB21-1FF030CDE5E1}" destId="{36A007A4-A089-4288-AB8E-6FA722BC5436}" srcOrd="1" destOrd="0" parTransId="{0705BEF5-31F2-4FA3-8DA5-48FC05F140B7}" sibTransId="{8F665B0C-0A4D-4917-809C-A9D13A966407}"/>
    <dgm:cxn modelId="{68205B5C-0928-4F3A-8803-63BF0893656D}" type="presOf" srcId="{C34B891A-01A2-4916-8717-07BEA5AEC77A}" destId="{F50E2C76-C511-4036-AAB2-F0BC0DC04537}" srcOrd="0" destOrd="0" presId="urn:microsoft.com/office/officeart/2005/8/layout/vList5"/>
    <dgm:cxn modelId="{7B718A0F-0404-4FB3-A542-EEB33A05C2D5}" srcId="{ACC631A8-6AA8-4190-9C67-80250729E5A6}" destId="{5DBB39CF-5C6A-4BF8-B796-B0BB624040FD}" srcOrd="1" destOrd="0" parTransId="{7D9D4D4D-525E-4513-9523-8C8AC21D5851}" sibTransId="{60163D9F-5EB0-4886-B0ED-C13CF25541EC}"/>
    <dgm:cxn modelId="{85549A93-4EC8-4D3B-BCE1-A00C9377F32F}" type="presParOf" srcId="{A53BF3D9-4809-4052-B1F7-762CE3611C30}" destId="{82C319DD-6E6D-434E-9950-854FFCDF0A0F}" srcOrd="0" destOrd="0" presId="urn:microsoft.com/office/officeart/2005/8/layout/vList5"/>
    <dgm:cxn modelId="{9660A10F-3025-4076-B3ED-88E536CE25E4}" type="presParOf" srcId="{82C319DD-6E6D-434E-9950-854FFCDF0A0F}" destId="{A1F0791D-E345-478C-8F05-ACD963282546}" srcOrd="0" destOrd="0" presId="urn:microsoft.com/office/officeart/2005/8/layout/vList5"/>
    <dgm:cxn modelId="{0ACA127A-32BB-4589-B664-F4B41239CA20}" type="presParOf" srcId="{82C319DD-6E6D-434E-9950-854FFCDF0A0F}" destId="{581D6389-51F0-4C19-A8FC-80B65A0098FB}" srcOrd="1" destOrd="0" presId="urn:microsoft.com/office/officeart/2005/8/layout/vList5"/>
    <dgm:cxn modelId="{5B1821B7-AC99-4747-A385-9369C4318137}" type="presParOf" srcId="{A53BF3D9-4809-4052-B1F7-762CE3611C30}" destId="{A927CE39-5E49-4012-98A9-4CE172CB0B8D}" srcOrd="1" destOrd="0" presId="urn:microsoft.com/office/officeart/2005/8/layout/vList5"/>
    <dgm:cxn modelId="{1542171D-0FAA-4772-8CA7-A8C6C245C1CC}" type="presParOf" srcId="{A53BF3D9-4809-4052-B1F7-762CE3611C30}" destId="{488F6B59-C405-4B7A-8DAF-D1732E66A75D}" srcOrd="2" destOrd="0" presId="urn:microsoft.com/office/officeart/2005/8/layout/vList5"/>
    <dgm:cxn modelId="{5DFB9264-FD5F-4903-A9AB-1FDA1E5EDE19}" type="presParOf" srcId="{488F6B59-C405-4B7A-8DAF-D1732E66A75D}" destId="{2BD02D22-5C70-4F0F-BDE2-9CD34597483C}" srcOrd="0" destOrd="0" presId="urn:microsoft.com/office/officeart/2005/8/layout/vList5"/>
    <dgm:cxn modelId="{A7947270-20C0-4C59-A189-11828E3C9A47}" type="presParOf" srcId="{488F6B59-C405-4B7A-8DAF-D1732E66A75D}" destId="{A103E28C-4A99-4D9E-8F0C-0346740231E4}" srcOrd="1" destOrd="0" presId="urn:microsoft.com/office/officeart/2005/8/layout/vList5"/>
    <dgm:cxn modelId="{605E59E1-9286-469D-BC53-9B56C0832EE8}" type="presParOf" srcId="{A53BF3D9-4809-4052-B1F7-762CE3611C30}" destId="{670CAA98-6D26-4958-9198-37EF3B9FDBDD}" srcOrd="3" destOrd="0" presId="urn:microsoft.com/office/officeart/2005/8/layout/vList5"/>
    <dgm:cxn modelId="{CB4F1B4A-BF22-4939-8AC4-31A3FB69020A}" type="presParOf" srcId="{A53BF3D9-4809-4052-B1F7-762CE3611C30}" destId="{AA8489E1-A5DC-4F39-A70C-1FA3692F6409}" srcOrd="4" destOrd="0" presId="urn:microsoft.com/office/officeart/2005/8/layout/vList5"/>
    <dgm:cxn modelId="{79422FFF-A61A-4378-88E2-60ABF8E97A2F}" type="presParOf" srcId="{AA8489E1-A5DC-4F39-A70C-1FA3692F6409}" destId="{365B3A70-271E-40C8-97C9-59D47220DE58}" srcOrd="0" destOrd="0" presId="urn:microsoft.com/office/officeart/2005/8/layout/vList5"/>
    <dgm:cxn modelId="{8DDAB515-CCF7-4F42-B98F-23BF01FD2F8E}" type="presParOf" srcId="{AA8489E1-A5DC-4F39-A70C-1FA3692F6409}" destId="{411D23D0-3519-4A11-8CEC-5113A218898B}" srcOrd="1" destOrd="0" presId="urn:microsoft.com/office/officeart/2005/8/layout/vList5"/>
    <dgm:cxn modelId="{BEBD3189-03BA-4D7B-AEF1-DB314701097C}" type="presParOf" srcId="{A53BF3D9-4809-4052-B1F7-762CE3611C30}" destId="{A70C06B7-88A6-412F-AEBF-34F00675D6E3}" srcOrd="5" destOrd="0" presId="urn:microsoft.com/office/officeart/2005/8/layout/vList5"/>
    <dgm:cxn modelId="{D63EF33F-87ED-4778-AF85-9F67EAC631A9}" type="presParOf" srcId="{A53BF3D9-4809-4052-B1F7-762CE3611C30}" destId="{CECAADBA-3B94-4467-8AF1-2E951D5645E0}" srcOrd="6" destOrd="0" presId="urn:microsoft.com/office/officeart/2005/8/layout/vList5"/>
    <dgm:cxn modelId="{C6909895-4E5B-4989-9769-72982632A98D}" type="presParOf" srcId="{CECAADBA-3B94-4467-8AF1-2E951D5645E0}" destId="{21127FDD-0AB2-4A67-875D-DD2495E43273}" srcOrd="0" destOrd="0" presId="urn:microsoft.com/office/officeart/2005/8/layout/vList5"/>
    <dgm:cxn modelId="{F42F2AD4-666E-4A7F-AB34-269AB72EC45C}" type="presParOf" srcId="{CECAADBA-3B94-4467-8AF1-2E951D5645E0}" destId="{F50E2C76-C511-4036-AAB2-F0BC0DC0453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1D6389-51F0-4C19-A8FC-80B65A0098FB}">
      <dsp:nvSpPr>
        <dsp:cNvPr id="0" name=""/>
        <dsp:cNvSpPr/>
      </dsp:nvSpPr>
      <dsp:spPr>
        <a:xfrm rot="5400000">
          <a:off x="3513815" y="-1320728"/>
          <a:ext cx="848401" cy="3706368"/>
        </a:xfrm>
        <a:prstGeom prst="round2SameRect">
          <a:avLst/>
        </a:prstGeom>
        <a:solidFill>
          <a:schemeClr val="bg1">
            <a:lumMod val="7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id-ID" sz="1800" kern="1200" dirty="0" smtClean="0"/>
            <a:t>Waduk</a:t>
          </a:r>
          <a:endParaRPr lang="id-ID" sz="1800" kern="1200" dirty="0"/>
        </a:p>
        <a:p>
          <a:pPr marL="171450" lvl="1" indent="-171450" algn="l" defTabSz="800100">
            <a:lnSpc>
              <a:spcPct val="90000"/>
            </a:lnSpc>
            <a:spcBef>
              <a:spcPct val="0"/>
            </a:spcBef>
            <a:spcAft>
              <a:spcPct val="15000"/>
            </a:spcAft>
            <a:buChar char="••"/>
          </a:pPr>
          <a:r>
            <a:rPr lang="id-ID" sz="1800" kern="1200" dirty="0" smtClean="0"/>
            <a:t>Irigasi</a:t>
          </a:r>
          <a:endParaRPr lang="id-ID" sz="1800" kern="1200" dirty="0"/>
        </a:p>
      </dsp:txBody>
      <dsp:txXfrm rot="-5400000">
        <a:off x="2084832" y="149671"/>
        <a:ext cx="3664952" cy="765569"/>
      </dsp:txXfrm>
    </dsp:sp>
    <dsp:sp modelId="{A1F0791D-E345-478C-8F05-ACD963282546}">
      <dsp:nvSpPr>
        <dsp:cNvPr id="0" name=""/>
        <dsp:cNvSpPr/>
      </dsp:nvSpPr>
      <dsp:spPr>
        <a:xfrm>
          <a:off x="0" y="2204"/>
          <a:ext cx="2084832" cy="1060501"/>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id-ID" sz="1800" kern="1200" dirty="0" smtClean="0"/>
            <a:t>Infrastruktur Pertanian</a:t>
          </a:r>
          <a:endParaRPr lang="id-ID" sz="1800" kern="1200" dirty="0"/>
        </a:p>
      </dsp:txBody>
      <dsp:txXfrm>
        <a:off x="51769" y="53973"/>
        <a:ext cx="1981294" cy="956963"/>
      </dsp:txXfrm>
    </dsp:sp>
    <dsp:sp modelId="{A103E28C-4A99-4D9E-8F0C-0346740231E4}">
      <dsp:nvSpPr>
        <dsp:cNvPr id="0" name=""/>
        <dsp:cNvSpPr/>
      </dsp:nvSpPr>
      <dsp:spPr>
        <a:xfrm rot="5400000">
          <a:off x="3513815" y="-207201"/>
          <a:ext cx="848401" cy="3706368"/>
        </a:xfrm>
        <a:prstGeom prst="round2SameRect">
          <a:avLst/>
        </a:prstGeom>
        <a:solidFill>
          <a:schemeClr val="bg1">
            <a:lumMod val="7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id-ID" sz="1800" kern="1200" dirty="0" smtClean="0"/>
            <a:t>Listrik</a:t>
          </a:r>
          <a:endParaRPr lang="id-ID" sz="1800" kern="1200" dirty="0"/>
        </a:p>
      </dsp:txBody>
      <dsp:txXfrm rot="-5400000">
        <a:off x="2084832" y="1263198"/>
        <a:ext cx="3664952" cy="765569"/>
      </dsp:txXfrm>
    </dsp:sp>
    <dsp:sp modelId="{2BD02D22-5C70-4F0F-BDE2-9CD34597483C}">
      <dsp:nvSpPr>
        <dsp:cNvPr id="0" name=""/>
        <dsp:cNvSpPr/>
      </dsp:nvSpPr>
      <dsp:spPr>
        <a:xfrm>
          <a:off x="0" y="1115731"/>
          <a:ext cx="2084832" cy="1060501"/>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id-ID" sz="1800" kern="1200" dirty="0" smtClean="0"/>
            <a:t>Infrastruktur Energi</a:t>
          </a:r>
          <a:endParaRPr lang="id-ID" sz="1800" kern="1200" dirty="0"/>
        </a:p>
      </dsp:txBody>
      <dsp:txXfrm>
        <a:off x="51769" y="1167500"/>
        <a:ext cx="1981294" cy="956963"/>
      </dsp:txXfrm>
    </dsp:sp>
    <dsp:sp modelId="{411D23D0-3519-4A11-8CEC-5113A218898B}">
      <dsp:nvSpPr>
        <dsp:cNvPr id="0" name=""/>
        <dsp:cNvSpPr/>
      </dsp:nvSpPr>
      <dsp:spPr>
        <a:xfrm rot="5400000">
          <a:off x="3513815" y="906324"/>
          <a:ext cx="848401" cy="3706368"/>
        </a:xfrm>
        <a:prstGeom prst="round2SameRect">
          <a:avLst/>
        </a:prstGeom>
        <a:solidFill>
          <a:schemeClr val="bg1">
            <a:lumMod val="7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id-ID" sz="1800" kern="1200" dirty="0" smtClean="0"/>
            <a:t>Jalan</a:t>
          </a:r>
          <a:endParaRPr lang="id-ID" sz="1800" kern="1200" dirty="0"/>
        </a:p>
        <a:p>
          <a:pPr marL="171450" lvl="1" indent="-171450" algn="l" defTabSz="800100">
            <a:lnSpc>
              <a:spcPct val="90000"/>
            </a:lnSpc>
            <a:spcBef>
              <a:spcPct val="0"/>
            </a:spcBef>
            <a:spcAft>
              <a:spcPct val="15000"/>
            </a:spcAft>
            <a:buChar char="••"/>
          </a:pPr>
          <a:r>
            <a:rPr lang="id-ID" sz="1800" kern="1200" dirty="0" smtClean="0"/>
            <a:t>Kereta Api</a:t>
          </a:r>
          <a:endParaRPr lang="id-ID" sz="1800" kern="1200" dirty="0"/>
        </a:p>
        <a:p>
          <a:pPr marL="171450" lvl="1" indent="-171450" algn="l" defTabSz="800100">
            <a:lnSpc>
              <a:spcPct val="90000"/>
            </a:lnSpc>
            <a:spcBef>
              <a:spcPct val="0"/>
            </a:spcBef>
            <a:spcAft>
              <a:spcPct val="15000"/>
            </a:spcAft>
            <a:buChar char="••"/>
          </a:pPr>
          <a:r>
            <a:rPr lang="id-ID" sz="1800" kern="1200" dirty="0" smtClean="0"/>
            <a:t>Airport</a:t>
          </a:r>
          <a:endParaRPr lang="id-ID" sz="1800" kern="1200" dirty="0"/>
        </a:p>
      </dsp:txBody>
      <dsp:txXfrm rot="-5400000">
        <a:off x="2084832" y="2376723"/>
        <a:ext cx="3664952" cy="765569"/>
      </dsp:txXfrm>
    </dsp:sp>
    <dsp:sp modelId="{365B3A70-271E-40C8-97C9-59D47220DE58}">
      <dsp:nvSpPr>
        <dsp:cNvPr id="0" name=""/>
        <dsp:cNvSpPr/>
      </dsp:nvSpPr>
      <dsp:spPr>
        <a:xfrm>
          <a:off x="0" y="2229258"/>
          <a:ext cx="2084832" cy="1060501"/>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id-ID" sz="1800" kern="1200" dirty="0" smtClean="0"/>
            <a:t>Infrastuktur Logistik</a:t>
          </a:r>
          <a:endParaRPr lang="id-ID" sz="1800" kern="1200" dirty="0"/>
        </a:p>
      </dsp:txBody>
      <dsp:txXfrm>
        <a:off x="51769" y="2281027"/>
        <a:ext cx="1981294" cy="956963"/>
      </dsp:txXfrm>
    </dsp:sp>
    <dsp:sp modelId="{F50E2C76-C511-4036-AAB2-F0BC0DC04537}">
      <dsp:nvSpPr>
        <dsp:cNvPr id="0" name=""/>
        <dsp:cNvSpPr/>
      </dsp:nvSpPr>
      <dsp:spPr>
        <a:xfrm rot="5400000">
          <a:off x="3513815" y="2019851"/>
          <a:ext cx="848401" cy="3706368"/>
        </a:xfrm>
        <a:prstGeom prst="round2SameRect">
          <a:avLst/>
        </a:prstGeom>
        <a:solidFill>
          <a:schemeClr val="bg1">
            <a:lumMod val="7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id-ID" sz="1800" kern="1200" dirty="0" smtClean="0"/>
            <a:t>Perumahan</a:t>
          </a:r>
          <a:endParaRPr lang="id-ID" sz="1800" kern="1200" dirty="0"/>
        </a:p>
      </dsp:txBody>
      <dsp:txXfrm rot="-5400000">
        <a:off x="2084832" y="3490250"/>
        <a:ext cx="3664952" cy="765569"/>
      </dsp:txXfrm>
    </dsp:sp>
    <dsp:sp modelId="{21127FDD-0AB2-4A67-875D-DD2495E43273}">
      <dsp:nvSpPr>
        <dsp:cNvPr id="0" name=""/>
        <dsp:cNvSpPr/>
      </dsp:nvSpPr>
      <dsp:spPr>
        <a:xfrm>
          <a:off x="0" y="3342784"/>
          <a:ext cx="2084832" cy="1060501"/>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id-ID" sz="1800" kern="1200" dirty="0" smtClean="0"/>
            <a:t>Infrastruktur Pemukiman</a:t>
          </a:r>
          <a:endParaRPr lang="id-ID" sz="1800" kern="1200" dirty="0"/>
        </a:p>
      </dsp:txBody>
      <dsp:txXfrm>
        <a:off x="51769" y="3394553"/>
        <a:ext cx="1981294" cy="95696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drawing1.xml><?xml version="1.0" encoding="utf-8"?>
<c:userShapes xmlns:c="http://schemas.openxmlformats.org/drawingml/2006/chart">
  <cdr:relSizeAnchor xmlns:cdr="http://schemas.openxmlformats.org/drawingml/2006/chartDrawing">
    <cdr:from>
      <cdr:x>0.52149</cdr:x>
      <cdr:y>0.40788</cdr:y>
    </cdr:from>
    <cdr:to>
      <cdr:x>0.59632</cdr:x>
      <cdr:y>0.504</cdr:y>
    </cdr:to>
    <cdr:cxnSp macro="">
      <cdr:nvCxnSpPr>
        <cdr:cNvPr id="3" name="Straight Arrow Connector 2"/>
        <cdr:cNvCxnSpPr/>
      </cdr:nvCxnSpPr>
      <cdr:spPr>
        <a:xfrm xmlns:a="http://schemas.openxmlformats.org/drawingml/2006/main">
          <a:off x="2646743" y="1359977"/>
          <a:ext cx="379802" cy="320495"/>
        </a:xfrm>
        <a:prstGeom xmlns:a="http://schemas.openxmlformats.org/drawingml/2006/main" prst="straightConnector1">
          <a:avLst/>
        </a:prstGeom>
        <a:ln xmlns:a="http://schemas.openxmlformats.org/drawingml/2006/main" w="28575" cmpd="sng">
          <a:solidFill>
            <a:schemeClr val="tx1"/>
          </a:solidFill>
          <a:tailEnd type="arrow"/>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7277</cdr:x>
      <cdr:y>0.69199</cdr:y>
    </cdr:from>
    <cdr:to>
      <cdr:x>0.13708</cdr:x>
      <cdr:y>0.80604</cdr:y>
    </cdr:to>
    <cdr:sp macro="" textlink="">
      <cdr:nvSpPr>
        <cdr:cNvPr id="3" name="Down Arrow Callout 2"/>
        <cdr:cNvSpPr/>
      </cdr:nvSpPr>
      <cdr:spPr>
        <a:xfrm xmlns:a="http://schemas.openxmlformats.org/drawingml/2006/main" rot="16200000">
          <a:off x="683161" y="4069204"/>
          <a:ext cx="667100" cy="623227"/>
        </a:xfrm>
        <a:prstGeom xmlns:a="http://schemas.openxmlformats.org/drawingml/2006/main" prst="downArrowCallout">
          <a:avLst/>
        </a:prstGeom>
        <a:noFill xmlns:a="http://schemas.openxmlformats.org/drawingml/2006/main"/>
        <a:ln xmlns:a="http://schemas.openxmlformats.org/drawingml/2006/main">
          <a:solidFill>
            <a:srgbClr val="C00000"/>
          </a:solidFill>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vert" rtlCol="0" anchor="ctr"/>
        <a:lstStyle xmlns:a="http://schemas.openxmlformats.org/drawingml/2006/main"/>
        <a:p xmlns:a="http://schemas.openxmlformats.org/drawingml/2006/main">
          <a:r>
            <a:rPr lang="id-ID" sz="1000" dirty="0" smtClean="0">
              <a:solidFill>
                <a:schemeClr val="tx1"/>
              </a:solidFill>
            </a:rPr>
            <a:t>Krisis Asia 97/98</a:t>
          </a:r>
          <a:endParaRPr lang="id-ID" sz="1000" dirty="0">
            <a:solidFill>
              <a:schemeClr val="tx1"/>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79479</cdr:x>
      <cdr:y>0.25694</cdr:y>
    </cdr:from>
    <cdr:to>
      <cdr:x>0.93438</cdr:x>
      <cdr:y>0.36111</cdr:y>
    </cdr:to>
    <cdr:cxnSp macro="">
      <cdr:nvCxnSpPr>
        <cdr:cNvPr id="3" name="Straight Arrow Connector 2"/>
        <cdr:cNvCxnSpPr/>
      </cdr:nvCxnSpPr>
      <cdr:spPr>
        <a:xfrm xmlns:a="http://schemas.openxmlformats.org/drawingml/2006/main" flipV="1">
          <a:off x="3633788" y="704850"/>
          <a:ext cx="638175" cy="285750"/>
        </a:xfrm>
        <a:prstGeom xmlns:a="http://schemas.openxmlformats.org/drawingml/2006/main" prst="straightConnector1">
          <a:avLst/>
        </a:prstGeom>
        <a:ln xmlns:a="http://schemas.openxmlformats.org/drawingml/2006/main" w="25400">
          <a:solidFill>
            <a:schemeClr val="tx2"/>
          </a:solidFill>
          <a:prstDash val="sys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938</cdr:x>
      <cdr:y>0.01736</cdr:y>
    </cdr:from>
    <cdr:to>
      <cdr:x>0.24896</cdr:x>
      <cdr:y>0.09722</cdr:y>
    </cdr:to>
    <cdr:sp macro="" textlink="">
      <cdr:nvSpPr>
        <cdr:cNvPr id="5" name="TextBox 4"/>
        <cdr:cNvSpPr txBox="1"/>
      </cdr:nvSpPr>
      <cdr:spPr>
        <a:xfrm xmlns:a="http://schemas.openxmlformats.org/drawingml/2006/main">
          <a:off x="500064" y="47625"/>
          <a:ext cx="638174" cy="219075"/>
        </a:xfrm>
        <a:prstGeom xmlns:a="http://schemas.openxmlformats.org/drawingml/2006/main" prst="rect">
          <a:avLst/>
        </a:prstGeom>
        <a:gradFill xmlns:a="http://schemas.openxmlformats.org/drawingml/2006/main"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cdr:spPr>
      <cdr:txBody>
        <a:bodyPr xmlns:a="http://schemas.openxmlformats.org/drawingml/2006/main" vertOverflow="clip" wrap="square" rtlCol="0"/>
        <a:lstStyle xmlns:a="http://schemas.openxmlformats.org/drawingml/2006/main"/>
        <a:p xmlns:a="http://schemas.openxmlformats.org/drawingml/2006/main">
          <a:r>
            <a:rPr lang="en-US" sz="900" b="1">
              <a:solidFill>
                <a:schemeClr val="bg1"/>
              </a:solidFill>
            </a:rPr>
            <a:t>2012: 6,0</a:t>
          </a:r>
        </a:p>
      </cdr:txBody>
    </cdr:sp>
  </cdr:relSizeAnchor>
  <cdr:relSizeAnchor xmlns:cdr="http://schemas.openxmlformats.org/drawingml/2006/chartDrawing">
    <cdr:from>
      <cdr:x>0.34028</cdr:x>
      <cdr:y>0.14005</cdr:y>
    </cdr:from>
    <cdr:to>
      <cdr:x>0.47986</cdr:x>
      <cdr:y>0.21991</cdr:y>
    </cdr:to>
    <cdr:sp macro="" textlink="">
      <cdr:nvSpPr>
        <cdr:cNvPr id="7" name="TextBox 1"/>
        <cdr:cNvSpPr txBox="1"/>
      </cdr:nvSpPr>
      <cdr:spPr>
        <a:xfrm xmlns:a="http://schemas.openxmlformats.org/drawingml/2006/main">
          <a:off x="1555750" y="384175"/>
          <a:ext cx="638174" cy="219075"/>
        </a:xfrm>
        <a:prstGeom xmlns:a="http://schemas.openxmlformats.org/drawingml/2006/main" prst="rect">
          <a:avLst/>
        </a:prstGeom>
        <a:gradFill xmlns:a="http://schemas.openxmlformats.org/drawingml/2006/main"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a:solidFill>
                <a:schemeClr val="bg1"/>
              </a:solidFill>
            </a:rPr>
            <a:t>2013: 5,6</a:t>
          </a:r>
        </a:p>
      </cdr:txBody>
    </cdr:sp>
  </cdr:relSizeAnchor>
  <cdr:relSizeAnchor xmlns:cdr="http://schemas.openxmlformats.org/drawingml/2006/chartDrawing">
    <cdr:from>
      <cdr:x>0.57361</cdr:x>
      <cdr:y>0.27546</cdr:y>
    </cdr:from>
    <cdr:to>
      <cdr:x>0.71319</cdr:x>
      <cdr:y>0.35532</cdr:y>
    </cdr:to>
    <cdr:sp macro="" textlink="">
      <cdr:nvSpPr>
        <cdr:cNvPr id="8" name="TextBox 1"/>
        <cdr:cNvSpPr txBox="1"/>
      </cdr:nvSpPr>
      <cdr:spPr>
        <a:xfrm xmlns:a="http://schemas.openxmlformats.org/drawingml/2006/main">
          <a:off x="2622550" y="755650"/>
          <a:ext cx="638174" cy="219075"/>
        </a:xfrm>
        <a:prstGeom xmlns:a="http://schemas.openxmlformats.org/drawingml/2006/main" prst="rect">
          <a:avLst/>
        </a:prstGeom>
        <a:gradFill xmlns:a="http://schemas.openxmlformats.org/drawingml/2006/main"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a:solidFill>
                <a:schemeClr val="bg1"/>
              </a:solidFill>
            </a:rPr>
            <a:t>2014: 5,0</a:t>
          </a:r>
        </a:p>
      </cdr:txBody>
    </cdr:sp>
  </cdr:relSizeAnchor>
  <cdr:relSizeAnchor xmlns:cdr="http://schemas.openxmlformats.org/drawingml/2006/chartDrawing">
    <cdr:from>
      <cdr:x>0.76771</cdr:x>
      <cdr:y>0.13657</cdr:y>
    </cdr:from>
    <cdr:to>
      <cdr:x>0.96979</cdr:x>
      <cdr:y>0.22222</cdr:y>
    </cdr:to>
    <cdr:sp macro="" textlink="">
      <cdr:nvSpPr>
        <cdr:cNvPr id="9" name="TextBox 1"/>
        <cdr:cNvSpPr txBox="1"/>
      </cdr:nvSpPr>
      <cdr:spPr>
        <a:xfrm xmlns:a="http://schemas.openxmlformats.org/drawingml/2006/main">
          <a:off x="3509963" y="374650"/>
          <a:ext cx="923925" cy="234950"/>
        </a:xfrm>
        <a:prstGeom xmlns:a="http://schemas.openxmlformats.org/drawingml/2006/main" prst="rect">
          <a:avLst/>
        </a:prstGeom>
        <a:solidFill xmlns:a="http://schemas.openxmlformats.org/drawingml/2006/main">
          <a:schemeClr val="accent6">
            <a:lumMod val="75000"/>
          </a:schemeClr>
        </a:solidFill>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solidFill>
                <a:schemeClr val="bg1"/>
              </a:solidFill>
            </a:rPr>
            <a:t>2015*: </a:t>
          </a:r>
          <a:r>
            <a:rPr lang="en-US" sz="900" b="1" dirty="0" smtClean="0">
              <a:solidFill>
                <a:schemeClr val="bg1"/>
              </a:solidFill>
            </a:rPr>
            <a:t>4,9</a:t>
          </a:r>
          <a:endParaRPr lang="en-US" sz="900" b="1" dirty="0">
            <a:solidFill>
              <a:schemeClr val="bg1"/>
            </a:solidFill>
          </a:endParaRPr>
        </a:p>
      </cdr:txBody>
    </cdr:sp>
  </cdr:relSizeAnchor>
  <cdr:relSizeAnchor xmlns:cdr="http://schemas.openxmlformats.org/drawingml/2006/chartDrawing">
    <cdr:from>
      <cdr:x>0.74063</cdr:x>
      <cdr:y>0.02083</cdr:y>
    </cdr:from>
    <cdr:to>
      <cdr:x>0.98229</cdr:x>
      <cdr:y>0.97222</cdr:y>
    </cdr:to>
    <cdr:sp macro="" textlink="">
      <cdr:nvSpPr>
        <cdr:cNvPr id="11" name="Rectangle 10"/>
        <cdr:cNvSpPr/>
      </cdr:nvSpPr>
      <cdr:spPr>
        <a:xfrm xmlns:a="http://schemas.openxmlformats.org/drawingml/2006/main">
          <a:off x="3386138" y="57150"/>
          <a:ext cx="1104900" cy="2609850"/>
        </a:xfrm>
        <a:prstGeom xmlns:a="http://schemas.openxmlformats.org/drawingml/2006/main" prst="rect">
          <a:avLst/>
        </a:prstGeom>
        <a:noFill xmlns:a="http://schemas.openxmlformats.org/drawingml/2006/main"/>
        <a:ln xmlns:a="http://schemas.openxmlformats.org/drawingml/2006/main">
          <a:solidFill>
            <a:schemeClr val="accent6">
              <a:lumMod val="75000"/>
            </a:schemeClr>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drawings/drawing4.xml><?xml version="1.0" encoding="utf-8"?>
<c:userShapes xmlns:c="http://schemas.openxmlformats.org/drawingml/2006/chart">
  <cdr:relSizeAnchor xmlns:cdr="http://schemas.openxmlformats.org/drawingml/2006/chartDrawing">
    <cdr:from>
      <cdr:x>0</cdr:x>
      <cdr:y>0</cdr:y>
    </cdr:from>
    <cdr:to>
      <cdr:x>0.94091</cdr:x>
      <cdr:y>0.10404</cdr:y>
    </cdr:to>
    <cdr:sp macro="" textlink="">
      <cdr:nvSpPr>
        <cdr:cNvPr id="2" name="TextBox 13"/>
        <cdr:cNvSpPr txBox="1"/>
      </cdr:nvSpPr>
      <cdr:spPr>
        <a:xfrm xmlns:a="http://schemas.openxmlformats.org/drawingml/2006/main">
          <a:off x="0" y="0"/>
          <a:ext cx="8356549"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id-ID" sz="1100" b="1" dirty="0" smtClean="0"/>
            <a:t>Sovereign Credit Rating by S&amp;P</a:t>
          </a:r>
          <a:endParaRPr lang="en-US" sz="11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4759" cy="496491"/>
          </a:xfrm>
          <a:prstGeom prst="rect">
            <a:avLst/>
          </a:prstGeom>
        </p:spPr>
        <p:txBody>
          <a:bodyPr vert="horz" lIns="91356" tIns="45678" rIns="91356" bIns="4567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48157" y="1"/>
            <a:ext cx="2944759" cy="496491"/>
          </a:xfrm>
          <a:prstGeom prst="rect">
            <a:avLst/>
          </a:prstGeom>
        </p:spPr>
        <p:txBody>
          <a:bodyPr vert="horz" wrap="square" lIns="91356" tIns="45678" rIns="91356" bIns="45678" numCol="1" anchor="t" anchorCtr="0" compatLnSpc="1">
            <a:prstTxWarp prst="textNoShape">
              <a:avLst/>
            </a:prstTxWarp>
          </a:bodyPr>
          <a:lstStyle>
            <a:lvl1pPr algn="r">
              <a:defRPr sz="1200" smtClean="0">
                <a:cs typeface="Arial" pitchFamily="34" charset="0"/>
              </a:defRPr>
            </a:lvl1pPr>
          </a:lstStyle>
          <a:p>
            <a:pPr>
              <a:defRPr/>
            </a:pPr>
            <a:fld id="{C72F87A4-11B9-48FA-B744-DAEDD7A415BE}" type="datetimeFigureOut">
              <a:rPr lang="en-US" altLang="id-ID"/>
              <a:pPr>
                <a:defRPr/>
              </a:pPr>
              <a:t>10/21/2015</a:t>
            </a:fld>
            <a:endParaRPr lang="en-US" altLang="id-ID"/>
          </a:p>
        </p:txBody>
      </p:sp>
      <p:sp>
        <p:nvSpPr>
          <p:cNvPr id="4" name="Footer Placeholder 3"/>
          <p:cNvSpPr>
            <a:spLocks noGrp="1"/>
          </p:cNvSpPr>
          <p:nvPr>
            <p:ph type="ftr" sz="quarter" idx="2"/>
          </p:nvPr>
        </p:nvSpPr>
        <p:spPr>
          <a:xfrm>
            <a:off x="1" y="9433325"/>
            <a:ext cx="2944759" cy="496490"/>
          </a:xfrm>
          <a:prstGeom prst="rect">
            <a:avLst/>
          </a:prstGeom>
        </p:spPr>
        <p:txBody>
          <a:bodyPr vert="horz" lIns="91356" tIns="45678" rIns="91356" bIns="4567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48157" y="9433325"/>
            <a:ext cx="2944759" cy="496490"/>
          </a:xfrm>
          <a:prstGeom prst="rect">
            <a:avLst/>
          </a:prstGeom>
        </p:spPr>
        <p:txBody>
          <a:bodyPr vert="horz" wrap="square" lIns="91356" tIns="45678" rIns="91356" bIns="45678" numCol="1" anchor="b" anchorCtr="0" compatLnSpc="1">
            <a:prstTxWarp prst="textNoShape">
              <a:avLst/>
            </a:prstTxWarp>
          </a:bodyPr>
          <a:lstStyle>
            <a:lvl1pPr algn="r">
              <a:defRPr sz="1200" smtClean="0">
                <a:cs typeface="Arial" pitchFamily="34" charset="0"/>
              </a:defRPr>
            </a:lvl1pPr>
          </a:lstStyle>
          <a:p>
            <a:pPr>
              <a:defRPr/>
            </a:pPr>
            <a:fld id="{63B7E6EC-0D9D-4F1B-B253-4444E4859C35}" type="slidenum">
              <a:rPr lang="en-US" altLang="id-ID"/>
              <a:pPr>
                <a:defRPr/>
              </a:pPr>
              <a:t>‹#›</a:t>
            </a:fld>
            <a:endParaRPr lang="en-US" altLang="id-ID"/>
          </a:p>
        </p:txBody>
      </p:sp>
    </p:spTree>
    <p:extLst>
      <p:ext uri="{BB962C8B-B14F-4D97-AF65-F5344CB8AC3E}">
        <p14:creationId xmlns:p14="http://schemas.microsoft.com/office/powerpoint/2010/main" val="5728927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4759" cy="496491"/>
          </a:xfrm>
          <a:prstGeom prst="rect">
            <a:avLst/>
          </a:prstGeom>
        </p:spPr>
        <p:txBody>
          <a:bodyPr vert="horz" lIns="91356" tIns="45678" rIns="91356" bIns="4567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48157" y="1"/>
            <a:ext cx="2944759" cy="496491"/>
          </a:xfrm>
          <a:prstGeom prst="rect">
            <a:avLst/>
          </a:prstGeom>
        </p:spPr>
        <p:txBody>
          <a:bodyPr vert="horz" wrap="square" lIns="91356" tIns="45678" rIns="91356" bIns="45678" numCol="1" anchor="t" anchorCtr="0" compatLnSpc="1">
            <a:prstTxWarp prst="textNoShape">
              <a:avLst/>
            </a:prstTxWarp>
          </a:bodyPr>
          <a:lstStyle>
            <a:lvl1pPr algn="r">
              <a:defRPr sz="1200" smtClean="0">
                <a:cs typeface="Arial" pitchFamily="34" charset="0"/>
              </a:defRPr>
            </a:lvl1pPr>
          </a:lstStyle>
          <a:p>
            <a:pPr>
              <a:defRPr/>
            </a:pPr>
            <a:fld id="{14AFFD79-6AD5-4E06-A21A-23F3008161F4}" type="datetimeFigureOut">
              <a:rPr lang="en-US" altLang="id-ID"/>
              <a:pPr>
                <a:defRPr/>
              </a:pPr>
              <a:t>10/21/2015</a:t>
            </a:fld>
            <a:endParaRPr lang="en-US" altLang="id-ID"/>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356" tIns="45678" rIns="91356" bIns="45678" rtlCol="0" anchor="ctr"/>
          <a:lstStyle/>
          <a:p>
            <a:pPr lvl="0"/>
            <a:endParaRPr lang="en-US" noProof="0"/>
          </a:p>
        </p:txBody>
      </p:sp>
      <p:sp>
        <p:nvSpPr>
          <p:cNvPr id="5" name="Notes Placeholder 4"/>
          <p:cNvSpPr>
            <a:spLocks noGrp="1"/>
          </p:cNvSpPr>
          <p:nvPr>
            <p:ph type="body" sz="quarter" idx="3"/>
          </p:nvPr>
        </p:nvSpPr>
        <p:spPr>
          <a:xfrm>
            <a:off x="679927" y="4717455"/>
            <a:ext cx="5434648" cy="4468416"/>
          </a:xfrm>
          <a:prstGeom prst="rect">
            <a:avLst/>
          </a:prstGeom>
        </p:spPr>
        <p:txBody>
          <a:bodyPr vert="horz" lIns="91356" tIns="45678" rIns="91356" bIns="45678"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1" y="9433325"/>
            <a:ext cx="2944759" cy="496490"/>
          </a:xfrm>
          <a:prstGeom prst="rect">
            <a:avLst/>
          </a:prstGeom>
        </p:spPr>
        <p:txBody>
          <a:bodyPr vert="horz" lIns="91356" tIns="45678" rIns="91356" bIns="4567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48157" y="9433325"/>
            <a:ext cx="2944759" cy="496490"/>
          </a:xfrm>
          <a:prstGeom prst="rect">
            <a:avLst/>
          </a:prstGeom>
        </p:spPr>
        <p:txBody>
          <a:bodyPr vert="horz" wrap="square" lIns="91356" tIns="45678" rIns="91356" bIns="45678" numCol="1" anchor="b" anchorCtr="0" compatLnSpc="1">
            <a:prstTxWarp prst="textNoShape">
              <a:avLst/>
            </a:prstTxWarp>
          </a:bodyPr>
          <a:lstStyle>
            <a:lvl1pPr algn="r">
              <a:defRPr sz="1200" smtClean="0">
                <a:cs typeface="Arial" pitchFamily="34" charset="0"/>
              </a:defRPr>
            </a:lvl1pPr>
          </a:lstStyle>
          <a:p>
            <a:pPr>
              <a:defRPr/>
            </a:pPr>
            <a:fld id="{00629284-1E87-4D72-BD79-7E82CFF04A61}" type="slidenum">
              <a:rPr lang="en-US" altLang="id-ID"/>
              <a:pPr>
                <a:defRPr/>
              </a:pPr>
              <a:t>‹#›</a:t>
            </a:fld>
            <a:endParaRPr lang="en-US" altLang="id-ID"/>
          </a:p>
        </p:txBody>
      </p:sp>
    </p:spTree>
    <p:extLst>
      <p:ext uri="{BB962C8B-B14F-4D97-AF65-F5344CB8AC3E}">
        <p14:creationId xmlns:p14="http://schemas.microsoft.com/office/powerpoint/2010/main" val="421921511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d-ID" altLang="id-ID" dirty="0" smtClean="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8E60F22B-EC42-4636-AA68-19F37300370A}" type="slidenum">
              <a:rPr lang="en-US" altLang="id-ID"/>
              <a:pPr eaLnBrk="1" hangingPunct="1">
                <a:spcBef>
                  <a:spcPct val="0"/>
                </a:spcBef>
              </a:pPr>
              <a:t>2</a:t>
            </a:fld>
            <a:endParaRPr lang="en-US" altLang="id-ID"/>
          </a:p>
        </p:txBody>
      </p:sp>
    </p:spTree>
    <p:extLst>
      <p:ext uri="{BB962C8B-B14F-4D97-AF65-F5344CB8AC3E}">
        <p14:creationId xmlns:p14="http://schemas.microsoft.com/office/powerpoint/2010/main" val="2346345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9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dirty="0" smtClean="0"/>
          </a:p>
        </p:txBody>
      </p:sp>
      <p:sp>
        <p:nvSpPr>
          <p:cNvPr id="2099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037" indent="-285399" eaLnBrk="0" hangingPunct="0">
              <a:defRPr>
                <a:solidFill>
                  <a:schemeClr val="tx1"/>
                </a:solidFill>
                <a:latin typeface="Arial" pitchFamily="34" charset="0"/>
                <a:cs typeface="Arial" pitchFamily="34" charset="0"/>
              </a:defRPr>
            </a:lvl2pPr>
            <a:lvl3pPr marL="1141596" indent="-228320" eaLnBrk="0" hangingPunct="0">
              <a:defRPr>
                <a:solidFill>
                  <a:schemeClr val="tx1"/>
                </a:solidFill>
                <a:latin typeface="Arial" pitchFamily="34" charset="0"/>
                <a:cs typeface="Arial" pitchFamily="34" charset="0"/>
              </a:defRPr>
            </a:lvl3pPr>
            <a:lvl4pPr marL="1598235" indent="-228320" eaLnBrk="0" hangingPunct="0">
              <a:defRPr>
                <a:solidFill>
                  <a:schemeClr val="tx1"/>
                </a:solidFill>
                <a:latin typeface="Arial" pitchFamily="34" charset="0"/>
                <a:cs typeface="Arial" pitchFamily="34" charset="0"/>
              </a:defRPr>
            </a:lvl4pPr>
            <a:lvl5pPr marL="2054873" indent="-228320" eaLnBrk="0" hangingPunct="0">
              <a:defRPr>
                <a:solidFill>
                  <a:schemeClr val="tx1"/>
                </a:solidFill>
                <a:latin typeface="Arial" pitchFamily="34" charset="0"/>
                <a:cs typeface="Arial" pitchFamily="34" charset="0"/>
              </a:defRPr>
            </a:lvl5pPr>
            <a:lvl6pPr marL="2511513" indent="-228320" eaLnBrk="0" fontAlgn="base" hangingPunct="0">
              <a:spcBef>
                <a:spcPct val="0"/>
              </a:spcBef>
              <a:spcAft>
                <a:spcPct val="0"/>
              </a:spcAft>
              <a:defRPr>
                <a:solidFill>
                  <a:schemeClr val="tx1"/>
                </a:solidFill>
                <a:latin typeface="Arial" pitchFamily="34" charset="0"/>
                <a:cs typeface="Arial" pitchFamily="34" charset="0"/>
              </a:defRPr>
            </a:lvl6pPr>
            <a:lvl7pPr marL="2968151" indent="-228320" eaLnBrk="0" fontAlgn="base" hangingPunct="0">
              <a:spcBef>
                <a:spcPct val="0"/>
              </a:spcBef>
              <a:spcAft>
                <a:spcPct val="0"/>
              </a:spcAft>
              <a:defRPr>
                <a:solidFill>
                  <a:schemeClr val="tx1"/>
                </a:solidFill>
                <a:latin typeface="Arial" pitchFamily="34" charset="0"/>
                <a:cs typeface="Arial" pitchFamily="34" charset="0"/>
              </a:defRPr>
            </a:lvl7pPr>
            <a:lvl8pPr marL="3424789" indent="-228320" eaLnBrk="0" fontAlgn="base" hangingPunct="0">
              <a:spcBef>
                <a:spcPct val="0"/>
              </a:spcBef>
              <a:spcAft>
                <a:spcPct val="0"/>
              </a:spcAft>
              <a:defRPr>
                <a:solidFill>
                  <a:schemeClr val="tx1"/>
                </a:solidFill>
                <a:latin typeface="Arial" pitchFamily="34" charset="0"/>
                <a:cs typeface="Arial" pitchFamily="34" charset="0"/>
              </a:defRPr>
            </a:lvl8pPr>
            <a:lvl9pPr marL="3881428" indent="-22832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7494E9A8-2656-442E-A035-1970DFD61019}" type="slidenum">
              <a:rPr lang="id-ID" altLang="id-ID" smtClean="0"/>
              <a:pPr eaLnBrk="1" hangingPunct="1"/>
              <a:t>33</a:t>
            </a:fld>
            <a:endParaRPr lang="id-ID" altLang="id-ID" smtClean="0"/>
          </a:p>
        </p:txBody>
      </p:sp>
    </p:spTree>
    <p:extLst>
      <p:ext uri="{BB962C8B-B14F-4D97-AF65-F5344CB8AC3E}">
        <p14:creationId xmlns:p14="http://schemas.microsoft.com/office/powerpoint/2010/main" val="4145121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a:ln/>
        </p:spPr>
      </p:sp>
      <p:sp>
        <p:nvSpPr>
          <p:cNvPr id="48131" name="Rectangle 3"/>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25000" lnSpcReduction="20000"/>
          </a:bodyPr>
          <a:lstStyle/>
          <a:p>
            <a:pPr eaLnBrk="1" hangingPunct="1">
              <a:defRPr/>
            </a:pPr>
            <a:r>
              <a:rPr lang="en-US" dirty="0" smtClean="0"/>
              <a:t>Yield: </a:t>
            </a:r>
            <a:r>
              <a:rPr lang="fr-FR" dirty="0" smtClean="0"/>
              <a:t>\\10.242.47.3\Files\Dit_SUN\Public </a:t>
            </a:r>
            <a:r>
              <a:rPr lang="fr-FR" dirty="0" err="1" smtClean="0"/>
              <a:t>Dit_SUN</a:t>
            </a:r>
            <a:r>
              <a:rPr lang="fr-FR" dirty="0" smtClean="0"/>
              <a:t>\</a:t>
            </a:r>
            <a:r>
              <a:rPr lang="fr-FR" dirty="0" err="1" smtClean="0"/>
              <a:t>IRU\All</a:t>
            </a:r>
            <a:r>
              <a:rPr lang="fr-FR" dirty="0" smtClean="0"/>
              <a:t> update sources file\2014\IYC2013_BMSeries.xls</a:t>
            </a:r>
          </a:p>
          <a:p>
            <a:pPr eaLnBrk="1" hangingPunct="1">
              <a:defRPr/>
            </a:pPr>
            <a:r>
              <a:rPr lang="fr-FR" dirty="0" smtClean="0"/>
              <a:t>Source data: \\10.242.47.3\Files\Dit_SUN\Public </a:t>
            </a:r>
            <a:r>
              <a:rPr lang="fr-FR" dirty="0" err="1" smtClean="0"/>
              <a:t>Dit_SUN</a:t>
            </a:r>
            <a:r>
              <a:rPr lang="fr-FR" dirty="0" smtClean="0"/>
              <a:t>\</a:t>
            </a:r>
            <a:r>
              <a:rPr lang="fr-FR" dirty="0" err="1" smtClean="0"/>
              <a:t>Market</a:t>
            </a:r>
            <a:r>
              <a:rPr lang="fr-FR" dirty="0" smtClean="0"/>
              <a:t> Update-MK\</a:t>
            </a:r>
            <a:r>
              <a:rPr lang="fr-FR" dirty="0" err="1" smtClean="0"/>
              <a:t>Market</a:t>
            </a:r>
            <a:r>
              <a:rPr lang="fr-FR" dirty="0" smtClean="0"/>
              <a:t> Update 2014</a:t>
            </a:r>
          </a:p>
          <a:p>
            <a:pPr eaLnBrk="1" hangingPunct="1">
              <a:defRPr/>
            </a:pPr>
            <a:r>
              <a:rPr lang="fr-FR" dirty="0" smtClean="0"/>
              <a:t>Daily </a:t>
            </a:r>
            <a:r>
              <a:rPr lang="fr-FR" dirty="0" err="1" smtClean="0"/>
              <a:t>trading</a:t>
            </a:r>
            <a:r>
              <a:rPr lang="fr-FR" dirty="0" smtClean="0"/>
              <a:t>: </a:t>
            </a:r>
            <a:r>
              <a:rPr lang="fr-FR" dirty="0" err="1" smtClean="0"/>
              <a:t>tanya</a:t>
            </a:r>
            <a:r>
              <a:rPr lang="fr-FR" dirty="0" smtClean="0"/>
              <a:t> mas Yudo, </a:t>
            </a:r>
            <a:r>
              <a:rPr lang="fr-FR" dirty="0" err="1" smtClean="0"/>
              <a:t>lalu</a:t>
            </a:r>
            <a:r>
              <a:rPr lang="fr-FR" dirty="0" smtClean="0"/>
              <a:t> </a:t>
            </a:r>
            <a:r>
              <a:rPr lang="fr-FR" dirty="0" err="1" smtClean="0"/>
              <a:t>cek</a:t>
            </a:r>
            <a:r>
              <a:rPr lang="fr-FR" dirty="0" smtClean="0"/>
              <a:t>: \\10.242.47.3\Files\Dit_SUN\Public </a:t>
            </a:r>
            <a:r>
              <a:rPr lang="fr-FR" dirty="0" err="1" smtClean="0"/>
              <a:t>Dit_SUN</a:t>
            </a:r>
            <a:r>
              <a:rPr lang="fr-FR" dirty="0" smtClean="0"/>
              <a:t>\</a:t>
            </a:r>
            <a:r>
              <a:rPr lang="fr-FR" dirty="0" err="1" smtClean="0"/>
              <a:t>IRU\All</a:t>
            </a:r>
            <a:r>
              <a:rPr lang="fr-FR" dirty="0" smtClean="0"/>
              <a:t> update sources file\2014\Daily trading.xls</a:t>
            </a:r>
          </a:p>
          <a:p>
            <a:pPr eaLnBrk="1" hangingPunct="1">
              <a:defRPr/>
            </a:pPr>
            <a:endParaRPr lang="fr-FR" dirty="0" smtClean="0"/>
          </a:p>
          <a:p>
            <a:pPr eaLnBrk="1" hangingPunct="1">
              <a:defRPr/>
            </a:pPr>
            <a:r>
              <a:rPr lang="fr-FR" dirty="0" err="1" smtClean="0"/>
              <a:t>Bid</a:t>
            </a:r>
            <a:r>
              <a:rPr lang="fr-FR" dirty="0" smtClean="0"/>
              <a:t> </a:t>
            </a:r>
            <a:r>
              <a:rPr lang="fr-FR" dirty="0" err="1" smtClean="0"/>
              <a:t>Ask</a:t>
            </a:r>
            <a:r>
              <a:rPr lang="fr-FR" dirty="0" smtClean="0"/>
              <a:t> </a:t>
            </a:r>
            <a:r>
              <a:rPr lang="fr-FR" dirty="0" err="1" smtClean="0"/>
              <a:t>Spreadtanya</a:t>
            </a:r>
            <a:r>
              <a:rPr lang="fr-FR" dirty="0" smtClean="0"/>
              <a:t> </a:t>
            </a:r>
            <a:r>
              <a:rPr lang="fr-FR" dirty="0" err="1" smtClean="0"/>
              <a:t>Nita</a:t>
            </a:r>
            <a:r>
              <a:rPr lang="fr-FR" dirty="0" smtClean="0"/>
              <a:t>, </a:t>
            </a:r>
            <a:r>
              <a:rPr lang="fr-FR" dirty="0" err="1" smtClean="0"/>
              <a:t>lalu</a:t>
            </a:r>
            <a:r>
              <a:rPr lang="fr-FR" dirty="0" smtClean="0"/>
              <a:t> </a:t>
            </a:r>
            <a:r>
              <a:rPr lang="fr-FR" dirty="0" err="1" smtClean="0"/>
              <a:t>cek</a:t>
            </a:r>
            <a:r>
              <a:rPr lang="fr-FR" dirty="0" smtClean="0"/>
              <a:t>: \\10.242.47.3\Files\Dit_SUN\Public </a:t>
            </a:r>
            <a:r>
              <a:rPr lang="fr-FR" dirty="0" err="1" smtClean="0"/>
              <a:t>Dit_SUN</a:t>
            </a:r>
            <a:r>
              <a:rPr lang="fr-FR" dirty="0" smtClean="0"/>
              <a:t>\</a:t>
            </a:r>
            <a:r>
              <a:rPr lang="fr-FR" dirty="0" err="1" smtClean="0"/>
              <a:t>IRU\All</a:t>
            </a:r>
            <a:r>
              <a:rPr lang="fr-FR" dirty="0" smtClean="0"/>
              <a:t> update sources file\2014\10YYield </a:t>
            </a:r>
            <a:r>
              <a:rPr lang="fr-FR" dirty="0" err="1" smtClean="0"/>
              <a:t>Bid</a:t>
            </a:r>
            <a:r>
              <a:rPr lang="fr-FR" dirty="0" smtClean="0"/>
              <a:t>-</a:t>
            </a:r>
            <a:r>
              <a:rPr lang="fr-FR" dirty="0" err="1" smtClean="0"/>
              <a:t>Ask</a:t>
            </a:r>
            <a:r>
              <a:rPr lang="fr-FR" dirty="0" smtClean="0"/>
              <a:t> Spread_13012014.xls:</a:t>
            </a:r>
            <a:r>
              <a:rPr lang="it-IT" dirty="0"/>
              <a:t>buka di publik aja trus buka di bloomberg</a:t>
            </a:r>
          </a:p>
          <a:p>
            <a:pPr eaLnBrk="1" hangingPunct="1">
              <a:defRPr/>
            </a:pPr>
            <a:r>
              <a:rPr lang="it-IT" dirty="0"/>
              <a:t>nanti update sendiri</a:t>
            </a:r>
          </a:p>
          <a:p>
            <a:pPr eaLnBrk="1" hangingPunct="1">
              <a:defRPr/>
            </a:pPr>
            <a:endParaRPr lang="fr-FR" dirty="0" smtClean="0"/>
          </a:p>
          <a:p>
            <a:pPr eaLnBrk="1" hangingPunct="1">
              <a:defRPr/>
            </a:pPr>
            <a:endParaRPr lang="fr-FR" dirty="0" smtClean="0"/>
          </a:p>
          <a:p>
            <a:pPr eaLnBrk="1" hangingPunct="1">
              <a:defRPr/>
            </a:pPr>
            <a:r>
              <a:rPr lang="fr-FR" dirty="0" err="1" smtClean="0"/>
              <a:t>Turn</a:t>
            </a:r>
            <a:r>
              <a:rPr lang="fr-FR" dirty="0" smtClean="0"/>
              <a:t> Over: IKU AKPSUN (1 </a:t>
            </a:r>
            <a:r>
              <a:rPr lang="fr-FR" dirty="0" err="1" smtClean="0"/>
              <a:t>tahun</a:t>
            </a:r>
            <a:r>
              <a:rPr lang="fr-FR" dirty="0" smtClean="0"/>
              <a:t> </a:t>
            </a:r>
            <a:r>
              <a:rPr lang="fr-FR" dirty="0" err="1" smtClean="0"/>
              <a:t>sekali</a:t>
            </a:r>
            <a:r>
              <a:rPr lang="fr-FR" dirty="0" smtClean="0"/>
              <a:t>)</a:t>
            </a:r>
          </a:p>
          <a:p>
            <a:pPr eaLnBrk="1" hangingPunct="1">
              <a:defRPr/>
            </a:pPr>
            <a:endParaRPr lang="fr-FR" dirty="0" smtClean="0"/>
          </a:p>
          <a:p>
            <a:pPr eaLnBrk="1" hangingPunct="1">
              <a:defRPr/>
            </a:pPr>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25000" lnSpcReduction="20000"/>
          </a:bodyPr>
          <a:lstStyle/>
          <a:p>
            <a:pPr eaLnBrk="1" hangingPunct="1">
              <a:defRPr/>
            </a:pPr>
            <a:r>
              <a:rPr lang="en-US" dirty="0" smtClean="0"/>
              <a:t>Source File “Foreign Ownership”: </a:t>
            </a:r>
            <a:r>
              <a:rPr lang="fr-FR" dirty="0" smtClean="0"/>
              <a:t>\\10.242.47.3\Files\Dit_SUN\Public </a:t>
            </a:r>
            <a:r>
              <a:rPr lang="fr-FR" dirty="0" err="1" smtClean="0"/>
              <a:t>Dit_SUN</a:t>
            </a:r>
            <a:r>
              <a:rPr lang="fr-FR" dirty="0" smtClean="0"/>
              <a:t>\</a:t>
            </a:r>
            <a:r>
              <a:rPr lang="fr-FR" dirty="0" err="1" smtClean="0"/>
              <a:t>IRU\All</a:t>
            </a:r>
            <a:r>
              <a:rPr lang="fr-FR" dirty="0" smtClean="0"/>
              <a:t> update sources file\2014\Asing_perSektor_2013+total </a:t>
            </a:r>
            <a:r>
              <a:rPr lang="fr-FR" dirty="0" err="1" smtClean="0"/>
              <a:t>foreign</a:t>
            </a:r>
            <a:r>
              <a:rPr lang="fr-FR" dirty="0" smtClean="0"/>
              <a:t> ownership.xls</a:t>
            </a:r>
          </a:p>
          <a:p>
            <a:pPr eaLnBrk="1" hangingPunct="1">
              <a:defRPr/>
            </a:pPr>
            <a:r>
              <a:rPr lang="fr-FR" dirty="0" smtClean="0"/>
              <a:t>Source data </a:t>
            </a:r>
            <a:r>
              <a:rPr lang="fr-FR" dirty="0" err="1" smtClean="0"/>
              <a:t>asing</a:t>
            </a:r>
            <a:r>
              <a:rPr lang="fr-FR" dirty="0" smtClean="0"/>
              <a:t> </a:t>
            </a:r>
            <a:r>
              <a:rPr lang="fr-FR" dirty="0" err="1" smtClean="0"/>
              <a:t>sektor</a:t>
            </a:r>
            <a:r>
              <a:rPr lang="fr-FR" dirty="0" smtClean="0"/>
              <a:t>: \\10.242.47.3\Files\Dit_SUN\Public </a:t>
            </a:r>
            <a:r>
              <a:rPr lang="fr-FR" dirty="0" err="1" smtClean="0"/>
              <a:t>Dit_SUN</a:t>
            </a:r>
            <a:r>
              <a:rPr lang="fr-FR" dirty="0" smtClean="0"/>
              <a:t>\SBN NEW\KEPEMILIKAN SBN\Asing_perSektor_2013.xlsx</a:t>
            </a:r>
          </a:p>
          <a:p>
            <a:pPr eaLnBrk="1" hangingPunct="1">
              <a:defRPr/>
            </a:pPr>
            <a:r>
              <a:rPr lang="fr-FR" dirty="0" smtClean="0"/>
              <a:t>Source data </a:t>
            </a:r>
            <a:r>
              <a:rPr lang="fr-FR" dirty="0" err="1" smtClean="0"/>
              <a:t>persentase</a:t>
            </a:r>
            <a:r>
              <a:rPr lang="fr-FR" dirty="0" smtClean="0"/>
              <a:t> </a:t>
            </a:r>
            <a:r>
              <a:rPr lang="fr-FR" dirty="0" err="1" smtClean="0"/>
              <a:t>foreign</a:t>
            </a:r>
            <a:r>
              <a:rPr lang="fr-FR" dirty="0" smtClean="0"/>
              <a:t> </a:t>
            </a:r>
            <a:r>
              <a:rPr lang="fr-FR" dirty="0" err="1" smtClean="0"/>
              <a:t>ownership</a:t>
            </a:r>
            <a:r>
              <a:rPr lang="fr-FR" dirty="0" smtClean="0"/>
              <a:t>: </a:t>
            </a:r>
            <a:r>
              <a:rPr lang="en-US" dirty="0" smtClean="0"/>
              <a:t>\\10.242.47.3\Files\Dit_SUN\Public </a:t>
            </a:r>
            <a:r>
              <a:rPr lang="en-US" dirty="0" err="1" smtClean="0"/>
              <a:t>Dit_SUN</a:t>
            </a:r>
            <a:r>
              <a:rPr lang="en-US" dirty="0" smtClean="0"/>
              <a:t>\SBN NEW\KEPEMILIKAN SBN\</a:t>
            </a:r>
            <a:r>
              <a:rPr lang="en-US" dirty="0" err="1" smtClean="0"/>
              <a:t>KepemilikanSUN</a:t>
            </a:r>
            <a:r>
              <a:rPr lang="en-US" dirty="0" smtClean="0"/>
              <a:t>-new </a:t>
            </a:r>
            <a:r>
              <a:rPr lang="en-US" dirty="0" err="1" smtClean="0"/>
              <a:t>harian</a:t>
            </a:r>
            <a:r>
              <a:rPr lang="en-US" dirty="0" smtClean="0"/>
              <a:t> 2014.xlsx</a:t>
            </a:r>
          </a:p>
          <a:p>
            <a:pPr eaLnBrk="1" hangingPunct="1">
              <a:defRPr/>
            </a:pPr>
            <a:endParaRPr lang="en-US" dirty="0" smtClean="0"/>
          </a:p>
          <a:p>
            <a:pPr eaLnBrk="1" hangingPunct="1">
              <a:defRPr/>
            </a:pPr>
            <a:r>
              <a:rPr lang="en-US" dirty="0" smtClean="0"/>
              <a:t>Net buyer:</a:t>
            </a:r>
          </a:p>
          <a:p>
            <a:pPr eaLnBrk="1" hangingPunct="1">
              <a:defRPr/>
            </a:pPr>
            <a:r>
              <a:rPr lang="fr-FR" dirty="0" smtClean="0"/>
              <a:t>\\10.242.47.3\Files\Dit_SUN\Public </a:t>
            </a:r>
            <a:r>
              <a:rPr lang="fr-FR" dirty="0" err="1" smtClean="0"/>
              <a:t>Dit_SUN</a:t>
            </a:r>
            <a:r>
              <a:rPr lang="fr-FR" dirty="0" smtClean="0"/>
              <a:t>\</a:t>
            </a:r>
            <a:r>
              <a:rPr lang="fr-FR" dirty="0" err="1" smtClean="0"/>
              <a:t>IRU\All</a:t>
            </a:r>
            <a:r>
              <a:rPr lang="fr-FR" dirty="0" smtClean="0"/>
              <a:t> update sources file\2014\Net </a:t>
            </a:r>
            <a:r>
              <a:rPr lang="fr-FR" dirty="0" err="1" smtClean="0"/>
              <a:t>Buyer</a:t>
            </a:r>
            <a:r>
              <a:rPr lang="fr-FR" dirty="0" smtClean="0"/>
              <a:t> (Seller) Non </a:t>
            </a:r>
            <a:r>
              <a:rPr lang="fr-FR" dirty="0" err="1" smtClean="0"/>
              <a:t>Resident</a:t>
            </a:r>
            <a:r>
              <a:rPr lang="fr-FR" dirty="0" smtClean="0"/>
              <a:t> 2013_edit 9Jan.xlsx</a:t>
            </a:r>
          </a:p>
          <a:p>
            <a:pPr eaLnBrk="1" hangingPunct="1">
              <a:defRPr/>
            </a:pPr>
            <a:r>
              <a:rPr lang="fr-FR" dirty="0" smtClean="0"/>
              <a:t>Source data </a:t>
            </a:r>
            <a:r>
              <a:rPr lang="fr-FR" dirty="0" err="1" smtClean="0"/>
              <a:t>foreign</a:t>
            </a:r>
            <a:r>
              <a:rPr lang="fr-FR" dirty="0" smtClean="0"/>
              <a:t> </a:t>
            </a:r>
            <a:r>
              <a:rPr lang="fr-FR" dirty="0" err="1" smtClean="0"/>
              <a:t>ownership</a:t>
            </a:r>
            <a:r>
              <a:rPr lang="fr-FR" dirty="0" smtClean="0"/>
              <a:t>: </a:t>
            </a:r>
            <a:r>
              <a:rPr lang="en-US" dirty="0" smtClean="0"/>
              <a:t>\\10.242.47.3\Files\Dit_SUN\Public </a:t>
            </a:r>
            <a:r>
              <a:rPr lang="en-US" dirty="0" err="1" smtClean="0"/>
              <a:t>Dit_SUN</a:t>
            </a:r>
            <a:r>
              <a:rPr lang="en-US" dirty="0" smtClean="0"/>
              <a:t>\SBN NEW\KEPEMILIKAN SBN\</a:t>
            </a:r>
            <a:r>
              <a:rPr lang="en-US" dirty="0" err="1" smtClean="0"/>
              <a:t>KepemilikanSUN</a:t>
            </a:r>
            <a:r>
              <a:rPr lang="en-US" dirty="0" smtClean="0"/>
              <a:t>-new </a:t>
            </a:r>
            <a:r>
              <a:rPr lang="en-US" dirty="0" err="1" smtClean="0"/>
              <a:t>harian</a:t>
            </a:r>
            <a:r>
              <a:rPr lang="en-US" dirty="0" smtClean="0"/>
              <a:t> 2014.xlsx</a:t>
            </a:r>
          </a:p>
          <a:p>
            <a:pPr eaLnBrk="1" hangingPunct="1">
              <a:defRPr/>
            </a:pPr>
            <a:endParaRPr lang="fr-FR" dirty="0" smtClean="0"/>
          </a:p>
          <a:p>
            <a:pPr eaLnBrk="1" hangingPunct="1">
              <a:defRPr/>
            </a:pPr>
            <a:endParaRPr lang="en-US" dirty="0" smtClean="0"/>
          </a:p>
          <a:p>
            <a:pPr eaLnBrk="1" hangingPunct="1">
              <a:defRPr/>
            </a:pP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pPr>
              <a:defRPr/>
            </a:pPr>
            <a:fld id="{00629284-1E87-4D72-BD79-7E82CFF04A61}" type="slidenum">
              <a:rPr lang="en-US" altLang="id-ID" smtClean="0"/>
              <a:pPr>
                <a:defRPr/>
              </a:pPr>
              <a:t>40</a:t>
            </a:fld>
            <a:endParaRPr lang="en-US" altLang="id-ID"/>
          </a:p>
        </p:txBody>
      </p:sp>
    </p:spTree>
    <p:extLst>
      <p:ext uri="{BB962C8B-B14F-4D97-AF65-F5344CB8AC3E}">
        <p14:creationId xmlns:p14="http://schemas.microsoft.com/office/powerpoint/2010/main" val="2826186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8068" indent="-168068" defTabSz="902179">
              <a:buFontTx/>
              <a:buChar char="•"/>
            </a:pPr>
            <a:endParaRPr lang="id-ID" altLang="id-ID" smtClean="0"/>
          </a:p>
        </p:txBody>
      </p:sp>
      <p:sp>
        <p:nvSpPr>
          <p:cNvPr id="201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037" indent="-285399" eaLnBrk="0" hangingPunct="0">
              <a:defRPr>
                <a:solidFill>
                  <a:schemeClr val="tx1"/>
                </a:solidFill>
                <a:latin typeface="Arial" pitchFamily="34" charset="0"/>
                <a:cs typeface="Arial" pitchFamily="34" charset="0"/>
              </a:defRPr>
            </a:lvl2pPr>
            <a:lvl3pPr marL="1141596" indent="-228320" eaLnBrk="0" hangingPunct="0">
              <a:defRPr>
                <a:solidFill>
                  <a:schemeClr val="tx1"/>
                </a:solidFill>
                <a:latin typeface="Arial" pitchFamily="34" charset="0"/>
                <a:cs typeface="Arial" pitchFamily="34" charset="0"/>
              </a:defRPr>
            </a:lvl3pPr>
            <a:lvl4pPr marL="1598235" indent="-228320" eaLnBrk="0" hangingPunct="0">
              <a:defRPr>
                <a:solidFill>
                  <a:schemeClr val="tx1"/>
                </a:solidFill>
                <a:latin typeface="Arial" pitchFamily="34" charset="0"/>
                <a:cs typeface="Arial" pitchFamily="34" charset="0"/>
              </a:defRPr>
            </a:lvl4pPr>
            <a:lvl5pPr marL="2054873" indent="-228320" eaLnBrk="0" hangingPunct="0">
              <a:defRPr>
                <a:solidFill>
                  <a:schemeClr val="tx1"/>
                </a:solidFill>
                <a:latin typeface="Arial" pitchFamily="34" charset="0"/>
                <a:cs typeface="Arial" pitchFamily="34" charset="0"/>
              </a:defRPr>
            </a:lvl5pPr>
            <a:lvl6pPr marL="2511513" indent="-228320" eaLnBrk="0" fontAlgn="base" hangingPunct="0">
              <a:spcBef>
                <a:spcPct val="0"/>
              </a:spcBef>
              <a:spcAft>
                <a:spcPct val="0"/>
              </a:spcAft>
              <a:defRPr>
                <a:solidFill>
                  <a:schemeClr val="tx1"/>
                </a:solidFill>
                <a:latin typeface="Arial" pitchFamily="34" charset="0"/>
                <a:cs typeface="Arial" pitchFamily="34" charset="0"/>
              </a:defRPr>
            </a:lvl6pPr>
            <a:lvl7pPr marL="2968151" indent="-228320" eaLnBrk="0" fontAlgn="base" hangingPunct="0">
              <a:spcBef>
                <a:spcPct val="0"/>
              </a:spcBef>
              <a:spcAft>
                <a:spcPct val="0"/>
              </a:spcAft>
              <a:defRPr>
                <a:solidFill>
                  <a:schemeClr val="tx1"/>
                </a:solidFill>
                <a:latin typeface="Arial" pitchFamily="34" charset="0"/>
                <a:cs typeface="Arial" pitchFamily="34" charset="0"/>
              </a:defRPr>
            </a:lvl7pPr>
            <a:lvl8pPr marL="3424789" indent="-228320" eaLnBrk="0" fontAlgn="base" hangingPunct="0">
              <a:spcBef>
                <a:spcPct val="0"/>
              </a:spcBef>
              <a:spcAft>
                <a:spcPct val="0"/>
              </a:spcAft>
              <a:defRPr>
                <a:solidFill>
                  <a:schemeClr val="tx1"/>
                </a:solidFill>
                <a:latin typeface="Arial" pitchFamily="34" charset="0"/>
                <a:cs typeface="Arial" pitchFamily="34" charset="0"/>
              </a:defRPr>
            </a:lvl8pPr>
            <a:lvl9pPr marL="3881428" indent="-22832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04504B41-2FBE-4AD4-AD34-CBE1E0679BCB}" type="slidenum">
              <a:rPr lang="id-ID" altLang="id-ID" smtClean="0"/>
              <a:pPr eaLnBrk="1" hangingPunct="1"/>
              <a:t>42</a:t>
            </a:fld>
            <a:endParaRPr lang="id-ID" altLang="id-ID" smtClean="0"/>
          </a:p>
        </p:txBody>
      </p:sp>
    </p:spTree>
    <p:extLst>
      <p:ext uri="{BB962C8B-B14F-4D97-AF65-F5344CB8AC3E}">
        <p14:creationId xmlns:p14="http://schemas.microsoft.com/office/powerpoint/2010/main" val="139342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7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2570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037" indent="-285399" eaLnBrk="0" hangingPunct="0">
              <a:defRPr>
                <a:solidFill>
                  <a:schemeClr val="tx1"/>
                </a:solidFill>
                <a:latin typeface="Arial" pitchFamily="34" charset="0"/>
                <a:cs typeface="Arial" pitchFamily="34" charset="0"/>
              </a:defRPr>
            </a:lvl2pPr>
            <a:lvl3pPr marL="1141596" indent="-228320" eaLnBrk="0" hangingPunct="0">
              <a:defRPr>
                <a:solidFill>
                  <a:schemeClr val="tx1"/>
                </a:solidFill>
                <a:latin typeface="Arial" pitchFamily="34" charset="0"/>
                <a:cs typeface="Arial" pitchFamily="34" charset="0"/>
              </a:defRPr>
            </a:lvl3pPr>
            <a:lvl4pPr marL="1598235" indent="-228320" eaLnBrk="0" hangingPunct="0">
              <a:defRPr>
                <a:solidFill>
                  <a:schemeClr val="tx1"/>
                </a:solidFill>
                <a:latin typeface="Arial" pitchFamily="34" charset="0"/>
                <a:cs typeface="Arial" pitchFamily="34" charset="0"/>
              </a:defRPr>
            </a:lvl4pPr>
            <a:lvl5pPr marL="2054873" indent="-228320" eaLnBrk="0" hangingPunct="0">
              <a:defRPr>
                <a:solidFill>
                  <a:schemeClr val="tx1"/>
                </a:solidFill>
                <a:latin typeface="Arial" pitchFamily="34" charset="0"/>
                <a:cs typeface="Arial" pitchFamily="34" charset="0"/>
              </a:defRPr>
            </a:lvl5pPr>
            <a:lvl6pPr marL="2511513" indent="-228320" eaLnBrk="0" fontAlgn="base" hangingPunct="0">
              <a:spcBef>
                <a:spcPct val="0"/>
              </a:spcBef>
              <a:spcAft>
                <a:spcPct val="0"/>
              </a:spcAft>
              <a:defRPr>
                <a:solidFill>
                  <a:schemeClr val="tx1"/>
                </a:solidFill>
                <a:latin typeface="Arial" pitchFamily="34" charset="0"/>
                <a:cs typeface="Arial" pitchFamily="34" charset="0"/>
              </a:defRPr>
            </a:lvl6pPr>
            <a:lvl7pPr marL="2968151" indent="-228320" eaLnBrk="0" fontAlgn="base" hangingPunct="0">
              <a:spcBef>
                <a:spcPct val="0"/>
              </a:spcBef>
              <a:spcAft>
                <a:spcPct val="0"/>
              </a:spcAft>
              <a:defRPr>
                <a:solidFill>
                  <a:schemeClr val="tx1"/>
                </a:solidFill>
                <a:latin typeface="Arial" pitchFamily="34" charset="0"/>
                <a:cs typeface="Arial" pitchFamily="34" charset="0"/>
              </a:defRPr>
            </a:lvl7pPr>
            <a:lvl8pPr marL="3424789" indent="-228320" eaLnBrk="0" fontAlgn="base" hangingPunct="0">
              <a:spcBef>
                <a:spcPct val="0"/>
              </a:spcBef>
              <a:spcAft>
                <a:spcPct val="0"/>
              </a:spcAft>
              <a:defRPr>
                <a:solidFill>
                  <a:schemeClr val="tx1"/>
                </a:solidFill>
                <a:latin typeface="Arial" pitchFamily="34" charset="0"/>
                <a:cs typeface="Arial" pitchFamily="34" charset="0"/>
              </a:defRPr>
            </a:lvl8pPr>
            <a:lvl9pPr marL="3881428" indent="-22832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848F7B7F-F578-42EF-B4BF-978FC608F1DD}" type="slidenum">
              <a:rPr lang="en-US" altLang="id-ID" smtClean="0"/>
              <a:pPr eaLnBrk="1" hangingPunct="1"/>
              <a:t>43</a:t>
            </a:fld>
            <a:endParaRPr lang="en-US" altLang="id-ID" smtClean="0"/>
          </a:p>
        </p:txBody>
      </p:sp>
    </p:spTree>
    <p:extLst>
      <p:ext uri="{BB962C8B-B14F-4D97-AF65-F5344CB8AC3E}">
        <p14:creationId xmlns:p14="http://schemas.microsoft.com/office/powerpoint/2010/main" val="16782754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d-ID" altLang="id-ID" smtClean="0"/>
          </a:p>
        </p:txBody>
      </p:sp>
      <p:sp>
        <p:nvSpPr>
          <p:cNvPr id="262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037" indent="-285399" eaLnBrk="0" hangingPunct="0">
              <a:defRPr>
                <a:solidFill>
                  <a:schemeClr val="tx1"/>
                </a:solidFill>
                <a:latin typeface="Arial" pitchFamily="34" charset="0"/>
                <a:cs typeface="Arial" pitchFamily="34" charset="0"/>
              </a:defRPr>
            </a:lvl2pPr>
            <a:lvl3pPr marL="1141596" indent="-228320" eaLnBrk="0" hangingPunct="0">
              <a:defRPr>
                <a:solidFill>
                  <a:schemeClr val="tx1"/>
                </a:solidFill>
                <a:latin typeface="Arial" pitchFamily="34" charset="0"/>
                <a:cs typeface="Arial" pitchFamily="34" charset="0"/>
              </a:defRPr>
            </a:lvl3pPr>
            <a:lvl4pPr marL="1598235" indent="-228320" eaLnBrk="0" hangingPunct="0">
              <a:defRPr>
                <a:solidFill>
                  <a:schemeClr val="tx1"/>
                </a:solidFill>
                <a:latin typeface="Arial" pitchFamily="34" charset="0"/>
                <a:cs typeface="Arial" pitchFamily="34" charset="0"/>
              </a:defRPr>
            </a:lvl4pPr>
            <a:lvl5pPr marL="2054873" indent="-228320" eaLnBrk="0" hangingPunct="0">
              <a:defRPr>
                <a:solidFill>
                  <a:schemeClr val="tx1"/>
                </a:solidFill>
                <a:latin typeface="Arial" pitchFamily="34" charset="0"/>
                <a:cs typeface="Arial" pitchFamily="34" charset="0"/>
              </a:defRPr>
            </a:lvl5pPr>
            <a:lvl6pPr marL="2511513" indent="-228320" eaLnBrk="0" fontAlgn="base" hangingPunct="0">
              <a:spcBef>
                <a:spcPct val="0"/>
              </a:spcBef>
              <a:spcAft>
                <a:spcPct val="0"/>
              </a:spcAft>
              <a:defRPr>
                <a:solidFill>
                  <a:schemeClr val="tx1"/>
                </a:solidFill>
                <a:latin typeface="Arial" pitchFamily="34" charset="0"/>
                <a:cs typeface="Arial" pitchFamily="34" charset="0"/>
              </a:defRPr>
            </a:lvl6pPr>
            <a:lvl7pPr marL="2968151" indent="-228320" eaLnBrk="0" fontAlgn="base" hangingPunct="0">
              <a:spcBef>
                <a:spcPct val="0"/>
              </a:spcBef>
              <a:spcAft>
                <a:spcPct val="0"/>
              </a:spcAft>
              <a:defRPr>
                <a:solidFill>
                  <a:schemeClr val="tx1"/>
                </a:solidFill>
                <a:latin typeface="Arial" pitchFamily="34" charset="0"/>
                <a:cs typeface="Arial" pitchFamily="34" charset="0"/>
              </a:defRPr>
            </a:lvl7pPr>
            <a:lvl8pPr marL="3424789" indent="-228320" eaLnBrk="0" fontAlgn="base" hangingPunct="0">
              <a:spcBef>
                <a:spcPct val="0"/>
              </a:spcBef>
              <a:spcAft>
                <a:spcPct val="0"/>
              </a:spcAft>
              <a:defRPr>
                <a:solidFill>
                  <a:schemeClr val="tx1"/>
                </a:solidFill>
                <a:latin typeface="Arial" pitchFamily="34" charset="0"/>
                <a:cs typeface="Arial" pitchFamily="34" charset="0"/>
              </a:defRPr>
            </a:lvl8pPr>
            <a:lvl9pPr marL="3881428" indent="-22832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11C0A878-55AF-4D6D-8B8A-8965D61EDAB9}" type="slidenum">
              <a:rPr lang="en-US" altLang="id-ID" smtClean="0"/>
              <a:pPr eaLnBrk="1" hangingPunct="1"/>
              <a:t>44</a:t>
            </a:fld>
            <a:endParaRPr lang="en-US" altLang="id-ID" smtClean="0"/>
          </a:p>
        </p:txBody>
      </p:sp>
    </p:spTree>
    <p:extLst>
      <p:ext uri="{BB962C8B-B14F-4D97-AF65-F5344CB8AC3E}">
        <p14:creationId xmlns:p14="http://schemas.microsoft.com/office/powerpoint/2010/main" val="420668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5988" y="746125"/>
            <a:ext cx="4962525" cy="3722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E63E2EF-DD69-6F4F-9CAC-429A3D81C4E7}" type="slidenum">
              <a:rPr lang="en-US" smtClean="0">
                <a:solidFill>
                  <a:prstClr val="black"/>
                </a:solidFill>
                <a:latin typeface="Calibri"/>
              </a:rPr>
              <a:pPr>
                <a:defRPr/>
              </a:pPr>
              <a:t>45</a:t>
            </a:fld>
            <a:endParaRPr lang="en-US">
              <a:solidFill>
                <a:prstClr val="black"/>
              </a:solidFill>
              <a:latin typeface="Calibri"/>
            </a:endParaRPr>
          </a:p>
        </p:txBody>
      </p:sp>
    </p:spTree>
    <p:extLst>
      <p:ext uri="{BB962C8B-B14F-4D97-AF65-F5344CB8AC3E}">
        <p14:creationId xmlns:p14="http://schemas.microsoft.com/office/powerpoint/2010/main" val="35331643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d-ID" altLang="id-ID" smtClean="0"/>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EC17C16E-C046-4B5A-9CDD-F5CC49FE5A3D}" type="slidenum">
              <a:rPr lang="en-US" altLang="id-ID"/>
              <a:pPr eaLnBrk="1" hangingPunct="1">
                <a:spcBef>
                  <a:spcPct val="0"/>
                </a:spcBef>
              </a:pPr>
              <a:t>51</a:t>
            </a:fld>
            <a:endParaRPr lang="en-US" altLang="id-ID"/>
          </a:p>
        </p:txBody>
      </p:sp>
    </p:spTree>
    <p:extLst>
      <p:ext uri="{BB962C8B-B14F-4D97-AF65-F5344CB8AC3E}">
        <p14:creationId xmlns:p14="http://schemas.microsoft.com/office/powerpoint/2010/main" val="429861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d-ID" altLang="id-ID" smtClean="0"/>
          </a:p>
        </p:txBody>
      </p:sp>
      <p:sp>
        <p:nvSpPr>
          <p:cNvPr id="1157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3B03F555-9317-455D-9077-2A980C7E1410}" type="slidenum">
              <a:rPr lang="en-US" altLang="id-ID"/>
              <a:pPr eaLnBrk="1" hangingPunct="1">
                <a:spcBef>
                  <a:spcPct val="0"/>
                </a:spcBef>
              </a:pPr>
              <a:t>3</a:t>
            </a:fld>
            <a:endParaRPr lang="en-US" altLang="id-ID"/>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141413" y="685800"/>
            <a:ext cx="4572000" cy="3430588"/>
          </a:xfrm>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id-ID" smtClean="0">
              <a:ea typeface="ＭＳ Ｐゴシック" pitchFamily="34" charset="-128"/>
            </a:endParaRPr>
          </a:p>
        </p:txBody>
      </p:sp>
      <p:sp>
        <p:nvSpPr>
          <p:cNvPr id="38916" name="Slide Number Placeholder 3"/>
          <p:cNvSpPr>
            <a:spLocks noGrp="1"/>
          </p:cNvSpPr>
          <p:nvPr>
            <p:ph type="sldNum" sz="quarter" idx="5"/>
          </p:nvPr>
        </p:nvSpPr>
        <p:spPr bwMode="auto">
          <a:noFill/>
          <a:ln>
            <a:miter lim="800000"/>
            <a:headEnd/>
            <a:tailEnd/>
          </a:ln>
        </p:spPr>
        <p:txBody>
          <a:bodyPr/>
          <a:lstStyle/>
          <a:p>
            <a:fld id="{735A8ACF-D055-4A97-AE3F-F2C4C2CBE5FC}" type="slidenum">
              <a:rPr lang="id-ID"/>
              <a:pPr/>
              <a:t>5</a:t>
            </a:fld>
            <a:endParaRPr lang="id-ID"/>
          </a:p>
        </p:txBody>
      </p:sp>
    </p:spTree>
    <p:extLst>
      <p:ext uri="{BB962C8B-B14F-4D97-AF65-F5344CB8AC3E}">
        <p14:creationId xmlns:p14="http://schemas.microsoft.com/office/powerpoint/2010/main" val="2397566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F8C2A33F-0758-4DB9-A5AD-15AD82932818}" type="slidenum">
              <a:rPr lang="en-US"/>
              <a:pPr/>
              <a:t>12</a:t>
            </a:fld>
            <a:endParaRPr lang="en-US"/>
          </a:p>
        </p:txBody>
      </p:sp>
      <p:sp>
        <p:nvSpPr>
          <p:cNvPr id="2154498" name="Rectangle 2"/>
          <p:cNvSpPr>
            <a:spLocks noGrp="1" noRot="1" noChangeAspect="1" noChangeArrowheads="1" noTextEdit="1"/>
          </p:cNvSpPr>
          <p:nvPr>
            <p:ph type="sldImg"/>
          </p:nvPr>
        </p:nvSpPr>
        <p:spPr>
          <a:xfrm>
            <a:off x="915988" y="746125"/>
            <a:ext cx="4964112" cy="3722688"/>
          </a:xfrm>
          <a:ln/>
        </p:spPr>
      </p:sp>
      <p:sp>
        <p:nvSpPr>
          <p:cNvPr id="2154499" name="Rectangle 3"/>
          <p:cNvSpPr>
            <a:spLocks noGrp="1" noChangeArrowheads="1"/>
          </p:cNvSpPr>
          <p:nvPr>
            <p:ph type="body" idx="1"/>
          </p:nvPr>
        </p:nvSpPr>
        <p:spPr>
          <a:xfrm>
            <a:off x="550694" y="5339247"/>
            <a:ext cx="5791799" cy="263040"/>
          </a:xfrm>
        </p:spPr>
        <p:txBody>
          <a:bodyPr>
            <a:normAutofit lnSpcReduction="10000"/>
          </a:bodyPr>
          <a:lstStyle/>
          <a:p>
            <a:endParaRPr lang="en-GB"/>
          </a:p>
        </p:txBody>
      </p:sp>
    </p:spTree>
    <p:extLst>
      <p:ext uri="{BB962C8B-B14F-4D97-AF65-F5344CB8AC3E}">
        <p14:creationId xmlns:p14="http://schemas.microsoft.com/office/powerpoint/2010/main" val="269930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6"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244" indent="-171244" eaLnBrk="1" hangingPunct="1">
              <a:spcBef>
                <a:spcPct val="0"/>
              </a:spcBef>
              <a:buFont typeface="Arial" panose="020B0604020202020204" pitchFamily="34" charset="0"/>
              <a:buChar char="•"/>
              <a:defRPr/>
            </a:pPr>
            <a:r>
              <a:rPr lang="id-ID" dirty="0"/>
              <a:t>S</a:t>
            </a:r>
            <a:r>
              <a:rPr lang="en-US" dirty="0" err="1"/>
              <a:t>ecara</a:t>
            </a:r>
            <a:r>
              <a:rPr lang="en-US" dirty="0"/>
              <a:t> </a:t>
            </a:r>
            <a:r>
              <a:rPr lang="en-US" i="1" dirty="0"/>
              <a:t>point-to-point</a:t>
            </a:r>
            <a:r>
              <a:rPr lang="en-US" dirty="0"/>
              <a:t> (</a:t>
            </a:r>
            <a:r>
              <a:rPr lang="en-US" dirty="0" err="1"/>
              <a:t>ptp</a:t>
            </a:r>
            <a:r>
              <a:rPr lang="en-US" dirty="0"/>
              <a:t>) rupiah </a:t>
            </a:r>
            <a:r>
              <a:rPr lang="en-US" dirty="0" err="1"/>
              <a:t>terdepresiasi</a:t>
            </a:r>
            <a:r>
              <a:rPr lang="en-US" dirty="0"/>
              <a:t> </a:t>
            </a:r>
            <a:r>
              <a:rPr lang="en-US" dirty="0" err="1"/>
              <a:t>sebesar</a:t>
            </a:r>
            <a:r>
              <a:rPr lang="en-US" dirty="0"/>
              <a:t> 3,72% </a:t>
            </a:r>
            <a:r>
              <a:rPr lang="en-US" dirty="0" err="1"/>
              <a:t>dan</a:t>
            </a:r>
            <a:r>
              <a:rPr lang="en-US" dirty="0"/>
              <a:t> </a:t>
            </a:r>
            <a:r>
              <a:rPr lang="en-US" dirty="0" err="1"/>
              <a:t>ditutup</a:t>
            </a:r>
            <a:r>
              <a:rPr lang="en-US" dirty="0"/>
              <a:t> di level Rp14.050 per </a:t>
            </a:r>
            <a:r>
              <a:rPr lang="en-US" dirty="0" err="1"/>
              <a:t>dolar</a:t>
            </a:r>
            <a:r>
              <a:rPr lang="en-US" dirty="0"/>
              <a:t> AS</a:t>
            </a:r>
            <a:r>
              <a:rPr lang="id-ID" dirty="0"/>
              <a:t>.</a:t>
            </a:r>
            <a:endParaRPr lang="en-US" altLang="id-ID" dirty="0" smtClean="0"/>
          </a:p>
        </p:txBody>
      </p:sp>
      <p:sp>
        <p:nvSpPr>
          <p:cNvPr id="1249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B0DB17CC-47D9-4BEB-9FE2-9BC6A354F3F3}" type="slidenum">
              <a:rPr lang="en-US" altLang="id-ID"/>
              <a:pPr eaLnBrk="1" hangingPunct="1">
                <a:spcBef>
                  <a:spcPct val="0"/>
                </a:spcBef>
              </a:pPr>
              <a:t>21</a:t>
            </a:fld>
            <a:endParaRPr lang="en-US" altLang="id-ID"/>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6"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244" indent="-171244" eaLnBrk="1" hangingPunct="1">
              <a:spcBef>
                <a:spcPct val="0"/>
              </a:spcBef>
              <a:buFont typeface="Arial" panose="020B0604020202020204" pitchFamily="34" charset="0"/>
              <a:buChar char="•"/>
              <a:defRPr/>
            </a:pPr>
            <a:endParaRPr lang="en-US" altLang="id-ID" dirty="0" smtClean="0"/>
          </a:p>
        </p:txBody>
      </p:sp>
      <p:sp>
        <p:nvSpPr>
          <p:cNvPr id="1249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B0DB17CC-47D9-4BEB-9FE2-9BC6A354F3F3}" type="slidenum">
              <a:rPr lang="en-US" altLang="id-ID">
                <a:solidFill>
                  <a:prstClr val="black"/>
                </a:solidFill>
              </a:rPr>
              <a:pPr eaLnBrk="1" hangingPunct="1">
                <a:spcBef>
                  <a:spcPct val="0"/>
                </a:spcBef>
              </a:pPr>
              <a:t>22</a:t>
            </a:fld>
            <a:endParaRPr lang="en-US" altLang="id-ID">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d-ID" altLang="id-ID" smtClean="0"/>
          </a:p>
        </p:txBody>
      </p:sp>
      <p:sp>
        <p:nvSpPr>
          <p:cNvPr id="1157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3B03F555-9317-455D-9077-2A980C7E1410}" type="slidenum">
              <a:rPr lang="en-US" altLang="id-ID"/>
              <a:pPr eaLnBrk="1" hangingPunct="1">
                <a:spcBef>
                  <a:spcPct val="0"/>
                </a:spcBef>
              </a:pPr>
              <a:t>26</a:t>
            </a:fld>
            <a:endParaRPr lang="en-US" altLang="id-ID"/>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1E387A-C15C-4A20-A324-DF9A7A9C5628}" type="slidenum">
              <a:rPr lang="en-US">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089076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endParaRPr lang="en-US" dirty="0">
              <a:ea typeface="ＭＳ Ｐゴシック" charset="0"/>
            </a:endParaRPr>
          </a:p>
        </p:txBody>
      </p:sp>
      <p:sp>
        <p:nvSpPr>
          <p:cNvPr id="1259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058" indent="-285407" eaLnBrk="0" hangingPunct="0">
              <a:spcBef>
                <a:spcPct val="30000"/>
              </a:spcBef>
              <a:defRPr sz="1200">
                <a:solidFill>
                  <a:schemeClr val="tx1"/>
                </a:solidFill>
                <a:latin typeface="Calibri" pitchFamily="34" charset="0"/>
                <a:ea typeface="MS PGothic" pitchFamily="34" charset="-128"/>
              </a:defRPr>
            </a:lvl2pPr>
            <a:lvl3pPr marL="1141628" indent="-228326" eaLnBrk="0" hangingPunct="0">
              <a:spcBef>
                <a:spcPct val="30000"/>
              </a:spcBef>
              <a:defRPr sz="1200">
                <a:solidFill>
                  <a:schemeClr val="tx1"/>
                </a:solidFill>
                <a:latin typeface="Calibri" pitchFamily="34" charset="0"/>
                <a:ea typeface="MS PGothic" pitchFamily="34" charset="-128"/>
              </a:defRPr>
            </a:lvl3pPr>
            <a:lvl4pPr marL="1598280" indent="-228326" eaLnBrk="0" hangingPunct="0">
              <a:spcBef>
                <a:spcPct val="30000"/>
              </a:spcBef>
              <a:defRPr sz="1200">
                <a:solidFill>
                  <a:schemeClr val="tx1"/>
                </a:solidFill>
                <a:latin typeface="Calibri" pitchFamily="34" charset="0"/>
                <a:ea typeface="MS PGothic" pitchFamily="34" charset="-128"/>
              </a:defRPr>
            </a:lvl4pPr>
            <a:lvl5pPr marL="2054931" indent="-228326" eaLnBrk="0" hangingPunct="0">
              <a:spcBef>
                <a:spcPct val="30000"/>
              </a:spcBef>
              <a:defRPr sz="1200">
                <a:solidFill>
                  <a:schemeClr val="tx1"/>
                </a:solidFill>
                <a:latin typeface="Calibri" pitchFamily="34" charset="0"/>
                <a:ea typeface="MS PGothic" pitchFamily="34" charset="-128"/>
              </a:defRPr>
            </a:lvl5pPr>
            <a:lvl6pPr marL="2511582" indent="-228326"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68234" indent="-228326"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4885" indent="-228326"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1537" indent="-228326"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eaLnBrk="1" hangingPunct="1">
              <a:spcBef>
                <a:spcPct val="0"/>
              </a:spcBef>
            </a:pPr>
            <a:fld id="{02F7B9D0-C458-433A-A192-197150F6F717}" type="slidenum">
              <a:rPr lang="en-US" altLang="id-ID"/>
              <a:pPr eaLnBrk="1" hangingPunct="1">
                <a:spcBef>
                  <a:spcPct val="0"/>
                </a:spcBef>
              </a:pPr>
              <a:t>32</a:t>
            </a:fld>
            <a:endParaRPr lang="en-US" altLang="id-ID"/>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2.wdp"/><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9050"/>
            <a:ext cx="9144000" cy="681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1034" descr="Pantone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03213" y="254000"/>
            <a:ext cx="2363787"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userDrawn="1"/>
        </p:nvSpPr>
        <p:spPr bwMode="auto">
          <a:xfrm>
            <a:off x="4724400" y="228600"/>
            <a:ext cx="426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r">
              <a:defRPr/>
            </a:pPr>
            <a:r>
              <a:rPr lang="id-ID" b="1" dirty="0" smtClean="0">
                <a:latin typeface="Frutiger 45 Light" charset="0"/>
                <a:cs typeface="Arial" charset="0"/>
              </a:rPr>
              <a:t>September</a:t>
            </a:r>
            <a:r>
              <a:rPr lang="en-US" b="1" dirty="0" smtClean="0">
                <a:latin typeface="Frutiger 45 Light" charset="0"/>
                <a:cs typeface="Arial" charset="0"/>
              </a:rPr>
              <a:t> </a:t>
            </a:r>
            <a:r>
              <a:rPr lang="en-US" b="1" dirty="0" smtClean="0">
                <a:solidFill>
                  <a:srgbClr val="C00000"/>
                </a:solidFill>
                <a:latin typeface="Frutiger 45 Light" charset="0"/>
                <a:cs typeface="Arial" charset="0"/>
              </a:rPr>
              <a:t>201</a:t>
            </a:r>
            <a:r>
              <a:rPr lang="id-ID" b="1" dirty="0" smtClean="0">
                <a:solidFill>
                  <a:srgbClr val="C00000"/>
                </a:solidFill>
                <a:latin typeface="Frutiger 45 Light" charset="0"/>
                <a:cs typeface="Arial" charset="0"/>
              </a:rPr>
              <a:t>5</a:t>
            </a:r>
            <a:endParaRPr lang="en-US" b="1" dirty="0" smtClean="0">
              <a:solidFill>
                <a:srgbClr val="C00000"/>
              </a:solidFill>
              <a:latin typeface="Frutiger 45 Light" charset="0"/>
              <a:cs typeface="Arial" charset="0"/>
            </a:endParaRPr>
          </a:p>
        </p:txBody>
      </p:sp>
      <p:sp>
        <p:nvSpPr>
          <p:cNvPr id="5" name="Rectangle 4"/>
          <p:cNvSpPr/>
          <p:nvPr userDrawn="1"/>
        </p:nvSpPr>
        <p:spPr>
          <a:xfrm>
            <a:off x="228600" y="2497138"/>
            <a:ext cx="8305800" cy="4603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userDrawn="1"/>
        </p:nvSpPr>
        <p:spPr>
          <a:xfrm>
            <a:off x="8562975" y="2497138"/>
            <a:ext cx="428625"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TextBox 8"/>
          <p:cNvSpPr txBox="1">
            <a:spLocks noChangeArrowheads="1"/>
          </p:cNvSpPr>
          <p:nvPr userDrawn="1"/>
        </p:nvSpPr>
        <p:spPr bwMode="auto">
          <a:xfrm>
            <a:off x="3124200" y="1474788"/>
            <a:ext cx="594360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defRPr/>
            </a:pPr>
            <a:r>
              <a:rPr lang="en-US" sz="2400" b="1" smtClean="0">
                <a:latin typeface="Frutiger 45 Light" charset="0"/>
                <a:cs typeface="Arial" charset="0"/>
              </a:rPr>
              <a:t>Perkembangan</a:t>
            </a:r>
            <a:r>
              <a:rPr lang="en-US" sz="2400" b="1" dirty="0" smtClean="0">
                <a:latin typeface="Frutiger 45 Light" charset="0"/>
                <a:cs typeface="Arial" charset="0"/>
              </a:rPr>
              <a:t> </a:t>
            </a:r>
            <a:r>
              <a:rPr lang="en-US" sz="2400" b="1" dirty="0" err="1" smtClean="0">
                <a:latin typeface="Frutiger 45 Light" charset="0"/>
                <a:cs typeface="Arial" charset="0"/>
              </a:rPr>
              <a:t>Terkini</a:t>
            </a:r>
            <a:r>
              <a:rPr lang="en-US" sz="2400" b="1" dirty="0" smtClean="0">
                <a:latin typeface="Frutiger 45 Light" charset="0"/>
                <a:cs typeface="Arial" charset="0"/>
              </a:rPr>
              <a:t>, </a:t>
            </a:r>
            <a:r>
              <a:rPr lang="en-US" sz="2400" b="1" dirty="0" err="1" smtClean="0">
                <a:latin typeface="Frutiger 45 Light" charset="0"/>
                <a:cs typeface="Arial" charset="0"/>
              </a:rPr>
              <a:t>Tantangan</a:t>
            </a:r>
            <a:r>
              <a:rPr lang="en-US" sz="2400" b="1" dirty="0" smtClean="0">
                <a:latin typeface="Frutiger 45 Light" charset="0"/>
                <a:cs typeface="Arial" charset="0"/>
              </a:rPr>
              <a:t>, </a:t>
            </a:r>
            <a:r>
              <a:rPr lang="en-US" sz="2400" b="1" dirty="0" err="1" smtClean="0">
                <a:latin typeface="Frutiger 45 Light" charset="0"/>
                <a:cs typeface="Arial" charset="0"/>
              </a:rPr>
              <a:t>dan</a:t>
            </a:r>
            <a:r>
              <a:rPr lang="en-US" sz="2400" b="1" dirty="0" smtClean="0">
                <a:latin typeface="Frutiger 45 Light" charset="0"/>
                <a:cs typeface="Arial" charset="0"/>
              </a:rPr>
              <a:t> </a:t>
            </a:r>
            <a:r>
              <a:rPr lang="en-US" sz="2400" b="1" dirty="0" err="1" smtClean="0">
                <a:latin typeface="Frutiger 45 Light" charset="0"/>
                <a:cs typeface="Arial" charset="0"/>
              </a:rPr>
              <a:t>Prospek</a:t>
            </a:r>
            <a:r>
              <a:rPr lang="en-US" sz="2400" b="1" dirty="0" smtClean="0">
                <a:latin typeface="Frutiger 45 Light" charset="0"/>
                <a:cs typeface="Arial" charset="0"/>
              </a:rPr>
              <a:t> </a:t>
            </a:r>
            <a:r>
              <a:rPr lang="en-US" sz="2400" b="1" dirty="0" err="1" smtClean="0">
                <a:latin typeface="Frutiger 45 Light" charset="0"/>
                <a:cs typeface="Arial" charset="0"/>
              </a:rPr>
              <a:t>Ekonomi</a:t>
            </a:r>
            <a:r>
              <a:rPr lang="en-US" sz="2400" b="1" dirty="0" smtClean="0">
                <a:latin typeface="Frutiger 45 Light" charset="0"/>
                <a:cs typeface="Arial" charset="0"/>
              </a:rPr>
              <a:t> Indonesia</a:t>
            </a:r>
          </a:p>
        </p:txBody>
      </p:sp>
      <p:sp>
        <p:nvSpPr>
          <p:cNvPr id="10" name="Rectangle 9"/>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228600" y="1447800"/>
            <a:ext cx="2819400" cy="100965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userDrawn="1"/>
        </p:nvSpPr>
        <p:spPr>
          <a:xfrm>
            <a:off x="3074988" y="1447800"/>
            <a:ext cx="76200" cy="10096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TextBox 12"/>
          <p:cNvSpPr txBox="1">
            <a:spLocks noChangeArrowheads="1"/>
          </p:cNvSpPr>
          <p:nvPr userDrawn="1"/>
        </p:nvSpPr>
        <p:spPr bwMode="auto">
          <a:xfrm>
            <a:off x="1371600" y="5924550"/>
            <a:ext cx="6400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defRPr/>
            </a:pPr>
            <a:r>
              <a:rPr lang="en-US" sz="2000" b="1" smtClean="0">
                <a:solidFill>
                  <a:srgbClr val="002060"/>
                </a:solidFill>
                <a:latin typeface="Frutiger 45 Light" charset="0"/>
                <a:cs typeface="Arial" charset="0"/>
              </a:rPr>
              <a:t>D</a:t>
            </a:r>
            <a:r>
              <a:rPr lang="id-ID" sz="2000" b="1" smtClean="0">
                <a:solidFill>
                  <a:srgbClr val="002060"/>
                </a:solidFill>
                <a:latin typeface="Frutiger 45 Light" charset="0"/>
                <a:cs typeface="Arial" charset="0"/>
              </a:rPr>
              <a:t>epartemen Kebijakan Ekonomi dan Moneter</a:t>
            </a:r>
            <a:endParaRPr lang="en-US" sz="2000" b="1" smtClean="0">
              <a:solidFill>
                <a:srgbClr val="002060"/>
              </a:solidFill>
              <a:latin typeface="Frutiger 45 Light" charset="0"/>
              <a:cs typeface="Arial" charset="0"/>
            </a:endParaRPr>
          </a:p>
        </p:txBody>
      </p:sp>
    </p:spTree>
    <p:extLst>
      <p:ext uri="{BB962C8B-B14F-4D97-AF65-F5344CB8AC3E}">
        <p14:creationId xmlns:p14="http://schemas.microsoft.com/office/powerpoint/2010/main" val="87146132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19D0B7AA-FDA8-494F-9C12-A783834FD8B5}" type="slidenum">
              <a:rPr lang="en-US" altLang="id-ID"/>
              <a:pPr>
                <a:defRPr/>
              </a:pPr>
              <a:t>‹#›</a:t>
            </a:fld>
            <a:endParaRPr lang="en-US" altLang="id-ID"/>
          </a:p>
        </p:txBody>
      </p:sp>
    </p:spTree>
    <p:extLst>
      <p:ext uri="{BB962C8B-B14F-4D97-AF65-F5344CB8AC3E}">
        <p14:creationId xmlns:p14="http://schemas.microsoft.com/office/powerpoint/2010/main" val="2738205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85AA9698-6A8C-4B91-8745-4C4AD74FFADD}" type="slidenum">
              <a:rPr lang="en-US" altLang="id-ID"/>
              <a:pPr>
                <a:defRPr/>
              </a:pPr>
              <a:t>‹#›</a:t>
            </a:fld>
            <a:endParaRPr lang="en-US" altLang="id-ID"/>
          </a:p>
        </p:txBody>
      </p:sp>
    </p:spTree>
    <p:extLst>
      <p:ext uri="{BB962C8B-B14F-4D97-AF65-F5344CB8AC3E}">
        <p14:creationId xmlns:p14="http://schemas.microsoft.com/office/powerpoint/2010/main" val="37320349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3"/>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a:spLocks noChangeArrowheads="1"/>
          </p:cNvSpPr>
          <p:nvPr userDrawn="1"/>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4C2A5E94-9EFF-4E39-BDD2-58BA34999F07}" type="slidenum">
              <a:rPr lang="en-US" altLang="id-ID" sz="1800" b="1" smtClean="0">
                <a:solidFill>
                  <a:srgbClr val="C00000"/>
                </a:solidFill>
                <a:cs typeface="Arial" pitchFamily="34" charset="0"/>
              </a:rPr>
              <a:pPr eaLnBrk="1" hangingPunct="1">
                <a:defRPr/>
              </a:pPr>
              <a:t>‹#›</a:t>
            </a:fld>
            <a:endParaRPr lang="en-US" altLang="id-ID" sz="1800" b="1" smtClean="0">
              <a:solidFill>
                <a:srgbClr val="C00000"/>
              </a:solidFill>
              <a:cs typeface="Arial" pitchFamily="34" charset="0"/>
            </a:endParaRPr>
          </a:p>
        </p:txBody>
      </p:sp>
    </p:spTree>
    <p:extLst>
      <p:ext uri="{BB962C8B-B14F-4D97-AF65-F5344CB8AC3E}">
        <p14:creationId xmlns:p14="http://schemas.microsoft.com/office/powerpoint/2010/main" val="440148648"/>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7" name="Title 1"/>
          <p:cNvSpPr>
            <a:spLocks noGrp="1"/>
          </p:cNvSpPr>
          <p:nvPr>
            <p:ph type="title"/>
          </p:nvPr>
        </p:nvSpPr>
        <p:spPr>
          <a:xfrm>
            <a:off x="-36512" y="-27384"/>
            <a:ext cx="8229600" cy="432048"/>
          </a:xfrm>
          <a:prstGeom prst="rect">
            <a:avLst/>
          </a:prstGeom>
        </p:spPr>
        <p:txBody>
          <a:bodyPr/>
          <a:lstStyle/>
          <a:p>
            <a:r>
              <a:rPr lang="en-US" smtClean="0"/>
              <a:t>Click to edit Master title style</a:t>
            </a:r>
            <a:endParaRPr lang="id-ID" dirty="0"/>
          </a:p>
        </p:txBody>
      </p:sp>
      <p:sp>
        <p:nvSpPr>
          <p:cNvPr id="3" name="Date Placeholder 1"/>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898989"/>
                </a:solidFill>
                <a:cs typeface="Arial" pitchFamily="34" charset="0"/>
              </a:defRPr>
            </a:lvl1pPr>
          </a:lstStyle>
          <a:p>
            <a:pPr>
              <a:defRPr/>
            </a:pPr>
            <a:fld id="{893F0425-7668-463C-9784-2E615D7E4AE3}" type="datetime1">
              <a:rPr lang="id-ID" altLang="id-ID"/>
              <a:pPr>
                <a:defRPr/>
              </a:pPr>
              <a:t>21/10/2015</a:t>
            </a:fld>
            <a:endParaRPr lang="id-ID" altLang="id-ID"/>
          </a:p>
        </p:txBody>
      </p:sp>
      <p:sp>
        <p:nvSpPr>
          <p:cNvPr id="4"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prstClr val="black">
                    <a:tint val="75000"/>
                  </a:prstClr>
                </a:solidFill>
                <a:latin typeface="+mn-lt"/>
                <a:ea typeface="+mn-ea"/>
                <a:cs typeface="+mn-cs"/>
              </a:defRPr>
            </a:lvl1pPr>
          </a:lstStyle>
          <a:p>
            <a:pPr>
              <a:defRPr/>
            </a:pPr>
            <a:endParaRPr lang="id-ID"/>
          </a:p>
        </p:txBody>
      </p:sp>
      <p:sp>
        <p:nvSpPr>
          <p:cNvPr id="5" name="Slide Number Placeholder 5"/>
          <p:cNvSpPr>
            <a:spLocks noGrp="1"/>
          </p:cNvSpPr>
          <p:nvPr>
            <p:ph type="sldNum" sz="quarter" idx="12"/>
          </p:nvPr>
        </p:nvSpPr>
        <p:spPr>
          <a:xfrm>
            <a:off x="8637588" y="-4763"/>
            <a:ext cx="46990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BA8A082A-FC5C-413C-A12A-664E13174B20}" type="slidenum">
              <a:rPr lang="id-ID" altLang="id-ID"/>
              <a:pPr>
                <a:defRPr/>
              </a:pPr>
              <a:t>‹#›</a:t>
            </a:fld>
            <a:endParaRPr lang="id-ID" altLang="id-ID"/>
          </a:p>
        </p:txBody>
      </p:sp>
    </p:spTree>
    <p:extLst>
      <p:ext uri="{BB962C8B-B14F-4D97-AF65-F5344CB8AC3E}">
        <p14:creationId xmlns:p14="http://schemas.microsoft.com/office/powerpoint/2010/main" val="2601620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5448" y="500042"/>
            <a:ext cx="8232832" cy="500066"/>
          </a:xfrm>
          <a:prstGeom prst="rect">
            <a:avLst/>
          </a:prstGeom>
        </p:spPr>
        <p:txBody>
          <a:bodyPr/>
          <a:lstStyle/>
          <a:p>
            <a:r>
              <a:rPr lang="en-US" smtClean="0"/>
              <a:t>Click to edit Master title style</a:t>
            </a:r>
            <a:endParaRPr lang="id-ID"/>
          </a:p>
        </p:txBody>
      </p:sp>
      <p:sp>
        <p:nvSpPr>
          <p:cNvPr id="3" name="Content Placeholder 2"/>
          <p:cNvSpPr>
            <a:spLocks noGrp="1"/>
          </p:cNvSpPr>
          <p:nvPr>
            <p:ph idx="1"/>
          </p:nvPr>
        </p:nvSpPr>
        <p:spPr>
          <a:xfrm>
            <a:off x="714348" y="3500438"/>
            <a:ext cx="8229600" cy="35719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d-ID"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421573C-35AC-4B74-801E-8C5C5351A959}" type="datetime1">
              <a:rPr lang="id-ID" smtClean="0"/>
              <a:pPr/>
              <a:t>21/10/2015</a:t>
            </a:fld>
            <a:endParaRPr lang="id-ID"/>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id-ID"/>
          </a:p>
        </p:txBody>
      </p:sp>
      <p:sp>
        <p:nvSpPr>
          <p:cNvPr id="6" name="Slide Number Placeholder 5"/>
          <p:cNvSpPr>
            <a:spLocks noGrp="1"/>
          </p:cNvSpPr>
          <p:nvPr>
            <p:ph type="sldNum" sz="quarter" idx="12"/>
          </p:nvPr>
        </p:nvSpPr>
        <p:spPr>
          <a:xfrm>
            <a:off x="8386818" y="492107"/>
            <a:ext cx="471462" cy="365125"/>
          </a:xfrm>
          <a:prstGeom prst="rect">
            <a:avLst/>
          </a:prstGeom>
        </p:spPr>
        <p:txBody>
          <a:bodyPr/>
          <a:lstStyle/>
          <a:p>
            <a:fld id="{A5A93A75-A153-49F3-8444-04661790FA46}" type="slidenum">
              <a:rPr lang="id-ID" smtClean="0"/>
              <a:pPr/>
              <a:t>‹#›</a:t>
            </a:fld>
            <a:endParaRPr lang="id-ID"/>
          </a:p>
        </p:txBody>
      </p:sp>
    </p:spTree>
    <p:extLst>
      <p:ext uri="{BB962C8B-B14F-4D97-AF65-F5344CB8AC3E}">
        <p14:creationId xmlns:p14="http://schemas.microsoft.com/office/powerpoint/2010/main" val="3063198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5" name="Picture 24" descr="MMG 17 &amp; 18 - (3).JP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Cutout/>
                    </a14:imgEffect>
                    <a14:imgEffect>
                      <a14:saturation sat="400000"/>
                    </a14:imgEffect>
                  </a14:imgLayer>
                </a14:imgProps>
              </a:ext>
              <a:ext uri="{28A0092B-C50C-407E-A947-70E740481C1C}">
                <a14:useLocalDpi xmlns:a14="http://schemas.microsoft.com/office/drawing/2010/main" val="0"/>
              </a:ext>
            </a:extLst>
          </a:blip>
          <a:srcRect l="37100" t="23529" r="6479" b="-367"/>
          <a:stretch/>
        </p:blipFill>
        <p:spPr>
          <a:xfrm rot="10800000">
            <a:off x="7777070" y="-23801"/>
            <a:ext cx="1373182" cy="1519444"/>
          </a:xfrm>
          <a:prstGeom prst="rtTriangle">
            <a:avLst/>
          </a:prstGeom>
        </p:spPr>
      </p:pic>
      <p:pic>
        <p:nvPicPr>
          <p:cNvPr id="24" name="Picture 23" descr="blue-and-white-background-blue-white-background-1600x1200.jpg"/>
          <p:cNvPicPr>
            <a:picLocks noChangeAspect="1"/>
          </p:cNvPicPr>
          <p:nvPr userDrawn="1"/>
        </p:nvPicPr>
        <p:blipFill>
          <a:blip r:embed="rId4" cstate="print">
            <a:extLst>
              <a:ext uri="{BEBA8EAE-BF5A-486C-A8C5-ECC9F3942E4B}">
                <a14:imgProps xmlns:a14="http://schemas.microsoft.com/office/drawing/2010/main">
                  <a14:imgLayer r:embed="rId5">
                    <a14:imgEffect>
                      <a14:backgroundRemoval t="0" b="100000" l="0" r="100000">
                        <a14:backgroundMark x1="89063" y1="73583" x2="26250" y2="4250"/>
                        <a14:backgroundMark x1="21688" y1="89667" x2="125" y2="98500"/>
                        <a14:backgroundMark x1="27563" y1="97583" x2="1063" y2="86917"/>
                        <a14:backgroundMark x1="9063" y1="89167" x2="9063" y2="89167"/>
                        <a14:backgroundMark x1="29688" y1="96417" x2="625" y2="85250"/>
                        <a14:backgroundMark x1="13438" y1="89500" x2="5813" y2="85750"/>
                        <a14:backgroundMark x1="6875" y1="98833" x2="6875" y2="98833"/>
                        <a14:backgroundMark x1="1812" y1="95917" x2="1812" y2="95917"/>
                        <a14:backgroundMark x1="2000" y1="93917" x2="2000" y2="93917"/>
                        <a14:backgroundMark x1="3313" y1="94750" x2="3313" y2="94750"/>
                        <a14:backgroundMark x1="8250" y1="96583" x2="8250" y2="96583"/>
                        <a14:backgroundMark x1="8250" y1="98667" x2="8250" y2="98667"/>
                        <a14:backgroundMark x1="29313" y1="98833" x2="29313" y2="98833"/>
                        <a14:backgroundMark x1="18375" y1="97583" x2="18375" y2="97583"/>
                        <a14:backgroundMark x1="62500" y1="72333" x2="7688" y2="2000"/>
                        <a14:backgroundMark x1="38750" y1="99167" x2="438" y2="41833"/>
                      </a14:backgroundRemoval>
                    </a14:imgEffect>
                  </a14:imgLayer>
                </a14:imgProps>
              </a:ext>
              <a:ext uri="{28A0092B-C50C-407E-A947-70E740481C1C}">
                <a14:useLocalDpi xmlns:a14="http://schemas.microsoft.com/office/drawing/2010/main" val="0"/>
              </a:ext>
            </a:extLst>
          </a:blip>
          <a:stretch>
            <a:fillRect/>
          </a:stretch>
        </p:blipFill>
        <p:spPr>
          <a:xfrm rot="10800000">
            <a:off x="5817538" y="-2"/>
            <a:ext cx="3326458" cy="1733048"/>
          </a:xfrm>
          <a:prstGeom prst="rect">
            <a:avLst/>
          </a:prstGeom>
        </p:spPr>
      </p:pic>
      <p:sp>
        <p:nvSpPr>
          <p:cNvPr id="27" name="Slide Number Placeholder 3"/>
          <p:cNvSpPr>
            <a:spLocks noGrp="1"/>
          </p:cNvSpPr>
          <p:nvPr>
            <p:ph type="sldNum" sz="quarter" idx="12"/>
          </p:nvPr>
        </p:nvSpPr>
        <p:spPr>
          <a:xfrm>
            <a:off x="0" y="6494738"/>
            <a:ext cx="676663" cy="363262"/>
          </a:xfrm>
          <a:prstGeom prst="rect">
            <a:avLst/>
          </a:prstGeom>
        </p:spPr>
        <p:txBody>
          <a:bodyPr/>
          <a:lstStyle/>
          <a:p>
            <a:fld id="{992C441B-0EFA-4044-BD8E-5D2A6FCD95FF}" type="slidenum">
              <a:rPr lang="id-ID" sz="1400" b="1" smtClean="0">
                <a:solidFill>
                  <a:schemeClr val="bg1"/>
                </a:solidFill>
              </a:rPr>
              <a:pPr/>
              <a:t>‹#›</a:t>
            </a:fld>
            <a:endParaRPr lang="id-ID" sz="1400" b="1" dirty="0">
              <a:solidFill>
                <a:schemeClr val="bg1"/>
              </a:solidFill>
            </a:endParaRPr>
          </a:p>
        </p:txBody>
      </p:sp>
      <p:pic>
        <p:nvPicPr>
          <p:cNvPr id="28" name="Picture 27" descr="MMG 17 &amp; 18 - (3).JPG"/>
          <p:cNvPicPr>
            <a:picLocks noChangeAspect="1"/>
          </p:cNvPicPr>
          <p:nvPr userDrawn="1"/>
        </p:nvPicPr>
        <p:blipFill rotWithShape="1">
          <a:blip r:embed="rId6" cstate="print">
            <a:extLst>
              <a:ext uri="{BEBA8EAE-BF5A-486C-A8C5-ECC9F3942E4B}">
                <a14:imgProps xmlns:a14="http://schemas.microsoft.com/office/drawing/2010/main">
                  <a14:imgLayer r:embed="rId7">
                    <a14:imgEffect>
                      <a14:artisticCutout/>
                    </a14:imgEffect>
                    <a14:imgEffect>
                      <a14:saturation sat="400000"/>
                    </a14:imgEffect>
                  </a14:imgLayer>
                </a14:imgProps>
              </a:ext>
              <a:ext uri="{28A0092B-C50C-407E-A947-70E740481C1C}">
                <a14:useLocalDpi xmlns:a14="http://schemas.microsoft.com/office/drawing/2010/main" val="0"/>
              </a:ext>
            </a:extLst>
          </a:blip>
          <a:srcRect l="42820" t="-400" r="12135" b="-1"/>
          <a:stretch/>
        </p:blipFill>
        <p:spPr>
          <a:xfrm>
            <a:off x="0" y="5943460"/>
            <a:ext cx="518489" cy="938962"/>
          </a:xfrm>
          <a:prstGeom prst="rtTriangle">
            <a:avLst/>
          </a:prstGeom>
        </p:spPr>
      </p:pic>
    </p:spTree>
    <p:extLst>
      <p:ext uri="{BB962C8B-B14F-4D97-AF65-F5344CB8AC3E}">
        <p14:creationId xmlns:p14="http://schemas.microsoft.com/office/powerpoint/2010/main" val="28897031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Full Page">
    <p:spTree>
      <p:nvGrpSpPr>
        <p:cNvPr id="1" name=""/>
        <p:cNvGrpSpPr/>
        <p:nvPr/>
      </p:nvGrpSpPr>
      <p:grpSpPr>
        <a:xfrm>
          <a:off x="0" y="0"/>
          <a:ext cx="0" cy="0"/>
          <a:chOff x="0" y="0"/>
          <a:chExt cx="0" cy="0"/>
        </a:xfrm>
      </p:grpSpPr>
      <p:sp>
        <p:nvSpPr>
          <p:cNvPr id="2" name="Title 1"/>
          <p:cNvSpPr>
            <a:spLocks noGrp="1"/>
          </p:cNvSpPr>
          <p:nvPr>
            <p:ph type="title"/>
          </p:nvPr>
        </p:nvSpPr>
        <p:spPr>
          <a:xfrm>
            <a:off x="1001970" y="223396"/>
            <a:ext cx="7013794" cy="325721"/>
          </a:xfrm>
          <a:prstGeom prst="rect">
            <a:avLst/>
          </a:prstGeom>
        </p:spPr>
        <p:txBody>
          <a:bodyPr vert="horz" wrap="none" lIns="0" tIns="0" rIns="0" bIns="0" anchor="ctr" anchorCtr="0">
            <a:noAutofit/>
          </a:bodyPr>
          <a:lstStyle>
            <a:lvl1pPr>
              <a:defRPr sz="1900">
                <a:solidFill>
                  <a:schemeClr val="bg1"/>
                </a:solidFill>
                <a:effectLst/>
                <a:latin typeface="Calibri" pitchFamily="34" charset="0"/>
                <a:cs typeface="Calibri" pitchFamily="34" charset="0"/>
              </a:defRPr>
            </a:lvl1pPr>
          </a:lstStyle>
          <a:p>
            <a:r>
              <a:rPr lang="en-US" dirty="0" smtClean="0"/>
              <a:t>Click to edit Master title style</a:t>
            </a:r>
            <a:endParaRPr lang="en-US" dirty="0"/>
          </a:p>
        </p:txBody>
      </p:sp>
      <p:sp>
        <p:nvSpPr>
          <p:cNvPr id="5" name="Text Placeholder 12"/>
          <p:cNvSpPr>
            <a:spLocks noGrp="1"/>
          </p:cNvSpPr>
          <p:nvPr>
            <p:ph type="body" sz="quarter" idx="12"/>
          </p:nvPr>
        </p:nvSpPr>
        <p:spPr>
          <a:xfrm>
            <a:off x="219944" y="1659054"/>
            <a:ext cx="8686460" cy="4147635"/>
          </a:xfrm>
          <a:prstGeom prst="rect">
            <a:avLst/>
          </a:prstGeom>
        </p:spPr>
        <p:txBody>
          <a:bodyPr lIns="80165" tIns="40083" rIns="80165" bIns="40083"/>
          <a:lstStyle>
            <a:lvl1pPr marL="200414" marR="0" indent="-200414" algn="l" defTabSz="893511" rtl="0" eaLnBrk="0" fontAlgn="base" latinLnBrk="0" hangingPunct="0">
              <a:lnSpc>
                <a:spcPct val="100000"/>
              </a:lnSpc>
              <a:spcBef>
                <a:spcPts val="0"/>
              </a:spcBef>
              <a:spcAft>
                <a:spcPts val="526"/>
              </a:spcAft>
              <a:buClr>
                <a:schemeClr val="tx1"/>
              </a:buClr>
              <a:buSzPct val="80000"/>
              <a:buFont typeface="Wingdings" pitchFamily="2" charset="2"/>
              <a:buChar char="l"/>
              <a:tabLst/>
              <a:defRPr lang="en-US" sz="1100" b="1">
                <a:solidFill>
                  <a:schemeClr val="tx2"/>
                </a:solidFill>
                <a:latin typeface="Calibri" pitchFamily="34" charset="0"/>
                <a:ea typeface="+mj-ea"/>
                <a:cs typeface="Calibri" pitchFamily="34" charset="0"/>
              </a:defRPr>
            </a:lvl1pPr>
            <a:lvl2pPr>
              <a:defRPr lang="en-US" sz="1100" b="0" dirty="0" smtClean="0">
                <a:solidFill>
                  <a:schemeClr val="tx2"/>
                </a:solidFill>
                <a:latin typeface="Calibri" pitchFamily="34" charset="0"/>
                <a:cs typeface="Calibri" pitchFamily="34" charset="0"/>
              </a:defRPr>
            </a:lvl2pPr>
            <a:lvl3pPr marL="801654" marR="0" indent="-200414" algn="l" defTabSz="893511" rtl="0" eaLnBrk="0" fontAlgn="base" latinLnBrk="0" hangingPunct="0">
              <a:lnSpc>
                <a:spcPct val="100000"/>
              </a:lnSpc>
              <a:spcBef>
                <a:spcPts val="0"/>
              </a:spcBef>
              <a:spcAft>
                <a:spcPts val="526"/>
              </a:spcAft>
              <a:buClr>
                <a:schemeClr val="tx1"/>
              </a:buClr>
              <a:buSzPct val="100000"/>
              <a:buFontTx/>
              <a:buChar char="–"/>
              <a:tabLst/>
              <a:defRPr lang="en-US" sz="1100" b="0">
                <a:solidFill>
                  <a:schemeClr val="tx2"/>
                </a:solidFill>
                <a:latin typeface="Calibri" pitchFamily="34" charset="0"/>
                <a:cs typeface="Calibri" pitchFamily="34" charset="0"/>
              </a:defRPr>
            </a:lvl3pPr>
            <a:lvl4pPr marL="1106451" marR="0" indent="-200414" algn="l" defTabSz="893511" rtl="0" eaLnBrk="0" fontAlgn="base" latinLnBrk="0" hangingPunct="0">
              <a:lnSpc>
                <a:spcPct val="100000"/>
              </a:lnSpc>
              <a:spcBef>
                <a:spcPts val="0"/>
              </a:spcBef>
              <a:spcAft>
                <a:spcPts val="526"/>
              </a:spcAft>
              <a:buClr>
                <a:schemeClr val="tx1"/>
              </a:buClr>
              <a:buSzPct val="100000"/>
              <a:buFont typeface="Wingdings" pitchFamily="2" charset="2"/>
              <a:buChar char="w"/>
              <a:tabLst/>
              <a:defRPr lang="en-US" sz="1100" b="0">
                <a:solidFill>
                  <a:schemeClr val="tx2"/>
                </a:solidFill>
                <a:latin typeface="Calibri" pitchFamily="34" charset="0"/>
                <a:cs typeface="Calibri" pitchFamily="34" charset="0"/>
              </a:defRPr>
            </a:lvl4pPr>
            <a:lvl5pPr marL="1402895" marR="0" indent="-200414" algn="l" defTabSz="893511" rtl="0" eaLnBrk="0" fontAlgn="base" latinLnBrk="0" hangingPunct="0">
              <a:lnSpc>
                <a:spcPct val="100000"/>
              </a:lnSpc>
              <a:spcBef>
                <a:spcPts val="0"/>
              </a:spcBef>
              <a:spcAft>
                <a:spcPts val="526"/>
              </a:spcAft>
              <a:buClr>
                <a:schemeClr val="tx1"/>
              </a:buClr>
              <a:buSzPct val="100000"/>
              <a:buFont typeface="Arial" pitchFamily="34" charset="0"/>
              <a:buChar char="»"/>
              <a:tabLst/>
              <a:defRPr lang="en-US" sz="1100" b="0">
                <a:solidFill>
                  <a:schemeClr val="tx2"/>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4"/>
          <p:cNvSpPr>
            <a:spLocks noGrp="1"/>
          </p:cNvSpPr>
          <p:nvPr>
            <p:ph type="body" sz="quarter" idx="13"/>
          </p:nvPr>
        </p:nvSpPr>
        <p:spPr>
          <a:xfrm>
            <a:off x="976744" y="702423"/>
            <a:ext cx="6992071" cy="236185"/>
          </a:xfrm>
          <a:prstGeom prst="rect">
            <a:avLst/>
          </a:prstGeom>
        </p:spPr>
        <p:txBody>
          <a:bodyPr vert="horz" wrap="none" lIns="0" tIns="0" rIns="0" bIns="0" rtlCol="0" anchor="b" anchorCtr="0">
            <a:noAutofit/>
          </a:bodyPr>
          <a:lstStyle>
            <a:lvl1pPr marL="0" marR="0" indent="0" algn="l" defTabSz="893511" rtl="0" eaLnBrk="0" fontAlgn="base" latinLnBrk="0" hangingPunct="0">
              <a:lnSpc>
                <a:spcPct val="100000"/>
              </a:lnSpc>
              <a:spcBef>
                <a:spcPct val="0"/>
              </a:spcBef>
              <a:spcAft>
                <a:spcPct val="0"/>
              </a:spcAft>
              <a:buClrTx/>
              <a:buSzTx/>
              <a:buFontTx/>
              <a:buNone/>
              <a:tabLst/>
              <a:defRPr kumimoji="0" lang="en-US" sz="1800" b="0" i="0" u="none" strike="noStrike" kern="0" cap="none" spc="0" normalizeH="0" baseline="0" noProof="0">
                <a:ln>
                  <a:noFill/>
                </a:ln>
                <a:solidFill>
                  <a:schemeClr val="bg1">
                    <a:lumMod val="85000"/>
                  </a:schemeClr>
                </a:solidFill>
                <a:effectLst/>
                <a:uLnTx/>
                <a:uFillTx/>
                <a:latin typeface="Calibri" pitchFamily="34" charset="0"/>
                <a:ea typeface="+mj-ea"/>
                <a:cs typeface="Calibri" pitchFamily="34" charset="0"/>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7" name="Slide Number Placeholder 35"/>
          <p:cNvSpPr>
            <a:spLocks noGrp="1"/>
          </p:cNvSpPr>
          <p:nvPr>
            <p:ph type="sldNum" sz="quarter" idx="14"/>
          </p:nvPr>
        </p:nvSpPr>
        <p:spPr>
          <a:xfrm>
            <a:off x="8948494" y="6650618"/>
            <a:ext cx="195506" cy="207382"/>
          </a:xfrm>
          <a:prstGeom prst="rect">
            <a:avLst/>
          </a:prstGeom>
        </p:spPr>
        <p:txBody>
          <a:bodyPr lIns="80165" tIns="40083" rIns="80165" bIns="40083"/>
          <a:lstStyle>
            <a:lvl1pPr>
              <a:defRPr/>
            </a:lvl1pPr>
          </a:lstStyle>
          <a:p>
            <a:pPr>
              <a:defRPr/>
            </a:pPr>
            <a:fld id="{B1A2A576-E5AF-41C2-BBE4-00A32084A845}" type="slidenum">
              <a:rPr/>
              <a:pPr>
                <a:defRPr/>
              </a:pPr>
              <a:t>‹#›</a:t>
            </a:fld>
            <a:endParaRPr/>
          </a:p>
        </p:txBody>
      </p:sp>
    </p:spTree>
    <p:extLst>
      <p:ext uri="{BB962C8B-B14F-4D97-AF65-F5344CB8AC3E}">
        <p14:creationId xmlns:p14="http://schemas.microsoft.com/office/powerpoint/2010/main" val="1199995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Full Page">
    <p:spTree>
      <p:nvGrpSpPr>
        <p:cNvPr id="1" name=""/>
        <p:cNvGrpSpPr/>
        <p:nvPr/>
      </p:nvGrpSpPr>
      <p:grpSpPr>
        <a:xfrm>
          <a:off x="0" y="0"/>
          <a:ext cx="0" cy="0"/>
          <a:chOff x="0" y="0"/>
          <a:chExt cx="0" cy="0"/>
        </a:xfrm>
      </p:grpSpPr>
      <p:sp>
        <p:nvSpPr>
          <p:cNvPr id="2" name="Title 1"/>
          <p:cNvSpPr>
            <a:spLocks noGrp="1"/>
          </p:cNvSpPr>
          <p:nvPr>
            <p:ph type="title"/>
          </p:nvPr>
        </p:nvSpPr>
        <p:spPr>
          <a:xfrm>
            <a:off x="1001970" y="223396"/>
            <a:ext cx="7013794" cy="325721"/>
          </a:xfrm>
          <a:prstGeom prst="rect">
            <a:avLst/>
          </a:prstGeom>
        </p:spPr>
        <p:txBody>
          <a:bodyPr vert="horz" wrap="none" lIns="0" tIns="0" rIns="0" bIns="0" anchor="ctr" anchorCtr="0">
            <a:noAutofit/>
          </a:bodyPr>
          <a:lstStyle>
            <a:lvl1pPr>
              <a:defRPr sz="1900">
                <a:solidFill>
                  <a:schemeClr val="bg1"/>
                </a:solidFill>
                <a:effectLst/>
                <a:latin typeface="Calibri" pitchFamily="34" charset="0"/>
                <a:cs typeface="Calibri" pitchFamily="34" charset="0"/>
              </a:defRPr>
            </a:lvl1pPr>
          </a:lstStyle>
          <a:p>
            <a:r>
              <a:rPr lang="en-US" dirty="0" smtClean="0"/>
              <a:t>Click to edit Master title style</a:t>
            </a:r>
            <a:endParaRPr lang="en-US" dirty="0"/>
          </a:p>
        </p:txBody>
      </p:sp>
      <p:sp>
        <p:nvSpPr>
          <p:cNvPr id="5" name="Text Placeholder 12"/>
          <p:cNvSpPr>
            <a:spLocks noGrp="1"/>
          </p:cNvSpPr>
          <p:nvPr>
            <p:ph type="body" sz="quarter" idx="12"/>
          </p:nvPr>
        </p:nvSpPr>
        <p:spPr>
          <a:xfrm>
            <a:off x="219944" y="1659054"/>
            <a:ext cx="8686460" cy="4147635"/>
          </a:xfrm>
          <a:prstGeom prst="rect">
            <a:avLst/>
          </a:prstGeom>
        </p:spPr>
        <p:txBody>
          <a:bodyPr lIns="80165" tIns="40083" rIns="80165" bIns="40083"/>
          <a:lstStyle>
            <a:lvl1pPr marL="200414" marR="0" indent="-200414" algn="l" defTabSz="893511" rtl="0" eaLnBrk="0" fontAlgn="base" latinLnBrk="0" hangingPunct="0">
              <a:lnSpc>
                <a:spcPct val="100000"/>
              </a:lnSpc>
              <a:spcBef>
                <a:spcPts val="0"/>
              </a:spcBef>
              <a:spcAft>
                <a:spcPts val="526"/>
              </a:spcAft>
              <a:buClr>
                <a:schemeClr val="tx1"/>
              </a:buClr>
              <a:buSzPct val="80000"/>
              <a:buFont typeface="Wingdings" pitchFamily="2" charset="2"/>
              <a:buChar char="l"/>
              <a:tabLst/>
              <a:defRPr lang="en-US" sz="1100" b="1">
                <a:solidFill>
                  <a:schemeClr val="tx2"/>
                </a:solidFill>
                <a:latin typeface="Calibri" pitchFamily="34" charset="0"/>
                <a:ea typeface="+mj-ea"/>
                <a:cs typeface="Calibri" pitchFamily="34" charset="0"/>
              </a:defRPr>
            </a:lvl1pPr>
            <a:lvl2pPr>
              <a:defRPr lang="en-US" sz="1100" b="0" dirty="0" smtClean="0">
                <a:solidFill>
                  <a:schemeClr val="tx2"/>
                </a:solidFill>
                <a:latin typeface="Calibri" pitchFamily="34" charset="0"/>
                <a:cs typeface="Calibri" pitchFamily="34" charset="0"/>
              </a:defRPr>
            </a:lvl2pPr>
            <a:lvl3pPr marL="801654" marR="0" indent="-200414" algn="l" defTabSz="893511" rtl="0" eaLnBrk="0" fontAlgn="base" latinLnBrk="0" hangingPunct="0">
              <a:lnSpc>
                <a:spcPct val="100000"/>
              </a:lnSpc>
              <a:spcBef>
                <a:spcPts val="0"/>
              </a:spcBef>
              <a:spcAft>
                <a:spcPts val="526"/>
              </a:spcAft>
              <a:buClr>
                <a:schemeClr val="tx1"/>
              </a:buClr>
              <a:buSzPct val="100000"/>
              <a:buFontTx/>
              <a:buChar char="–"/>
              <a:tabLst/>
              <a:defRPr lang="en-US" sz="1100" b="0">
                <a:solidFill>
                  <a:schemeClr val="tx2"/>
                </a:solidFill>
                <a:latin typeface="Calibri" pitchFamily="34" charset="0"/>
                <a:cs typeface="Calibri" pitchFamily="34" charset="0"/>
              </a:defRPr>
            </a:lvl3pPr>
            <a:lvl4pPr marL="1106451" marR="0" indent="-200414" algn="l" defTabSz="893511" rtl="0" eaLnBrk="0" fontAlgn="base" latinLnBrk="0" hangingPunct="0">
              <a:lnSpc>
                <a:spcPct val="100000"/>
              </a:lnSpc>
              <a:spcBef>
                <a:spcPts val="0"/>
              </a:spcBef>
              <a:spcAft>
                <a:spcPts val="526"/>
              </a:spcAft>
              <a:buClr>
                <a:schemeClr val="tx1"/>
              </a:buClr>
              <a:buSzPct val="100000"/>
              <a:buFont typeface="Wingdings" pitchFamily="2" charset="2"/>
              <a:buChar char="w"/>
              <a:tabLst/>
              <a:defRPr lang="en-US" sz="1100" b="0">
                <a:solidFill>
                  <a:schemeClr val="tx2"/>
                </a:solidFill>
                <a:latin typeface="Calibri" pitchFamily="34" charset="0"/>
                <a:cs typeface="Calibri" pitchFamily="34" charset="0"/>
              </a:defRPr>
            </a:lvl4pPr>
            <a:lvl5pPr marL="1402895" marR="0" indent="-200414" algn="l" defTabSz="893511" rtl="0" eaLnBrk="0" fontAlgn="base" latinLnBrk="0" hangingPunct="0">
              <a:lnSpc>
                <a:spcPct val="100000"/>
              </a:lnSpc>
              <a:spcBef>
                <a:spcPts val="0"/>
              </a:spcBef>
              <a:spcAft>
                <a:spcPts val="526"/>
              </a:spcAft>
              <a:buClr>
                <a:schemeClr val="tx1"/>
              </a:buClr>
              <a:buSzPct val="100000"/>
              <a:buFont typeface="Arial" pitchFamily="34" charset="0"/>
              <a:buChar char="»"/>
              <a:tabLst/>
              <a:defRPr lang="en-US" sz="1100" b="0">
                <a:solidFill>
                  <a:schemeClr val="tx2"/>
                </a:solidFill>
                <a:latin typeface="Calibri" pitchFamily="34" charset="0"/>
                <a:cs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14"/>
          <p:cNvSpPr>
            <a:spLocks noGrp="1"/>
          </p:cNvSpPr>
          <p:nvPr>
            <p:ph type="body" sz="quarter" idx="13"/>
          </p:nvPr>
        </p:nvSpPr>
        <p:spPr>
          <a:xfrm>
            <a:off x="976744" y="702423"/>
            <a:ext cx="6992071" cy="236185"/>
          </a:xfrm>
          <a:prstGeom prst="rect">
            <a:avLst/>
          </a:prstGeom>
        </p:spPr>
        <p:txBody>
          <a:bodyPr vert="horz" wrap="none" lIns="0" tIns="0" rIns="0" bIns="0" rtlCol="0" anchor="b" anchorCtr="0">
            <a:noAutofit/>
          </a:bodyPr>
          <a:lstStyle>
            <a:lvl1pPr marL="0" marR="0" indent="0" algn="l" defTabSz="893511" rtl="0" eaLnBrk="0" fontAlgn="base" latinLnBrk="0" hangingPunct="0">
              <a:lnSpc>
                <a:spcPct val="100000"/>
              </a:lnSpc>
              <a:spcBef>
                <a:spcPct val="0"/>
              </a:spcBef>
              <a:spcAft>
                <a:spcPct val="0"/>
              </a:spcAft>
              <a:buClrTx/>
              <a:buSzTx/>
              <a:buFontTx/>
              <a:buNone/>
              <a:tabLst/>
              <a:defRPr kumimoji="0" lang="en-US" sz="1800" b="0" i="0" u="none" strike="noStrike" kern="0" cap="none" spc="0" normalizeH="0" baseline="0" noProof="0">
                <a:ln>
                  <a:noFill/>
                </a:ln>
                <a:solidFill>
                  <a:schemeClr val="bg1">
                    <a:lumMod val="85000"/>
                  </a:schemeClr>
                </a:solidFill>
                <a:effectLst/>
                <a:uLnTx/>
                <a:uFillTx/>
                <a:latin typeface="Calibri" pitchFamily="34" charset="0"/>
                <a:ea typeface="+mj-ea"/>
                <a:cs typeface="Calibri" pitchFamily="34" charset="0"/>
              </a:defRPr>
            </a:lvl1pPr>
            <a:lvl2pPr>
              <a:buNone/>
              <a:defRPr/>
            </a:lvl2pPr>
            <a:lvl3pPr>
              <a:buNone/>
              <a:defRPr/>
            </a:lvl3pPr>
            <a:lvl4pPr>
              <a:buNone/>
              <a:defRPr/>
            </a:lvl4pPr>
            <a:lvl5pPr>
              <a:buNone/>
              <a:defRPr/>
            </a:lvl5pPr>
          </a:lstStyle>
          <a:p>
            <a:pPr lvl="0"/>
            <a:r>
              <a:rPr lang="en-US" dirty="0" smtClean="0"/>
              <a:t>Click to edit Master text styles</a:t>
            </a:r>
          </a:p>
        </p:txBody>
      </p:sp>
      <p:sp>
        <p:nvSpPr>
          <p:cNvPr id="7" name="Slide Number Placeholder 35"/>
          <p:cNvSpPr>
            <a:spLocks noGrp="1"/>
          </p:cNvSpPr>
          <p:nvPr>
            <p:ph type="sldNum" sz="quarter" idx="14"/>
          </p:nvPr>
        </p:nvSpPr>
        <p:spPr>
          <a:xfrm>
            <a:off x="8948494" y="6650618"/>
            <a:ext cx="195506" cy="207382"/>
          </a:xfrm>
          <a:prstGeom prst="rect">
            <a:avLst/>
          </a:prstGeom>
        </p:spPr>
        <p:txBody>
          <a:bodyPr lIns="80165" tIns="40083" rIns="80165" bIns="40083"/>
          <a:lstStyle>
            <a:lvl1pPr>
              <a:defRPr/>
            </a:lvl1pPr>
          </a:lstStyle>
          <a:p>
            <a:pPr>
              <a:defRPr/>
            </a:pPr>
            <a:fld id="{B72CE014-422D-40E8-AC5C-64CA6802ADDF}" type="slidenum">
              <a:rPr/>
              <a:pPr>
                <a:defRPr/>
              </a:pPr>
              <a:t>‹#›</a:t>
            </a:fld>
            <a:endParaRPr/>
          </a:p>
        </p:txBody>
      </p:sp>
    </p:spTree>
    <p:extLst>
      <p:ext uri="{BB962C8B-B14F-4D97-AF65-F5344CB8AC3E}">
        <p14:creationId xmlns:p14="http://schemas.microsoft.com/office/powerpoint/2010/main" val="33448531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ing &amp; 1 Column Text">
    <p:spTree>
      <p:nvGrpSpPr>
        <p:cNvPr id="1" name=""/>
        <p:cNvGrpSpPr/>
        <p:nvPr/>
      </p:nvGrpSpPr>
      <p:grpSpPr>
        <a:xfrm>
          <a:off x="0" y="0"/>
          <a:ext cx="0" cy="0"/>
          <a:chOff x="0" y="0"/>
          <a:chExt cx="0" cy="0"/>
        </a:xfrm>
      </p:grpSpPr>
      <p:sp>
        <p:nvSpPr>
          <p:cNvPr id="4" name="Rectangle 3"/>
          <p:cNvSpPr/>
          <p:nvPr userDrawn="1"/>
        </p:nvSpPr>
        <p:spPr>
          <a:xfrm>
            <a:off x="298939" y="6305550"/>
            <a:ext cx="917331" cy="450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ext Placeholder 2"/>
          <p:cNvSpPr>
            <a:spLocks noGrp="1" noChangeAspect="1"/>
          </p:cNvSpPr>
          <p:nvPr>
            <p:ph idx="1"/>
          </p:nvPr>
        </p:nvSpPr>
        <p:spPr>
          <a:xfrm>
            <a:off x="299161" y="1323001"/>
            <a:ext cx="8547459" cy="4847010"/>
          </a:xfrm>
          <a:prstGeom prst="rect">
            <a:avLst/>
          </a:prstGeom>
        </p:spPr>
        <p:txBody>
          <a:bodyPr rtlCol="0">
            <a:normAutofit/>
          </a:bodyPr>
          <a:lstStyle>
            <a:lvl1pPr>
              <a:defRPr>
                <a:solidFill>
                  <a:srgbClr val="1B587C"/>
                </a:solidFill>
              </a:defRPr>
            </a:lvl1pPr>
            <a:lvl2pPr>
              <a:defRPr>
                <a:solidFill>
                  <a:srgbClr val="1B587C"/>
                </a:solidFill>
              </a:defRPr>
            </a:lvl2pPr>
            <a:lvl3pPr>
              <a:defRPr>
                <a:solidFill>
                  <a:srgbClr val="1B587C"/>
                </a:solidFill>
              </a:defRPr>
            </a:lvl3pPr>
            <a:lvl4pPr>
              <a:defRPr>
                <a:solidFill>
                  <a:srgbClr val="1B587C"/>
                </a:solidFill>
              </a:defRPr>
            </a:lvl4pPr>
            <a:lvl5pPr>
              <a:defRPr>
                <a:solidFill>
                  <a:srgbClr val="1B587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title"/>
          </p:nvPr>
        </p:nvSpPr>
        <p:spPr>
          <a:xfrm>
            <a:off x="298938" y="62713"/>
            <a:ext cx="8547589" cy="701676"/>
          </a:xfrm>
          <a:prstGeom prst="rect">
            <a:avLst/>
          </a:prstGeom>
        </p:spPr>
        <p:txBody>
          <a:bodyPr anchor="ctr"/>
          <a:lstStyle>
            <a:lvl1pPr>
              <a:defRPr sz="2200" b="1">
                <a:solidFill>
                  <a:srgbClr val="1B587C"/>
                </a:solidFill>
                <a:latin typeface="Optima" panose="020B0500000000000000"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185998525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980" y="51446"/>
            <a:ext cx="8229600" cy="432048"/>
          </a:xfrm>
          <a:prstGeom prst="rect">
            <a:avLst/>
          </a:prstGeom>
        </p:spPr>
        <p:txBody>
          <a:bodyPr vert="horz" lIns="91440" tIns="45720" rIns="91440" bIns="45720" rtlCol="0" anchor="ctr">
            <a:noAutofit/>
          </a:bodyPr>
          <a:lstStyle/>
          <a:p>
            <a:r>
              <a:rPr lang="en-US" dirty="0" smtClean="0"/>
              <a:t>Click to edit Master title style</a:t>
            </a:r>
            <a:endParaRPr lang="id-ID" dirty="0"/>
          </a:p>
        </p:txBody>
      </p:sp>
    </p:spTree>
    <p:extLst>
      <p:ext uri="{BB962C8B-B14F-4D97-AF65-F5344CB8AC3E}">
        <p14:creationId xmlns:p14="http://schemas.microsoft.com/office/powerpoint/2010/main" val="19748317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5" name="Group 1"/>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p>
          </p:txBody>
        </p:sp>
      </p:grpSp>
      <p:sp>
        <p:nvSpPr>
          <p:cNvPr id="8" name="TextBox 7"/>
          <p:cNvSpPr txBox="1">
            <a:spLocks noChangeArrowheads="1"/>
          </p:cNvSpPr>
          <p:nvPr userDrawn="1"/>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a:t>
            </a:fld>
            <a:endParaRPr lang="en-US" altLang="id-ID" sz="1800" b="1" dirty="0" smtClean="0">
              <a:solidFill>
                <a:srgbClr val="C00000"/>
              </a:solidFill>
              <a:cs typeface="Arial" pitchFamily="34" charset="0"/>
            </a:endParaRPr>
          </a:p>
        </p:txBody>
      </p:sp>
      <p:sp>
        <p:nvSpPr>
          <p:cNvPr id="9" name="Rectangle 8"/>
          <p:cNvSpPr/>
          <p:nvPr userDrawn="1"/>
        </p:nvSpPr>
        <p:spPr>
          <a:xfrm>
            <a:off x="88900" y="6784975"/>
            <a:ext cx="3562350" cy="5397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userDrawn="1"/>
        </p:nvSpPr>
        <p:spPr>
          <a:xfrm>
            <a:off x="3662363" y="6784975"/>
            <a:ext cx="433387" cy="5397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1" name="Rectangle 10"/>
          <p:cNvSpPr/>
          <p:nvPr userDrawn="1"/>
        </p:nvSpPr>
        <p:spPr>
          <a:xfrm>
            <a:off x="4114800" y="6784975"/>
            <a:ext cx="4876800" cy="571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 name="Picture 1034" descr="Pantone2"/>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229378"/>
            <a:ext cx="9144000" cy="2392363"/>
          </a:xfrm>
          <a:prstGeom prst="rect">
            <a:avLst/>
          </a:prstGeom>
        </p:spPr>
        <p:txBody>
          <a:bodyPr/>
          <a:lstStyle>
            <a:lvl1pPr>
              <a:defRPr sz="2000">
                <a:solidFill>
                  <a:schemeClr val="tx1"/>
                </a:solidFill>
                <a:latin typeface="+mn-lt"/>
              </a:defRPr>
            </a:lvl1pPr>
            <a:lvl2pPr>
              <a:defRPr sz="2000">
                <a:solidFill>
                  <a:schemeClr val="tx1"/>
                </a:solidFill>
                <a:latin typeface="+mn-lt"/>
              </a:defRPr>
            </a:lvl2pPr>
            <a:lvl3pPr>
              <a:defRPr sz="2000">
                <a:solidFill>
                  <a:schemeClr val="tx1"/>
                </a:solidFill>
                <a:latin typeface="+mn-lt"/>
              </a:defRPr>
            </a:lvl3pPr>
            <a:lvl4pPr>
              <a:defRPr sz="2000">
                <a:solidFill>
                  <a:schemeClr val="tx1"/>
                </a:solidFill>
                <a:latin typeface="+mn-lt"/>
              </a:defRPr>
            </a:lvl4pPr>
            <a:lvl5pPr>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563563"/>
          </a:xfrm>
          <a:prstGeom prst="rect">
            <a:avLst/>
          </a:prstGeom>
        </p:spPr>
        <p:txBody>
          <a:bodyPr/>
          <a:lstStyle>
            <a:lvl1pPr marL="0" indent="0">
              <a:buNone/>
              <a:defRPr sz="2200" b="1" i="1">
                <a:solidFill>
                  <a:schemeClr val="tx1">
                    <a:lumMod val="50000"/>
                    <a:lumOff val="50000"/>
                  </a:schemeClr>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1343988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808" y="-27384"/>
            <a:ext cx="8229600" cy="432048"/>
          </a:xfrm>
          <a:prstGeom prst="rect">
            <a:avLst/>
          </a:prstGeom>
        </p:spPr>
        <p:txBody>
          <a:bodyPr/>
          <a:lstStyle/>
          <a:p>
            <a:r>
              <a:rPr lang="en-US" smtClean="0"/>
              <a:t>Click to edit Master title style</a:t>
            </a:r>
            <a:endParaRPr lang="id-ID"/>
          </a:p>
        </p:txBody>
      </p:sp>
      <p:sp>
        <p:nvSpPr>
          <p:cNvPr id="3" name="Content Placeholder 2"/>
          <p:cNvSpPr>
            <a:spLocks noGrp="1"/>
          </p:cNvSpPr>
          <p:nvPr>
            <p:ph idx="1"/>
          </p:nvPr>
        </p:nvSpPr>
        <p:spPr>
          <a:xfrm>
            <a:off x="107507" y="548680"/>
            <a:ext cx="8928992" cy="792088"/>
          </a:xfrm>
          <a:prstGeom prst="rect">
            <a:avLst/>
          </a:prstGeom>
        </p:spPr>
        <p:txBody>
          <a:bodyPr>
            <a:normAutofit/>
          </a:bodyPr>
          <a:lstStyle>
            <a:lvl1pPr marL="0" indent="0">
              <a:buNone/>
              <a:defRPr sz="2400" b="1" i="1">
                <a:solidFill>
                  <a:srgbClr val="C00000"/>
                </a:solidFill>
              </a:defRPr>
            </a:lvl1pPr>
          </a:lstStyle>
          <a:p>
            <a:pPr lvl="0"/>
            <a:r>
              <a:rPr lang="en-US" smtClean="0"/>
              <a:t>Click to edit Master text styles</a:t>
            </a:r>
          </a:p>
        </p:txBody>
      </p:sp>
      <p:sp>
        <p:nvSpPr>
          <p:cNvPr id="7" name="Content Placeholder 2"/>
          <p:cNvSpPr>
            <a:spLocks noGrp="1"/>
          </p:cNvSpPr>
          <p:nvPr>
            <p:ph idx="13"/>
          </p:nvPr>
        </p:nvSpPr>
        <p:spPr>
          <a:xfrm>
            <a:off x="107507" y="1628803"/>
            <a:ext cx="8928992" cy="256153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3"/>
          <p:cNvSpPr>
            <a:spLocks noGrp="1"/>
          </p:cNvSpPr>
          <p:nvPr>
            <p:ph type="dt" sz="half" idx="14"/>
          </p:nvPr>
        </p:nvSpPr>
        <p:spPr>
          <a:xfrm>
            <a:off x="457200" y="6356351"/>
            <a:ext cx="2133600" cy="365125"/>
          </a:xfrm>
          <a:prstGeom prst="rect">
            <a:avLst/>
          </a:prstGeom>
        </p:spPr>
        <p:txBody>
          <a:bodyPr/>
          <a:lstStyle>
            <a:lvl1pPr eaLnBrk="1" hangingPunct="1">
              <a:defRPr/>
            </a:lvl1pPr>
          </a:lstStyle>
          <a:p>
            <a:pPr>
              <a:defRPr/>
            </a:pPr>
            <a:fld id="{8ADDB138-B6E3-43D0-B018-0B26CAF44428}" type="datetime1">
              <a:rPr lang="id-ID"/>
              <a:pPr>
                <a:defRPr/>
              </a:pPr>
              <a:t>21/10/2015</a:t>
            </a:fld>
            <a:endParaRPr lang="id-ID"/>
          </a:p>
        </p:txBody>
      </p:sp>
      <p:sp>
        <p:nvSpPr>
          <p:cNvPr id="6" name="Footer Placeholder 4"/>
          <p:cNvSpPr>
            <a:spLocks noGrp="1"/>
          </p:cNvSpPr>
          <p:nvPr>
            <p:ph type="ftr" sz="quarter" idx="15"/>
          </p:nvPr>
        </p:nvSpPr>
        <p:spPr>
          <a:xfrm>
            <a:off x="3124200" y="6356351"/>
            <a:ext cx="2895600" cy="365125"/>
          </a:xfrm>
          <a:prstGeom prst="rect">
            <a:avLst/>
          </a:prstGeom>
        </p:spPr>
        <p:txBody>
          <a:bodyPr/>
          <a:lstStyle>
            <a:lvl1pPr eaLnBrk="1" hangingPunct="1">
              <a:defRPr/>
            </a:lvl1pPr>
          </a:lstStyle>
          <a:p>
            <a:pPr>
              <a:defRPr/>
            </a:pPr>
            <a:endParaRPr lang="id-ID"/>
          </a:p>
        </p:txBody>
      </p:sp>
      <p:sp>
        <p:nvSpPr>
          <p:cNvPr id="8" name="Slide Number Placeholder 5"/>
          <p:cNvSpPr>
            <a:spLocks noGrp="1"/>
          </p:cNvSpPr>
          <p:nvPr>
            <p:ph type="sldNum" sz="quarter" idx="16"/>
          </p:nvPr>
        </p:nvSpPr>
        <p:spPr>
          <a:xfrm>
            <a:off x="8705851" y="-4763"/>
            <a:ext cx="298938" cy="365126"/>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3C3120A4-AEE9-4BB7-A8FC-5186DF663599}" type="slidenum">
              <a:rPr lang="id-ID" altLang="id-ID"/>
              <a:pPr>
                <a:defRPr/>
              </a:pPr>
              <a:t>‹#›</a:t>
            </a:fld>
            <a:endParaRPr lang="id-ID" altLang="id-ID"/>
          </a:p>
        </p:txBody>
      </p:sp>
    </p:spTree>
    <p:extLst>
      <p:ext uri="{BB962C8B-B14F-4D97-AF65-F5344CB8AC3E}">
        <p14:creationId xmlns:p14="http://schemas.microsoft.com/office/powerpoint/2010/main" val="4076910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descr="H:\Δ Apik Δ\GMBR dwnload\BTA.jpg"/>
          <p:cNvPicPr/>
          <p:nvPr/>
        </p:nvPicPr>
        <p:blipFill>
          <a:blip r:embed="rId2" cstate="print">
            <a:duotone>
              <a:schemeClr val="accent1">
                <a:shade val="45000"/>
                <a:satMod val="135000"/>
              </a:schemeClr>
              <a:prstClr val="white"/>
            </a:duotone>
            <a:extLst/>
          </a:blip>
          <a:srcRect/>
          <a:stretch>
            <a:fillRect/>
          </a:stretch>
        </p:blipFill>
        <p:spPr bwMode="auto">
          <a:xfrm>
            <a:off x="0" y="829"/>
            <a:ext cx="9144000" cy="6857171"/>
          </a:xfrm>
          <a:prstGeom prst="rect">
            <a:avLst/>
          </a:prstGeom>
          <a:noFill/>
          <a:ln w="9525">
            <a:noFill/>
            <a:miter lim="800000"/>
            <a:headEnd/>
            <a:tailEnd/>
          </a:ln>
        </p:spPr>
      </p:pic>
      <p:sp>
        <p:nvSpPr>
          <p:cNvPr id="5" name="Rectangle 4"/>
          <p:cNvSpPr/>
          <p:nvPr/>
        </p:nvSpPr>
        <p:spPr>
          <a:xfrm>
            <a:off x="0" y="3429000"/>
            <a:ext cx="457200" cy="3429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cxnSp>
        <p:nvCxnSpPr>
          <p:cNvPr id="6" name="Straight Connector 5"/>
          <p:cNvCxnSpPr/>
          <p:nvPr/>
        </p:nvCxnSpPr>
        <p:spPr>
          <a:xfrm>
            <a:off x="8913813" y="3670300"/>
            <a:ext cx="0" cy="2971800"/>
          </a:xfrm>
          <a:prstGeom prst="line">
            <a:avLst/>
          </a:prstGeom>
          <a:ln w="31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214313" y="228600"/>
            <a:ext cx="0" cy="3013075"/>
          </a:xfrm>
          <a:prstGeom prst="line">
            <a:avLst/>
          </a:prstGeom>
          <a:ln w="3175"/>
        </p:spPr>
        <p:style>
          <a:lnRef idx="1">
            <a:schemeClr val="accent2"/>
          </a:lnRef>
          <a:fillRef idx="0">
            <a:schemeClr val="accent2"/>
          </a:fillRef>
          <a:effectRef idx="0">
            <a:schemeClr val="accent2"/>
          </a:effectRef>
          <a:fontRef idx="minor">
            <a:schemeClr val="tx1"/>
          </a:fontRef>
        </p:style>
      </p:cxnSp>
      <p:sp>
        <p:nvSpPr>
          <p:cNvPr id="8" name="Rectangle 7"/>
          <p:cNvSpPr>
            <a:spLocks noChangeArrowheads="1"/>
          </p:cNvSpPr>
          <p:nvPr/>
        </p:nvSpPr>
        <p:spPr bwMode="auto">
          <a:xfrm>
            <a:off x="8674100" y="1588"/>
            <a:ext cx="479425" cy="3316287"/>
          </a:xfrm>
          <a:prstGeom prst="rect">
            <a:avLst/>
          </a:prstGeom>
          <a:gradFill rotWithShape="1">
            <a:gsLst>
              <a:gs pos="0">
                <a:srgbClr val="9E2F37"/>
              </a:gs>
              <a:gs pos="100000">
                <a:srgbClr val="9E2F37">
                  <a:gamma/>
                  <a:shade val="46275"/>
                  <a:invGamma/>
                </a:srgbClr>
              </a:gs>
            </a:gsLst>
            <a:lin ang="0" scaled="1"/>
          </a:gradFill>
          <a:ln w="9525">
            <a:noFill/>
            <a:miter lim="800000"/>
            <a:headEnd/>
            <a:tailEnd/>
          </a:ln>
        </p:spPr>
        <p:txBody>
          <a:bodyPr wrap="none" anchor="ctr"/>
          <a:lstStyle/>
          <a:p>
            <a:pPr fontAlgn="auto">
              <a:lnSpc>
                <a:spcPct val="80000"/>
              </a:lnSpc>
              <a:spcBef>
                <a:spcPts val="0"/>
              </a:spcBef>
              <a:spcAft>
                <a:spcPts val="0"/>
              </a:spcAft>
              <a:defRPr/>
            </a:pPr>
            <a:endParaRPr lang="en-US" i="1">
              <a:solidFill>
                <a:srgbClr val="C0504D"/>
              </a:solidFill>
              <a:effectLst>
                <a:outerShdw blurRad="38100" dist="38100" dir="2700000" algn="tl">
                  <a:srgbClr val="000000">
                    <a:alpha val="43137"/>
                  </a:srgbClr>
                </a:outerShdw>
              </a:effectLst>
              <a:latin typeface="+mn-lt"/>
              <a:ea typeface="+mn-ea"/>
            </a:endParaRPr>
          </a:p>
        </p:txBody>
      </p:sp>
      <p:pic>
        <p:nvPicPr>
          <p:cNvPr id="9" name="Picture 1034" descr="Pantone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1013" y="247650"/>
            <a:ext cx="373062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6781800" y="230188"/>
            <a:ext cx="1524000" cy="52228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400" b="1" i="1" dirty="0">
                <a:solidFill>
                  <a:srgbClr val="FF0000"/>
                </a:solidFill>
              </a:rPr>
              <a:t>RAHASIA</a:t>
            </a:r>
            <a:endParaRPr lang="id-ID" sz="2400" b="1" i="1" dirty="0">
              <a:solidFill>
                <a:srgbClr val="FF0000"/>
              </a:solidFill>
            </a:endParaRPr>
          </a:p>
        </p:txBody>
      </p:sp>
      <p:grpSp>
        <p:nvGrpSpPr>
          <p:cNvPr id="11" name="Group 7"/>
          <p:cNvGrpSpPr>
            <a:grpSpLocks/>
          </p:cNvGrpSpPr>
          <p:nvPr/>
        </p:nvGrpSpPr>
        <p:grpSpPr bwMode="auto">
          <a:xfrm>
            <a:off x="4768180" y="5805920"/>
            <a:ext cx="3921199" cy="868459"/>
            <a:chOff x="1566" y="164"/>
            <a:chExt cx="1455" cy="425"/>
          </a:xfrm>
          <a:solidFill>
            <a:schemeClr val="bg1">
              <a:lumMod val="65000"/>
            </a:schemeClr>
          </a:solidFill>
        </p:grpSpPr>
        <p:sp>
          <p:nvSpPr>
            <p:cNvPr id="12" name="Freeform 8"/>
            <p:cNvSpPr>
              <a:spLocks/>
            </p:cNvSpPr>
            <p:nvPr/>
          </p:nvSpPr>
          <p:spPr bwMode="gray">
            <a:xfrm>
              <a:off x="1892" y="468"/>
              <a:ext cx="39" cy="121"/>
            </a:xfrm>
            <a:custGeom>
              <a:avLst/>
              <a:gdLst/>
              <a:ahLst/>
              <a:cxnLst>
                <a:cxn ang="0">
                  <a:pos x="37" y="36"/>
                </a:cxn>
                <a:cxn ang="0">
                  <a:pos x="35" y="36"/>
                </a:cxn>
                <a:cxn ang="0">
                  <a:pos x="30" y="36"/>
                </a:cxn>
                <a:cxn ang="0">
                  <a:pos x="22" y="34"/>
                </a:cxn>
                <a:cxn ang="0">
                  <a:pos x="15" y="30"/>
                </a:cxn>
                <a:cxn ang="0">
                  <a:pos x="7" y="23"/>
                </a:cxn>
                <a:cxn ang="0">
                  <a:pos x="3" y="13"/>
                </a:cxn>
                <a:cxn ang="0">
                  <a:pos x="0" y="0"/>
                </a:cxn>
                <a:cxn ang="0">
                  <a:pos x="3" y="0"/>
                </a:cxn>
                <a:cxn ang="0">
                  <a:pos x="7" y="1"/>
                </a:cxn>
                <a:cxn ang="0">
                  <a:pos x="15" y="3"/>
                </a:cxn>
                <a:cxn ang="0">
                  <a:pos x="23" y="5"/>
                </a:cxn>
                <a:cxn ang="0">
                  <a:pos x="30" y="11"/>
                </a:cxn>
                <a:cxn ang="0">
                  <a:pos x="37" y="20"/>
                </a:cxn>
                <a:cxn ang="0">
                  <a:pos x="39" y="34"/>
                </a:cxn>
                <a:cxn ang="0">
                  <a:pos x="39" y="121"/>
                </a:cxn>
                <a:cxn ang="0">
                  <a:pos x="37" y="121"/>
                </a:cxn>
                <a:cxn ang="0">
                  <a:pos x="37" y="36"/>
                </a:cxn>
              </a:cxnLst>
              <a:rect l="0" t="0" r="r" b="b"/>
              <a:pathLst>
                <a:path w="39" h="121">
                  <a:moveTo>
                    <a:pt x="37" y="36"/>
                  </a:moveTo>
                  <a:lnTo>
                    <a:pt x="35" y="36"/>
                  </a:lnTo>
                  <a:lnTo>
                    <a:pt x="30" y="36"/>
                  </a:lnTo>
                  <a:lnTo>
                    <a:pt x="22" y="34"/>
                  </a:lnTo>
                  <a:lnTo>
                    <a:pt x="15" y="30"/>
                  </a:lnTo>
                  <a:lnTo>
                    <a:pt x="7" y="23"/>
                  </a:lnTo>
                  <a:lnTo>
                    <a:pt x="3" y="13"/>
                  </a:lnTo>
                  <a:lnTo>
                    <a:pt x="0" y="0"/>
                  </a:lnTo>
                  <a:lnTo>
                    <a:pt x="3" y="0"/>
                  </a:lnTo>
                  <a:lnTo>
                    <a:pt x="7" y="1"/>
                  </a:lnTo>
                  <a:lnTo>
                    <a:pt x="15" y="3"/>
                  </a:lnTo>
                  <a:lnTo>
                    <a:pt x="23" y="5"/>
                  </a:lnTo>
                  <a:lnTo>
                    <a:pt x="30" y="11"/>
                  </a:lnTo>
                  <a:lnTo>
                    <a:pt x="37" y="20"/>
                  </a:lnTo>
                  <a:lnTo>
                    <a:pt x="39" y="34"/>
                  </a:lnTo>
                  <a:lnTo>
                    <a:pt x="39" y="121"/>
                  </a:lnTo>
                  <a:lnTo>
                    <a:pt x="37" y="121"/>
                  </a:lnTo>
                  <a:lnTo>
                    <a:pt x="37" y="36"/>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3" name="Freeform 9"/>
            <p:cNvSpPr>
              <a:spLocks/>
            </p:cNvSpPr>
            <p:nvPr/>
          </p:nvSpPr>
          <p:spPr bwMode="gray">
            <a:xfrm>
              <a:off x="2271" y="450"/>
              <a:ext cx="45" cy="139"/>
            </a:xfrm>
            <a:custGeom>
              <a:avLst/>
              <a:gdLst/>
              <a:ahLst/>
              <a:cxnLst>
                <a:cxn ang="0">
                  <a:pos x="3" y="42"/>
                </a:cxn>
                <a:cxn ang="0">
                  <a:pos x="6" y="42"/>
                </a:cxn>
                <a:cxn ang="0">
                  <a:pos x="12" y="42"/>
                </a:cxn>
                <a:cxn ang="0">
                  <a:pos x="20" y="39"/>
                </a:cxn>
                <a:cxn ang="0">
                  <a:pos x="29" y="35"/>
                </a:cxn>
                <a:cxn ang="0">
                  <a:pos x="37" y="27"/>
                </a:cxn>
                <a:cxn ang="0">
                  <a:pos x="43" y="17"/>
                </a:cxn>
                <a:cxn ang="0">
                  <a:pos x="45" y="2"/>
                </a:cxn>
                <a:cxn ang="0">
                  <a:pos x="43" y="0"/>
                </a:cxn>
                <a:cxn ang="0">
                  <a:pos x="37" y="2"/>
                </a:cxn>
                <a:cxn ang="0">
                  <a:pos x="29" y="3"/>
                </a:cxn>
                <a:cxn ang="0">
                  <a:pos x="19" y="7"/>
                </a:cxn>
                <a:cxn ang="0">
                  <a:pos x="11" y="14"/>
                </a:cxn>
                <a:cxn ang="0">
                  <a:pos x="4" y="23"/>
                </a:cxn>
                <a:cxn ang="0">
                  <a:pos x="0" y="39"/>
                </a:cxn>
                <a:cxn ang="0">
                  <a:pos x="0" y="139"/>
                </a:cxn>
                <a:cxn ang="0">
                  <a:pos x="3" y="139"/>
                </a:cxn>
                <a:cxn ang="0">
                  <a:pos x="3" y="42"/>
                </a:cxn>
              </a:cxnLst>
              <a:rect l="0" t="0" r="r" b="b"/>
              <a:pathLst>
                <a:path w="45" h="139">
                  <a:moveTo>
                    <a:pt x="3" y="42"/>
                  </a:moveTo>
                  <a:lnTo>
                    <a:pt x="6" y="42"/>
                  </a:lnTo>
                  <a:lnTo>
                    <a:pt x="12" y="42"/>
                  </a:lnTo>
                  <a:lnTo>
                    <a:pt x="20" y="39"/>
                  </a:lnTo>
                  <a:lnTo>
                    <a:pt x="29" y="35"/>
                  </a:lnTo>
                  <a:lnTo>
                    <a:pt x="37" y="27"/>
                  </a:lnTo>
                  <a:lnTo>
                    <a:pt x="43" y="17"/>
                  </a:lnTo>
                  <a:lnTo>
                    <a:pt x="45" y="2"/>
                  </a:lnTo>
                  <a:lnTo>
                    <a:pt x="43" y="0"/>
                  </a:lnTo>
                  <a:lnTo>
                    <a:pt x="37" y="2"/>
                  </a:lnTo>
                  <a:lnTo>
                    <a:pt x="29" y="3"/>
                  </a:lnTo>
                  <a:lnTo>
                    <a:pt x="19" y="7"/>
                  </a:lnTo>
                  <a:lnTo>
                    <a:pt x="11" y="14"/>
                  </a:lnTo>
                  <a:lnTo>
                    <a:pt x="4" y="23"/>
                  </a:lnTo>
                  <a:lnTo>
                    <a:pt x="0" y="39"/>
                  </a:lnTo>
                  <a:lnTo>
                    <a:pt x="0" y="139"/>
                  </a:lnTo>
                  <a:lnTo>
                    <a:pt x="3" y="139"/>
                  </a:lnTo>
                  <a:lnTo>
                    <a:pt x="3" y="4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4" name="Freeform 10"/>
            <p:cNvSpPr>
              <a:spLocks/>
            </p:cNvSpPr>
            <p:nvPr/>
          </p:nvSpPr>
          <p:spPr bwMode="gray">
            <a:xfrm>
              <a:off x="1765" y="378"/>
              <a:ext cx="146" cy="211"/>
            </a:xfrm>
            <a:custGeom>
              <a:avLst/>
              <a:gdLst/>
              <a:ahLst/>
              <a:cxnLst>
                <a:cxn ang="0">
                  <a:pos x="68" y="67"/>
                </a:cxn>
                <a:cxn ang="0">
                  <a:pos x="67" y="67"/>
                </a:cxn>
                <a:cxn ang="0">
                  <a:pos x="60" y="66"/>
                </a:cxn>
                <a:cxn ang="0">
                  <a:pos x="50" y="64"/>
                </a:cxn>
                <a:cxn ang="0">
                  <a:pos x="41" y="62"/>
                </a:cxn>
                <a:cxn ang="0">
                  <a:pos x="29" y="55"/>
                </a:cxn>
                <a:cxn ang="0">
                  <a:pos x="18" y="47"/>
                </a:cxn>
                <a:cxn ang="0">
                  <a:pos x="10" y="35"/>
                </a:cxn>
                <a:cxn ang="0">
                  <a:pos x="3" y="20"/>
                </a:cxn>
                <a:cxn ang="0">
                  <a:pos x="0" y="0"/>
                </a:cxn>
                <a:cxn ang="0">
                  <a:pos x="3" y="0"/>
                </a:cxn>
                <a:cxn ang="0">
                  <a:pos x="10" y="0"/>
                </a:cxn>
                <a:cxn ang="0">
                  <a:pos x="19" y="0"/>
                </a:cxn>
                <a:cxn ang="0">
                  <a:pos x="30" y="2"/>
                </a:cxn>
                <a:cxn ang="0">
                  <a:pos x="41" y="6"/>
                </a:cxn>
                <a:cxn ang="0">
                  <a:pos x="53" y="14"/>
                </a:cxn>
                <a:cxn ang="0">
                  <a:pos x="62" y="25"/>
                </a:cxn>
                <a:cxn ang="0">
                  <a:pos x="69" y="41"/>
                </a:cxn>
                <a:cxn ang="0">
                  <a:pos x="73" y="62"/>
                </a:cxn>
                <a:cxn ang="0">
                  <a:pos x="73" y="60"/>
                </a:cxn>
                <a:cxn ang="0">
                  <a:pos x="73" y="55"/>
                </a:cxn>
                <a:cxn ang="0">
                  <a:pos x="75" y="45"/>
                </a:cxn>
                <a:cxn ang="0">
                  <a:pos x="79" y="36"/>
                </a:cxn>
                <a:cxn ang="0">
                  <a:pos x="84" y="25"/>
                </a:cxn>
                <a:cxn ang="0">
                  <a:pos x="92" y="16"/>
                </a:cxn>
                <a:cxn ang="0">
                  <a:pos x="106" y="8"/>
                </a:cxn>
                <a:cxn ang="0">
                  <a:pos x="123" y="2"/>
                </a:cxn>
                <a:cxn ang="0">
                  <a:pos x="146" y="0"/>
                </a:cxn>
                <a:cxn ang="0">
                  <a:pos x="145" y="2"/>
                </a:cxn>
                <a:cxn ang="0">
                  <a:pos x="145" y="8"/>
                </a:cxn>
                <a:cxn ang="0">
                  <a:pos x="143" y="17"/>
                </a:cxn>
                <a:cxn ang="0">
                  <a:pos x="139" y="28"/>
                </a:cxn>
                <a:cxn ang="0">
                  <a:pos x="134" y="39"/>
                </a:cxn>
                <a:cxn ang="0">
                  <a:pos x="126" y="49"/>
                </a:cxn>
                <a:cxn ang="0">
                  <a:pos x="114" y="59"/>
                </a:cxn>
                <a:cxn ang="0">
                  <a:pos x="98" y="64"/>
                </a:cxn>
                <a:cxn ang="0">
                  <a:pos x="79" y="67"/>
                </a:cxn>
                <a:cxn ang="0">
                  <a:pos x="79" y="211"/>
                </a:cxn>
                <a:cxn ang="0">
                  <a:pos x="68" y="211"/>
                </a:cxn>
                <a:cxn ang="0">
                  <a:pos x="68" y="67"/>
                </a:cxn>
              </a:cxnLst>
              <a:rect l="0" t="0" r="r" b="b"/>
              <a:pathLst>
                <a:path w="146" h="211">
                  <a:moveTo>
                    <a:pt x="68" y="67"/>
                  </a:moveTo>
                  <a:lnTo>
                    <a:pt x="67" y="67"/>
                  </a:lnTo>
                  <a:lnTo>
                    <a:pt x="60" y="66"/>
                  </a:lnTo>
                  <a:lnTo>
                    <a:pt x="50" y="64"/>
                  </a:lnTo>
                  <a:lnTo>
                    <a:pt x="41" y="62"/>
                  </a:lnTo>
                  <a:lnTo>
                    <a:pt x="29" y="55"/>
                  </a:lnTo>
                  <a:lnTo>
                    <a:pt x="18" y="47"/>
                  </a:lnTo>
                  <a:lnTo>
                    <a:pt x="10" y="35"/>
                  </a:lnTo>
                  <a:lnTo>
                    <a:pt x="3" y="20"/>
                  </a:lnTo>
                  <a:lnTo>
                    <a:pt x="0" y="0"/>
                  </a:lnTo>
                  <a:lnTo>
                    <a:pt x="3" y="0"/>
                  </a:lnTo>
                  <a:lnTo>
                    <a:pt x="10" y="0"/>
                  </a:lnTo>
                  <a:lnTo>
                    <a:pt x="19" y="0"/>
                  </a:lnTo>
                  <a:lnTo>
                    <a:pt x="30" y="2"/>
                  </a:lnTo>
                  <a:lnTo>
                    <a:pt x="41" y="6"/>
                  </a:lnTo>
                  <a:lnTo>
                    <a:pt x="53" y="14"/>
                  </a:lnTo>
                  <a:lnTo>
                    <a:pt x="62" y="25"/>
                  </a:lnTo>
                  <a:lnTo>
                    <a:pt x="69" y="41"/>
                  </a:lnTo>
                  <a:lnTo>
                    <a:pt x="73" y="62"/>
                  </a:lnTo>
                  <a:lnTo>
                    <a:pt x="73" y="60"/>
                  </a:lnTo>
                  <a:lnTo>
                    <a:pt x="73" y="55"/>
                  </a:lnTo>
                  <a:lnTo>
                    <a:pt x="75" y="45"/>
                  </a:lnTo>
                  <a:lnTo>
                    <a:pt x="79" y="36"/>
                  </a:lnTo>
                  <a:lnTo>
                    <a:pt x="84" y="25"/>
                  </a:lnTo>
                  <a:lnTo>
                    <a:pt x="92" y="16"/>
                  </a:lnTo>
                  <a:lnTo>
                    <a:pt x="106" y="8"/>
                  </a:lnTo>
                  <a:lnTo>
                    <a:pt x="123" y="2"/>
                  </a:lnTo>
                  <a:lnTo>
                    <a:pt x="146" y="0"/>
                  </a:lnTo>
                  <a:lnTo>
                    <a:pt x="145" y="2"/>
                  </a:lnTo>
                  <a:lnTo>
                    <a:pt x="145" y="8"/>
                  </a:lnTo>
                  <a:lnTo>
                    <a:pt x="143" y="17"/>
                  </a:lnTo>
                  <a:lnTo>
                    <a:pt x="139" y="28"/>
                  </a:lnTo>
                  <a:lnTo>
                    <a:pt x="134" y="39"/>
                  </a:lnTo>
                  <a:lnTo>
                    <a:pt x="126" y="49"/>
                  </a:lnTo>
                  <a:lnTo>
                    <a:pt x="114" y="59"/>
                  </a:lnTo>
                  <a:lnTo>
                    <a:pt x="98" y="64"/>
                  </a:lnTo>
                  <a:lnTo>
                    <a:pt x="79" y="67"/>
                  </a:lnTo>
                  <a:lnTo>
                    <a:pt x="79" y="211"/>
                  </a:lnTo>
                  <a:lnTo>
                    <a:pt x="68" y="211"/>
                  </a:lnTo>
                  <a:lnTo>
                    <a:pt x="68"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5" name="Freeform 11"/>
            <p:cNvSpPr>
              <a:spLocks/>
            </p:cNvSpPr>
            <p:nvPr/>
          </p:nvSpPr>
          <p:spPr bwMode="gray">
            <a:xfrm>
              <a:off x="2792" y="378"/>
              <a:ext cx="144" cy="211"/>
            </a:xfrm>
            <a:custGeom>
              <a:avLst/>
              <a:gdLst/>
              <a:ahLst/>
              <a:cxnLst>
                <a:cxn ang="0">
                  <a:pos x="67" y="67"/>
                </a:cxn>
                <a:cxn ang="0">
                  <a:pos x="66" y="67"/>
                </a:cxn>
                <a:cxn ang="0">
                  <a:pos x="59" y="66"/>
                </a:cxn>
                <a:cxn ang="0">
                  <a:pos x="50" y="64"/>
                </a:cxn>
                <a:cxn ang="0">
                  <a:pos x="39" y="62"/>
                </a:cxn>
                <a:cxn ang="0">
                  <a:pos x="28" y="55"/>
                </a:cxn>
                <a:cxn ang="0">
                  <a:pos x="17" y="47"/>
                </a:cxn>
                <a:cxn ang="0">
                  <a:pos x="9" y="35"/>
                </a:cxn>
                <a:cxn ang="0">
                  <a:pos x="2" y="20"/>
                </a:cxn>
                <a:cxn ang="0">
                  <a:pos x="0" y="0"/>
                </a:cxn>
                <a:cxn ang="0">
                  <a:pos x="2" y="0"/>
                </a:cxn>
                <a:cxn ang="0">
                  <a:pos x="9" y="0"/>
                </a:cxn>
                <a:cxn ang="0">
                  <a:pos x="17" y="0"/>
                </a:cxn>
                <a:cxn ang="0">
                  <a:pos x="28" y="2"/>
                </a:cxn>
                <a:cxn ang="0">
                  <a:pos x="40" y="6"/>
                </a:cxn>
                <a:cxn ang="0">
                  <a:pos x="51" y="14"/>
                </a:cxn>
                <a:cxn ang="0">
                  <a:pos x="62" y="25"/>
                </a:cxn>
                <a:cxn ang="0">
                  <a:pos x="69" y="41"/>
                </a:cxn>
                <a:cxn ang="0">
                  <a:pos x="73" y="62"/>
                </a:cxn>
                <a:cxn ang="0">
                  <a:pos x="73" y="60"/>
                </a:cxn>
                <a:cxn ang="0">
                  <a:pos x="73" y="55"/>
                </a:cxn>
                <a:cxn ang="0">
                  <a:pos x="74" y="45"/>
                </a:cxn>
                <a:cxn ang="0">
                  <a:pos x="77" y="36"/>
                </a:cxn>
                <a:cxn ang="0">
                  <a:pos x="82" y="25"/>
                </a:cxn>
                <a:cxn ang="0">
                  <a:pos x="91" y="16"/>
                </a:cxn>
                <a:cxn ang="0">
                  <a:pos x="105" y="8"/>
                </a:cxn>
                <a:cxn ang="0">
                  <a:pos x="121" y="2"/>
                </a:cxn>
                <a:cxn ang="0">
                  <a:pos x="144" y="0"/>
                </a:cxn>
                <a:cxn ang="0">
                  <a:pos x="144" y="2"/>
                </a:cxn>
                <a:cxn ang="0">
                  <a:pos x="144" y="8"/>
                </a:cxn>
                <a:cxn ang="0">
                  <a:pos x="141" y="17"/>
                </a:cxn>
                <a:cxn ang="0">
                  <a:pos x="139" y="28"/>
                </a:cxn>
                <a:cxn ang="0">
                  <a:pos x="133" y="39"/>
                </a:cxn>
                <a:cxn ang="0">
                  <a:pos x="125" y="49"/>
                </a:cxn>
                <a:cxn ang="0">
                  <a:pos x="113" y="59"/>
                </a:cxn>
                <a:cxn ang="0">
                  <a:pos x="97" y="64"/>
                </a:cxn>
                <a:cxn ang="0">
                  <a:pos x="77" y="67"/>
                </a:cxn>
                <a:cxn ang="0">
                  <a:pos x="77" y="211"/>
                </a:cxn>
                <a:cxn ang="0">
                  <a:pos x="67" y="211"/>
                </a:cxn>
                <a:cxn ang="0">
                  <a:pos x="67" y="67"/>
                </a:cxn>
              </a:cxnLst>
              <a:rect l="0" t="0" r="r" b="b"/>
              <a:pathLst>
                <a:path w="144" h="211">
                  <a:moveTo>
                    <a:pt x="67" y="67"/>
                  </a:moveTo>
                  <a:lnTo>
                    <a:pt x="66" y="67"/>
                  </a:lnTo>
                  <a:lnTo>
                    <a:pt x="59" y="66"/>
                  </a:lnTo>
                  <a:lnTo>
                    <a:pt x="50" y="64"/>
                  </a:lnTo>
                  <a:lnTo>
                    <a:pt x="39" y="62"/>
                  </a:lnTo>
                  <a:lnTo>
                    <a:pt x="28" y="55"/>
                  </a:lnTo>
                  <a:lnTo>
                    <a:pt x="17" y="47"/>
                  </a:lnTo>
                  <a:lnTo>
                    <a:pt x="9" y="35"/>
                  </a:lnTo>
                  <a:lnTo>
                    <a:pt x="2" y="20"/>
                  </a:lnTo>
                  <a:lnTo>
                    <a:pt x="0" y="0"/>
                  </a:lnTo>
                  <a:lnTo>
                    <a:pt x="2" y="0"/>
                  </a:lnTo>
                  <a:lnTo>
                    <a:pt x="9" y="0"/>
                  </a:lnTo>
                  <a:lnTo>
                    <a:pt x="17" y="0"/>
                  </a:lnTo>
                  <a:lnTo>
                    <a:pt x="28" y="2"/>
                  </a:lnTo>
                  <a:lnTo>
                    <a:pt x="40" y="6"/>
                  </a:lnTo>
                  <a:lnTo>
                    <a:pt x="51" y="14"/>
                  </a:lnTo>
                  <a:lnTo>
                    <a:pt x="62" y="25"/>
                  </a:lnTo>
                  <a:lnTo>
                    <a:pt x="69" y="41"/>
                  </a:lnTo>
                  <a:lnTo>
                    <a:pt x="73" y="62"/>
                  </a:lnTo>
                  <a:lnTo>
                    <a:pt x="73" y="60"/>
                  </a:lnTo>
                  <a:lnTo>
                    <a:pt x="73" y="55"/>
                  </a:lnTo>
                  <a:lnTo>
                    <a:pt x="74" y="45"/>
                  </a:lnTo>
                  <a:lnTo>
                    <a:pt x="77" y="36"/>
                  </a:lnTo>
                  <a:lnTo>
                    <a:pt x="82" y="25"/>
                  </a:lnTo>
                  <a:lnTo>
                    <a:pt x="91" y="16"/>
                  </a:lnTo>
                  <a:lnTo>
                    <a:pt x="105" y="8"/>
                  </a:lnTo>
                  <a:lnTo>
                    <a:pt x="121" y="2"/>
                  </a:lnTo>
                  <a:lnTo>
                    <a:pt x="144" y="0"/>
                  </a:lnTo>
                  <a:lnTo>
                    <a:pt x="144" y="2"/>
                  </a:lnTo>
                  <a:lnTo>
                    <a:pt x="144" y="8"/>
                  </a:lnTo>
                  <a:lnTo>
                    <a:pt x="141" y="17"/>
                  </a:lnTo>
                  <a:lnTo>
                    <a:pt x="139" y="28"/>
                  </a:lnTo>
                  <a:lnTo>
                    <a:pt x="133" y="39"/>
                  </a:lnTo>
                  <a:lnTo>
                    <a:pt x="125" y="49"/>
                  </a:lnTo>
                  <a:lnTo>
                    <a:pt x="113" y="59"/>
                  </a:lnTo>
                  <a:lnTo>
                    <a:pt x="97" y="64"/>
                  </a:lnTo>
                  <a:lnTo>
                    <a:pt x="77" y="67"/>
                  </a:lnTo>
                  <a:lnTo>
                    <a:pt x="77" y="211"/>
                  </a:lnTo>
                  <a:lnTo>
                    <a:pt x="67" y="211"/>
                  </a:lnTo>
                  <a:lnTo>
                    <a:pt x="67"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6" name="Freeform 12"/>
            <p:cNvSpPr>
              <a:spLocks/>
            </p:cNvSpPr>
            <p:nvPr/>
          </p:nvSpPr>
          <p:spPr bwMode="gray">
            <a:xfrm>
              <a:off x="2631" y="457"/>
              <a:ext cx="89" cy="132"/>
            </a:xfrm>
            <a:custGeom>
              <a:avLst/>
              <a:gdLst/>
              <a:ahLst/>
              <a:cxnLst>
                <a:cxn ang="0">
                  <a:pos x="42" y="43"/>
                </a:cxn>
                <a:cxn ang="0">
                  <a:pos x="39" y="42"/>
                </a:cxn>
                <a:cxn ang="0">
                  <a:pos x="33" y="42"/>
                </a:cxn>
                <a:cxn ang="0">
                  <a:pos x="25" y="39"/>
                </a:cxn>
                <a:cxn ang="0">
                  <a:pos x="16" y="35"/>
                </a:cxn>
                <a:cxn ang="0">
                  <a:pos x="8" y="27"/>
                </a:cxn>
                <a:cxn ang="0">
                  <a:pos x="2" y="16"/>
                </a:cxn>
                <a:cxn ang="0">
                  <a:pos x="0" y="0"/>
                </a:cxn>
                <a:cxn ang="0">
                  <a:pos x="2" y="0"/>
                </a:cxn>
                <a:cxn ang="0">
                  <a:pos x="6" y="0"/>
                </a:cxn>
                <a:cxn ang="0">
                  <a:pos x="12" y="1"/>
                </a:cxn>
                <a:cxn ang="0">
                  <a:pos x="21" y="3"/>
                </a:cxn>
                <a:cxn ang="0">
                  <a:pos x="29" y="8"/>
                </a:cxn>
                <a:cxn ang="0">
                  <a:pos x="37" y="15"/>
                </a:cxn>
                <a:cxn ang="0">
                  <a:pos x="42" y="26"/>
                </a:cxn>
                <a:cxn ang="0">
                  <a:pos x="45" y="39"/>
                </a:cxn>
                <a:cxn ang="0">
                  <a:pos x="45" y="38"/>
                </a:cxn>
                <a:cxn ang="0">
                  <a:pos x="45" y="34"/>
                </a:cxn>
                <a:cxn ang="0">
                  <a:pos x="46" y="27"/>
                </a:cxn>
                <a:cxn ang="0">
                  <a:pos x="49" y="20"/>
                </a:cxn>
                <a:cxn ang="0">
                  <a:pos x="54" y="14"/>
                </a:cxn>
                <a:cxn ang="0">
                  <a:pos x="62" y="7"/>
                </a:cxn>
                <a:cxn ang="0">
                  <a:pos x="73" y="3"/>
                </a:cxn>
                <a:cxn ang="0">
                  <a:pos x="89" y="0"/>
                </a:cxn>
                <a:cxn ang="0">
                  <a:pos x="89" y="3"/>
                </a:cxn>
                <a:cxn ang="0">
                  <a:pos x="88" y="10"/>
                </a:cxn>
                <a:cxn ang="0">
                  <a:pos x="87" y="18"/>
                </a:cxn>
                <a:cxn ang="0">
                  <a:pos x="81" y="26"/>
                </a:cxn>
                <a:cxn ang="0">
                  <a:pos x="74" y="34"/>
                </a:cxn>
                <a:cxn ang="0">
                  <a:pos x="64" y="41"/>
                </a:cxn>
                <a:cxn ang="0">
                  <a:pos x="47" y="43"/>
                </a:cxn>
                <a:cxn ang="0">
                  <a:pos x="47" y="132"/>
                </a:cxn>
                <a:cxn ang="0">
                  <a:pos x="42" y="132"/>
                </a:cxn>
                <a:cxn ang="0">
                  <a:pos x="42" y="43"/>
                </a:cxn>
              </a:cxnLst>
              <a:rect l="0" t="0" r="r" b="b"/>
              <a:pathLst>
                <a:path w="89" h="132">
                  <a:moveTo>
                    <a:pt x="42" y="43"/>
                  </a:moveTo>
                  <a:lnTo>
                    <a:pt x="39" y="42"/>
                  </a:lnTo>
                  <a:lnTo>
                    <a:pt x="33" y="42"/>
                  </a:lnTo>
                  <a:lnTo>
                    <a:pt x="25" y="39"/>
                  </a:lnTo>
                  <a:lnTo>
                    <a:pt x="16" y="35"/>
                  </a:lnTo>
                  <a:lnTo>
                    <a:pt x="8" y="27"/>
                  </a:lnTo>
                  <a:lnTo>
                    <a:pt x="2" y="16"/>
                  </a:lnTo>
                  <a:lnTo>
                    <a:pt x="0" y="0"/>
                  </a:lnTo>
                  <a:lnTo>
                    <a:pt x="2" y="0"/>
                  </a:lnTo>
                  <a:lnTo>
                    <a:pt x="6" y="0"/>
                  </a:lnTo>
                  <a:lnTo>
                    <a:pt x="12" y="1"/>
                  </a:lnTo>
                  <a:lnTo>
                    <a:pt x="21" y="3"/>
                  </a:lnTo>
                  <a:lnTo>
                    <a:pt x="29" y="8"/>
                  </a:lnTo>
                  <a:lnTo>
                    <a:pt x="37" y="15"/>
                  </a:lnTo>
                  <a:lnTo>
                    <a:pt x="42" y="26"/>
                  </a:lnTo>
                  <a:lnTo>
                    <a:pt x="45" y="39"/>
                  </a:lnTo>
                  <a:lnTo>
                    <a:pt x="45" y="38"/>
                  </a:lnTo>
                  <a:lnTo>
                    <a:pt x="45" y="34"/>
                  </a:lnTo>
                  <a:lnTo>
                    <a:pt x="46" y="27"/>
                  </a:lnTo>
                  <a:lnTo>
                    <a:pt x="49" y="20"/>
                  </a:lnTo>
                  <a:lnTo>
                    <a:pt x="54" y="14"/>
                  </a:lnTo>
                  <a:lnTo>
                    <a:pt x="62" y="7"/>
                  </a:lnTo>
                  <a:lnTo>
                    <a:pt x="73" y="3"/>
                  </a:lnTo>
                  <a:lnTo>
                    <a:pt x="89" y="0"/>
                  </a:lnTo>
                  <a:lnTo>
                    <a:pt x="89" y="3"/>
                  </a:lnTo>
                  <a:lnTo>
                    <a:pt x="88" y="10"/>
                  </a:lnTo>
                  <a:lnTo>
                    <a:pt x="87" y="18"/>
                  </a:lnTo>
                  <a:lnTo>
                    <a:pt x="81" y="26"/>
                  </a:lnTo>
                  <a:lnTo>
                    <a:pt x="74" y="34"/>
                  </a:lnTo>
                  <a:lnTo>
                    <a:pt x="64" y="41"/>
                  </a:lnTo>
                  <a:lnTo>
                    <a:pt x="47" y="43"/>
                  </a:lnTo>
                  <a:lnTo>
                    <a:pt x="47" y="132"/>
                  </a:lnTo>
                  <a:lnTo>
                    <a:pt x="42" y="132"/>
                  </a:lnTo>
                  <a:lnTo>
                    <a:pt x="42"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7" name="Freeform 13"/>
            <p:cNvSpPr>
              <a:spLocks/>
            </p:cNvSpPr>
            <p:nvPr/>
          </p:nvSpPr>
          <p:spPr bwMode="gray">
            <a:xfrm>
              <a:off x="2430" y="403"/>
              <a:ext cx="88" cy="186"/>
            </a:xfrm>
            <a:custGeom>
              <a:avLst/>
              <a:gdLst/>
              <a:ahLst/>
              <a:cxnLst>
                <a:cxn ang="0">
                  <a:pos x="43" y="43"/>
                </a:cxn>
                <a:cxn ang="0">
                  <a:pos x="41" y="43"/>
                </a:cxn>
                <a:cxn ang="0">
                  <a:pos x="35" y="43"/>
                </a:cxn>
                <a:cxn ang="0">
                  <a:pos x="27" y="41"/>
                </a:cxn>
                <a:cxn ang="0">
                  <a:pos x="18" y="35"/>
                </a:cxn>
                <a:cxn ang="0">
                  <a:pos x="8" y="28"/>
                </a:cxn>
                <a:cxn ang="0">
                  <a:pos x="3" y="16"/>
                </a:cxn>
                <a:cxn ang="0">
                  <a:pos x="0" y="0"/>
                </a:cxn>
                <a:cxn ang="0">
                  <a:pos x="3" y="0"/>
                </a:cxn>
                <a:cxn ang="0">
                  <a:pos x="8" y="0"/>
                </a:cxn>
                <a:cxn ang="0">
                  <a:pos x="17" y="1"/>
                </a:cxn>
                <a:cxn ang="0">
                  <a:pos x="26" y="6"/>
                </a:cxn>
                <a:cxn ang="0">
                  <a:pos x="35" y="12"/>
                </a:cxn>
                <a:cxn ang="0">
                  <a:pos x="42" y="24"/>
                </a:cxn>
                <a:cxn ang="0">
                  <a:pos x="48" y="41"/>
                </a:cxn>
                <a:cxn ang="0">
                  <a:pos x="48" y="90"/>
                </a:cxn>
                <a:cxn ang="0">
                  <a:pos x="48" y="88"/>
                </a:cxn>
                <a:cxn ang="0">
                  <a:pos x="48" y="82"/>
                </a:cxn>
                <a:cxn ang="0">
                  <a:pos x="50" y="74"/>
                </a:cxn>
                <a:cxn ang="0">
                  <a:pos x="54" y="66"/>
                </a:cxn>
                <a:cxn ang="0">
                  <a:pos x="61" y="58"/>
                </a:cxn>
                <a:cxn ang="0">
                  <a:pos x="72" y="53"/>
                </a:cxn>
                <a:cxn ang="0">
                  <a:pos x="87" y="50"/>
                </a:cxn>
                <a:cxn ang="0">
                  <a:pos x="88" y="51"/>
                </a:cxn>
                <a:cxn ang="0">
                  <a:pos x="88" y="57"/>
                </a:cxn>
                <a:cxn ang="0">
                  <a:pos x="87" y="64"/>
                </a:cxn>
                <a:cxn ang="0">
                  <a:pos x="84" y="72"/>
                </a:cxn>
                <a:cxn ang="0">
                  <a:pos x="80" y="80"/>
                </a:cxn>
                <a:cxn ang="0">
                  <a:pos x="73" y="86"/>
                </a:cxn>
                <a:cxn ang="0">
                  <a:pos x="62" y="92"/>
                </a:cxn>
                <a:cxn ang="0">
                  <a:pos x="48" y="93"/>
                </a:cxn>
                <a:cxn ang="0">
                  <a:pos x="48" y="186"/>
                </a:cxn>
                <a:cxn ang="0">
                  <a:pos x="43" y="186"/>
                </a:cxn>
                <a:cxn ang="0">
                  <a:pos x="43" y="143"/>
                </a:cxn>
                <a:cxn ang="0">
                  <a:pos x="42" y="143"/>
                </a:cxn>
                <a:cxn ang="0">
                  <a:pos x="37" y="142"/>
                </a:cxn>
                <a:cxn ang="0">
                  <a:pos x="29" y="140"/>
                </a:cxn>
                <a:cxn ang="0">
                  <a:pos x="22" y="136"/>
                </a:cxn>
                <a:cxn ang="0">
                  <a:pos x="14" y="130"/>
                </a:cxn>
                <a:cxn ang="0">
                  <a:pos x="8" y="120"/>
                </a:cxn>
                <a:cxn ang="0">
                  <a:pos x="7" y="105"/>
                </a:cxn>
                <a:cxn ang="0">
                  <a:pos x="8" y="105"/>
                </a:cxn>
                <a:cxn ang="0">
                  <a:pos x="12" y="107"/>
                </a:cxn>
                <a:cxn ang="0">
                  <a:pos x="19" y="108"/>
                </a:cxn>
                <a:cxn ang="0">
                  <a:pos x="26" y="111"/>
                </a:cxn>
                <a:cxn ang="0">
                  <a:pos x="34" y="117"/>
                </a:cxn>
                <a:cxn ang="0">
                  <a:pos x="39" y="127"/>
                </a:cxn>
                <a:cxn ang="0">
                  <a:pos x="43" y="140"/>
                </a:cxn>
                <a:cxn ang="0">
                  <a:pos x="43" y="43"/>
                </a:cxn>
              </a:cxnLst>
              <a:rect l="0" t="0" r="r" b="b"/>
              <a:pathLst>
                <a:path w="88" h="186">
                  <a:moveTo>
                    <a:pt x="43" y="43"/>
                  </a:moveTo>
                  <a:lnTo>
                    <a:pt x="41" y="43"/>
                  </a:lnTo>
                  <a:lnTo>
                    <a:pt x="35" y="43"/>
                  </a:lnTo>
                  <a:lnTo>
                    <a:pt x="27" y="41"/>
                  </a:lnTo>
                  <a:lnTo>
                    <a:pt x="18" y="35"/>
                  </a:lnTo>
                  <a:lnTo>
                    <a:pt x="8" y="28"/>
                  </a:lnTo>
                  <a:lnTo>
                    <a:pt x="3" y="16"/>
                  </a:lnTo>
                  <a:lnTo>
                    <a:pt x="0" y="0"/>
                  </a:lnTo>
                  <a:lnTo>
                    <a:pt x="3" y="0"/>
                  </a:lnTo>
                  <a:lnTo>
                    <a:pt x="8" y="0"/>
                  </a:lnTo>
                  <a:lnTo>
                    <a:pt x="17" y="1"/>
                  </a:lnTo>
                  <a:lnTo>
                    <a:pt x="26" y="6"/>
                  </a:lnTo>
                  <a:lnTo>
                    <a:pt x="35" y="12"/>
                  </a:lnTo>
                  <a:lnTo>
                    <a:pt x="42" y="24"/>
                  </a:lnTo>
                  <a:lnTo>
                    <a:pt x="48" y="41"/>
                  </a:lnTo>
                  <a:lnTo>
                    <a:pt x="48" y="90"/>
                  </a:lnTo>
                  <a:lnTo>
                    <a:pt x="48" y="88"/>
                  </a:lnTo>
                  <a:lnTo>
                    <a:pt x="48" y="82"/>
                  </a:lnTo>
                  <a:lnTo>
                    <a:pt x="50" y="74"/>
                  </a:lnTo>
                  <a:lnTo>
                    <a:pt x="54" y="66"/>
                  </a:lnTo>
                  <a:lnTo>
                    <a:pt x="61" y="58"/>
                  </a:lnTo>
                  <a:lnTo>
                    <a:pt x="72" y="53"/>
                  </a:lnTo>
                  <a:lnTo>
                    <a:pt x="87" y="50"/>
                  </a:lnTo>
                  <a:lnTo>
                    <a:pt x="88" y="51"/>
                  </a:lnTo>
                  <a:lnTo>
                    <a:pt x="88" y="57"/>
                  </a:lnTo>
                  <a:lnTo>
                    <a:pt x="87" y="64"/>
                  </a:lnTo>
                  <a:lnTo>
                    <a:pt x="84" y="72"/>
                  </a:lnTo>
                  <a:lnTo>
                    <a:pt x="80" y="80"/>
                  </a:lnTo>
                  <a:lnTo>
                    <a:pt x="73" y="86"/>
                  </a:lnTo>
                  <a:lnTo>
                    <a:pt x="62" y="92"/>
                  </a:lnTo>
                  <a:lnTo>
                    <a:pt x="48" y="93"/>
                  </a:lnTo>
                  <a:lnTo>
                    <a:pt x="48" y="186"/>
                  </a:lnTo>
                  <a:lnTo>
                    <a:pt x="43" y="186"/>
                  </a:lnTo>
                  <a:lnTo>
                    <a:pt x="43" y="143"/>
                  </a:lnTo>
                  <a:lnTo>
                    <a:pt x="42" y="143"/>
                  </a:lnTo>
                  <a:lnTo>
                    <a:pt x="37" y="142"/>
                  </a:lnTo>
                  <a:lnTo>
                    <a:pt x="29" y="140"/>
                  </a:lnTo>
                  <a:lnTo>
                    <a:pt x="22" y="136"/>
                  </a:lnTo>
                  <a:lnTo>
                    <a:pt x="14" y="130"/>
                  </a:lnTo>
                  <a:lnTo>
                    <a:pt x="8" y="120"/>
                  </a:lnTo>
                  <a:lnTo>
                    <a:pt x="7" y="105"/>
                  </a:lnTo>
                  <a:lnTo>
                    <a:pt x="8" y="105"/>
                  </a:lnTo>
                  <a:lnTo>
                    <a:pt x="12" y="107"/>
                  </a:lnTo>
                  <a:lnTo>
                    <a:pt x="19" y="108"/>
                  </a:lnTo>
                  <a:lnTo>
                    <a:pt x="26" y="111"/>
                  </a:lnTo>
                  <a:lnTo>
                    <a:pt x="34" y="117"/>
                  </a:lnTo>
                  <a:lnTo>
                    <a:pt x="39" y="127"/>
                  </a:lnTo>
                  <a:lnTo>
                    <a:pt x="43" y="140"/>
                  </a:lnTo>
                  <a:lnTo>
                    <a:pt x="43"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8" name="Freeform 14"/>
            <p:cNvSpPr>
              <a:spLocks/>
            </p:cNvSpPr>
            <p:nvPr/>
          </p:nvSpPr>
          <p:spPr bwMode="gray">
            <a:xfrm>
              <a:off x="1914" y="233"/>
              <a:ext cx="166" cy="356"/>
            </a:xfrm>
            <a:custGeom>
              <a:avLst/>
              <a:gdLst/>
              <a:ahLst/>
              <a:cxnLst>
                <a:cxn ang="0">
                  <a:pos x="85" y="84"/>
                </a:cxn>
                <a:cxn ang="0">
                  <a:pos x="101" y="81"/>
                </a:cxn>
                <a:cxn ang="0">
                  <a:pos x="124" y="73"/>
                </a:cxn>
                <a:cxn ang="0">
                  <a:pos x="148" y="56"/>
                </a:cxn>
                <a:cxn ang="0">
                  <a:pos x="163" y="23"/>
                </a:cxn>
                <a:cxn ang="0">
                  <a:pos x="163" y="0"/>
                </a:cxn>
                <a:cxn ang="0">
                  <a:pos x="148" y="0"/>
                </a:cxn>
                <a:cxn ang="0">
                  <a:pos x="125" y="6"/>
                </a:cxn>
                <a:cxn ang="0">
                  <a:pos x="101" y="22"/>
                </a:cxn>
                <a:cxn ang="0">
                  <a:pos x="82" y="54"/>
                </a:cxn>
                <a:cxn ang="0">
                  <a:pos x="77" y="173"/>
                </a:cxn>
                <a:cxn ang="0">
                  <a:pos x="77" y="165"/>
                </a:cxn>
                <a:cxn ang="0">
                  <a:pos x="71" y="146"/>
                </a:cxn>
                <a:cxn ang="0">
                  <a:pos x="60" y="123"/>
                </a:cxn>
                <a:cxn ang="0">
                  <a:pos x="38" y="104"/>
                </a:cxn>
                <a:cxn ang="0">
                  <a:pos x="0" y="96"/>
                </a:cxn>
                <a:cxn ang="0">
                  <a:pos x="0" y="103"/>
                </a:cxn>
                <a:cxn ang="0">
                  <a:pos x="0" y="120"/>
                </a:cxn>
                <a:cxn ang="0">
                  <a:pos x="8" y="143"/>
                </a:cxn>
                <a:cxn ang="0">
                  <a:pos x="24" y="163"/>
                </a:cxn>
                <a:cxn ang="0">
                  <a:pos x="55" y="177"/>
                </a:cxn>
                <a:cxn ang="0">
                  <a:pos x="77" y="356"/>
                </a:cxn>
                <a:cxn ang="0">
                  <a:pos x="82" y="274"/>
                </a:cxn>
                <a:cxn ang="0">
                  <a:pos x="91" y="273"/>
                </a:cxn>
                <a:cxn ang="0">
                  <a:pos x="112" y="267"/>
                </a:cxn>
                <a:cxn ang="0">
                  <a:pos x="135" y="252"/>
                </a:cxn>
                <a:cxn ang="0">
                  <a:pos x="151" y="224"/>
                </a:cxn>
                <a:cxn ang="0">
                  <a:pos x="152" y="203"/>
                </a:cxn>
                <a:cxn ang="0">
                  <a:pos x="137" y="204"/>
                </a:cxn>
                <a:cxn ang="0">
                  <a:pos x="117" y="211"/>
                </a:cxn>
                <a:cxn ang="0">
                  <a:pos x="97" y="231"/>
                </a:cxn>
                <a:cxn ang="0">
                  <a:pos x="82" y="267"/>
                </a:cxn>
              </a:cxnLst>
              <a:rect l="0" t="0" r="r" b="b"/>
              <a:pathLst>
                <a:path w="166" h="356">
                  <a:moveTo>
                    <a:pt x="82" y="84"/>
                  </a:moveTo>
                  <a:lnTo>
                    <a:pt x="85" y="84"/>
                  </a:lnTo>
                  <a:lnTo>
                    <a:pt x="91" y="84"/>
                  </a:lnTo>
                  <a:lnTo>
                    <a:pt x="101" y="81"/>
                  </a:lnTo>
                  <a:lnTo>
                    <a:pt x="112" y="78"/>
                  </a:lnTo>
                  <a:lnTo>
                    <a:pt x="124" y="73"/>
                  </a:lnTo>
                  <a:lnTo>
                    <a:pt x="136" y="66"/>
                  </a:lnTo>
                  <a:lnTo>
                    <a:pt x="148" y="56"/>
                  </a:lnTo>
                  <a:lnTo>
                    <a:pt x="156" y="42"/>
                  </a:lnTo>
                  <a:lnTo>
                    <a:pt x="163" y="23"/>
                  </a:lnTo>
                  <a:lnTo>
                    <a:pt x="166" y="2"/>
                  </a:lnTo>
                  <a:lnTo>
                    <a:pt x="163" y="0"/>
                  </a:lnTo>
                  <a:lnTo>
                    <a:pt x="158" y="0"/>
                  </a:lnTo>
                  <a:lnTo>
                    <a:pt x="148" y="0"/>
                  </a:lnTo>
                  <a:lnTo>
                    <a:pt x="137" y="3"/>
                  </a:lnTo>
                  <a:lnTo>
                    <a:pt x="125" y="6"/>
                  </a:lnTo>
                  <a:lnTo>
                    <a:pt x="113" y="12"/>
                  </a:lnTo>
                  <a:lnTo>
                    <a:pt x="101" y="22"/>
                  </a:lnTo>
                  <a:lnTo>
                    <a:pt x="90" y="35"/>
                  </a:lnTo>
                  <a:lnTo>
                    <a:pt x="82" y="54"/>
                  </a:lnTo>
                  <a:lnTo>
                    <a:pt x="77" y="78"/>
                  </a:lnTo>
                  <a:lnTo>
                    <a:pt x="77" y="173"/>
                  </a:lnTo>
                  <a:lnTo>
                    <a:pt x="77" y="170"/>
                  </a:lnTo>
                  <a:lnTo>
                    <a:pt x="77" y="165"/>
                  </a:lnTo>
                  <a:lnTo>
                    <a:pt x="74" y="157"/>
                  </a:lnTo>
                  <a:lnTo>
                    <a:pt x="71" y="146"/>
                  </a:lnTo>
                  <a:lnTo>
                    <a:pt x="67" y="134"/>
                  </a:lnTo>
                  <a:lnTo>
                    <a:pt x="60" y="123"/>
                  </a:lnTo>
                  <a:lnTo>
                    <a:pt x="50" y="112"/>
                  </a:lnTo>
                  <a:lnTo>
                    <a:pt x="38" y="104"/>
                  </a:lnTo>
                  <a:lnTo>
                    <a:pt x="20" y="97"/>
                  </a:lnTo>
                  <a:lnTo>
                    <a:pt x="0" y="96"/>
                  </a:lnTo>
                  <a:lnTo>
                    <a:pt x="0" y="97"/>
                  </a:lnTo>
                  <a:lnTo>
                    <a:pt x="0" y="103"/>
                  </a:lnTo>
                  <a:lnTo>
                    <a:pt x="0" y="111"/>
                  </a:lnTo>
                  <a:lnTo>
                    <a:pt x="0" y="120"/>
                  </a:lnTo>
                  <a:lnTo>
                    <a:pt x="2" y="131"/>
                  </a:lnTo>
                  <a:lnTo>
                    <a:pt x="8" y="143"/>
                  </a:lnTo>
                  <a:lnTo>
                    <a:pt x="15" y="154"/>
                  </a:lnTo>
                  <a:lnTo>
                    <a:pt x="24" y="163"/>
                  </a:lnTo>
                  <a:lnTo>
                    <a:pt x="38" y="171"/>
                  </a:lnTo>
                  <a:lnTo>
                    <a:pt x="55" y="177"/>
                  </a:lnTo>
                  <a:lnTo>
                    <a:pt x="77" y="178"/>
                  </a:lnTo>
                  <a:lnTo>
                    <a:pt x="77" y="356"/>
                  </a:lnTo>
                  <a:lnTo>
                    <a:pt x="82" y="356"/>
                  </a:lnTo>
                  <a:lnTo>
                    <a:pt x="82" y="274"/>
                  </a:lnTo>
                  <a:lnTo>
                    <a:pt x="85" y="273"/>
                  </a:lnTo>
                  <a:lnTo>
                    <a:pt x="91" y="273"/>
                  </a:lnTo>
                  <a:lnTo>
                    <a:pt x="101" y="271"/>
                  </a:lnTo>
                  <a:lnTo>
                    <a:pt x="112" y="267"/>
                  </a:lnTo>
                  <a:lnTo>
                    <a:pt x="124" y="262"/>
                  </a:lnTo>
                  <a:lnTo>
                    <a:pt x="135" y="252"/>
                  </a:lnTo>
                  <a:lnTo>
                    <a:pt x="144" y="240"/>
                  </a:lnTo>
                  <a:lnTo>
                    <a:pt x="151" y="224"/>
                  </a:lnTo>
                  <a:lnTo>
                    <a:pt x="154" y="203"/>
                  </a:lnTo>
                  <a:lnTo>
                    <a:pt x="152" y="203"/>
                  </a:lnTo>
                  <a:lnTo>
                    <a:pt x="145" y="203"/>
                  </a:lnTo>
                  <a:lnTo>
                    <a:pt x="137" y="204"/>
                  </a:lnTo>
                  <a:lnTo>
                    <a:pt x="128" y="207"/>
                  </a:lnTo>
                  <a:lnTo>
                    <a:pt x="117" y="211"/>
                  </a:lnTo>
                  <a:lnTo>
                    <a:pt x="106" y="219"/>
                  </a:lnTo>
                  <a:lnTo>
                    <a:pt x="97" y="231"/>
                  </a:lnTo>
                  <a:lnTo>
                    <a:pt x="89" y="247"/>
                  </a:lnTo>
                  <a:lnTo>
                    <a:pt x="82" y="267"/>
                  </a:lnTo>
                  <a:lnTo>
                    <a:pt x="82" y="84"/>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9" name="Freeform 15"/>
            <p:cNvSpPr>
              <a:spLocks/>
            </p:cNvSpPr>
            <p:nvPr/>
          </p:nvSpPr>
          <p:spPr bwMode="gray">
            <a:xfrm>
              <a:off x="2514" y="379"/>
              <a:ext cx="92" cy="210"/>
            </a:xfrm>
            <a:custGeom>
              <a:avLst/>
              <a:gdLst/>
              <a:ahLst/>
              <a:cxnLst>
                <a:cxn ang="0">
                  <a:pos x="43" y="162"/>
                </a:cxn>
                <a:cxn ang="0">
                  <a:pos x="36" y="160"/>
                </a:cxn>
                <a:cxn ang="0">
                  <a:pos x="23" y="155"/>
                </a:cxn>
                <a:cxn ang="0">
                  <a:pos x="12" y="141"/>
                </a:cxn>
                <a:cxn ang="0">
                  <a:pos x="12" y="129"/>
                </a:cxn>
                <a:cxn ang="0">
                  <a:pos x="23" y="132"/>
                </a:cxn>
                <a:cxn ang="0">
                  <a:pos x="38" y="145"/>
                </a:cxn>
                <a:cxn ang="0">
                  <a:pos x="43" y="108"/>
                </a:cxn>
                <a:cxn ang="0">
                  <a:pos x="35" y="106"/>
                </a:cxn>
                <a:cxn ang="0">
                  <a:pos x="20" y="101"/>
                </a:cxn>
                <a:cxn ang="0">
                  <a:pos x="7" y="83"/>
                </a:cxn>
                <a:cxn ang="0">
                  <a:pos x="7" y="70"/>
                </a:cxn>
                <a:cxn ang="0">
                  <a:pos x="17" y="71"/>
                </a:cxn>
                <a:cxn ang="0">
                  <a:pos x="31" y="81"/>
                </a:cxn>
                <a:cxn ang="0">
                  <a:pos x="43" y="105"/>
                </a:cxn>
                <a:cxn ang="0">
                  <a:pos x="40" y="43"/>
                </a:cxn>
                <a:cxn ang="0">
                  <a:pos x="26" y="39"/>
                </a:cxn>
                <a:cxn ang="0">
                  <a:pos x="8" y="27"/>
                </a:cxn>
                <a:cxn ang="0">
                  <a:pos x="0" y="0"/>
                </a:cxn>
                <a:cxn ang="0">
                  <a:pos x="7" y="0"/>
                </a:cxn>
                <a:cxn ang="0">
                  <a:pos x="23" y="5"/>
                </a:cxn>
                <a:cxn ang="0">
                  <a:pos x="39" y="23"/>
                </a:cxn>
                <a:cxn ang="0">
                  <a:pos x="46" y="38"/>
                </a:cxn>
                <a:cxn ang="0">
                  <a:pos x="51" y="24"/>
                </a:cxn>
                <a:cxn ang="0">
                  <a:pos x="66" y="8"/>
                </a:cxn>
                <a:cxn ang="0">
                  <a:pos x="92" y="0"/>
                </a:cxn>
                <a:cxn ang="0">
                  <a:pos x="90" y="8"/>
                </a:cxn>
                <a:cxn ang="0">
                  <a:pos x="82" y="25"/>
                </a:cxn>
                <a:cxn ang="0">
                  <a:pos x="63" y="40"/>
                </a:cxn>
                <a:cxn ang="0">
                  <a:pos x="49" y="124"/>
                </a:cxn>
                <a:cxn ang="0">
                  <a:pos x="50" y="116"/>
                </a:cxn>
                <a:cxn ang="0">
                  <a:pos x="59" y="100"/>
                </a:cxn>
                <a:cxn ang="0">
                  <a:pos x="81" y="92"/>
                </a:cxn>
                <a:cxn ang="0">
                  <a:pos x="80" y="98"/>
                </a:cxn>
                <a:cxn ang="0">
                  <a:pos x="73" y="114"/>
                </a:cxn>
                <a:cxn ang="0">
                  <a:pos x="59" y="127"/>
                </a:cxn>
                <a:cxn ang="0">
                  <a:pos x="49" y="210"/>
                </a:cxn>
              </a:cxnLst>
              <a:rect l="0" t="0" r="r" b="b"/>
              <a:pathLst>
                <a:path w="92" h="210">
                  <a:moveTo>
                    <a:pt x="43" y="210"/>
                  </a:moveTo>
                  <a:lnTo>
                    <a:pt x="43" y="162"/>
                  </a:lnTo>
                  <a:lnTo>
                    <a:pt x="40" y="162"/>
                  </a:lnTo>
                  <a:lnTo>
                    <a:pt x="36" y="160"/>
                  </a:lnTo>
                  <a:lnTo>
                    <a:pt x="30" y="159"/>
                  </a:lnTo>
                  <a:lnTo>
                    <a:pt x="23" y="155"/>
                  </a:lnTo>
                  <a:lnTo>
                    <a:pt x="16" y="150"/>
                  </a:lnTo>
                  <a:lnTo>
                    <a:pt x="12" y="141"/>
                  </a:lnTo>
                  <a:lnTo>
                    <a:pt x="11" y="129"/>
                  </a:lnTo>
                  <a:lnTo>
                    <a:pt x="12" y="129"/>
                  </a:lnTo>
                  <a:lnTo>
                    <a:pt x="16" y="129"/>
                  </a:lnTo>
                  <a:lnTo>
                    <a:pt x="23" y="132"/>
                  </a:lnTo>
                  <a:lnTo>
                    <a:pt x="31" y="137"/>
                  </a:lnTo>
                  <a:lnTo>
                    <a:pt x="38" y="145"/>
                  </a:lnTo>
                  <a:lnTo>
                    <a:pt x="43" y="159"/>
                  </a:lnTo>
                  <a:lnTo>
                    <a:pt x="43" y="108"/>
                  </a:lnTo>
                  <a:lnTo>
                    <a:pt x="40" y="108"/>
                  </a:lnTo>
                  <a:lnTo>
                    <a:pt x="35" y="106"/>
                  </a:lnTo>
                  <a:lnTo>
                    <a:pt x="28" y="105"/>
                  </a:lnTo>
                  <a:lnTo>
                    <a:pt x="20" y="101"/>
                  </a:lnTo>
                  <a:lnTo>
                    <a:pt x="12" y="94"/>
                  </a:lnTo>
                  <a:lnTo>
                    <a:pt x="7" y="83"/>
                  </a:lnTo>
                  <a:lnTo>
                    <a:pt x="5" y="70"/>
                  </a:lnTo>
                  <a:lnTo>
                    <a:pt x="7" y="70"/>
                  </a:lnTo>
                  <a:lnTo>
                    <a:pt x="11" y="70"/>
                  </a:lnTo>
                  <a:lnTo>
                    <a:pt x="17" y="71"/>
                  </a:lnTo>
                  <a:lnTo>
                    <a:pt x="24" y="74"/>
                  </a:lnTo>
                  <a:lnTo>
                    <a:pt x="31" y="81"/>
                  </a:lnTo>
                  <a:lnTo>
                    <a:pt x="38" y="90"/>
                  </a:lnTo>
                  <a:lnTo>
                    <a:pt x="43" y="105"/>
                  </a:lnTo>
                  <a:lnTo>
                    <a:pt x="43" y="43"/>
                  </a:lnTo>
                  <a:lnTo>
                    <a:pt x="40" y="43"/>
                  </a:lnTo>
                  <a:lnTo>
                    <a:pt x="34" y="42"/>
                  </a:lnTo>
                  <a:lnTo>
                    <a:pt x="26" y="39"/>
                  </a:lnTo>
                  <a:lnTo>
                    <a:pt x="16" y="35"/>
                  </a:lnTo>
                  <a:lnTo>
                    <a:pt x="8" y="27"/>
                  </a:lnTo>
                  <a:lnTo>
                    <a:pt x="1" y="16"/>
                  </a:lnTo>
                  <a:lnTo>
                    <a:pt x="0" y="0"/>
                  </a:lnTo>
                  <a:lnTo>
                    <a:pt x="1" y="0"/>
                  </a:lnTo>
                  <a:lnTo>
                    <a:pt x="7" y="0"/>
                  </a:lnTo>
                  <a:lnTo>
                    <a:pt x="13" y="1"/>
                  </a:lnTo>
                  <a:lnTo>
                    <a:pt x="23" y="5"/>
                  </a:lnTo>
                  <a:lnTo>
                    <a:pt x="31" y="12"/>
                  </a:lnTo>
                  <a:lnTo>
                    <a:pt x="39" y="23"/>
                  </a:lnTo>
                  <a:lnTo>
                    <a:pt x="46" y="40"/>
                  </a:lnTo>
                  <a:lnTo>
                    <a:pt x="46" y="38"/>
                  </a:lnTo>
                  <a:lnTo>
                    <a:pt x="49" y="32"/>
                  </a:lnTo>
                  <a:lnTo>
                    <a:pt x="51" y="24"/>
                  </a:lnTo>
                  <a:lnTo>
                    <a:pt x="58" y="15"/>
                  </a:lnTo>
                  <a:lnTo>
                    <a:pt x="66" y="8"/>
                  </a:lnTo>
                  <a:lnTo>
                    <a:pt x="77" y="1"/>
                  </a:lnTo>
                  <a:lnTo>
                    <a:pt x="92" y="0"/>
                  </a:lnTo>
                  <a:lnTo>
                    <a:pt x="92" y="1"/>
                  </a:lnTo>
                  <a:lnTo>
                    <a:pt x="90" y="8"/>
                  </a:lnTo>
                  <a:lnTo>
                    <a:pt x="88" y="16"/>
                  </a:lnTo>
                  <a:lnTo>
                    <a:pt x="82" y="25"/>
                  </a:lnTo>
                  <a:lnTo>
                    <a:pt x="74" y="34"/>
                  </a:lnTo>
                  <a:lnTo>
                    <a:pt x="63" y="40"/>
                  </a:lnTo>
                  <a:lnTo>
                    <a:pt x="49" y="43"/>
                  </a:lnTo>
                  <a:lnTo>
                    <a:pt x="49" y="124"/>
                  </a:lnTo>
                  <a:lnTo>
                    <a:pt x="49" y="121"/>
                  </a:lnTo>
                  <a:lnTo>
                    <a:pt x="50" y="116"/>
                  </a:lnTo>
                  <a:lnTo>
                    <a:pt x="53" y="108"/>
                  </a:lnTo>
                  <a:lnTo>
                    <a:pt x="59" y="100"/>
                  </a:lnTo>
                  <a:lnTo>
                    <a:pt x="67" y="94"/>
                  </a:lnTo>
                  <a:lnTo>
                    <a:pt x="81" y="92"/>
                  </a:lnTo>
                  <a:lnTo>
                    <a:pt x="81" y="93"/>
                  </a:lnTo>
                  <a:lnTo>
                    <a:pt x="80" y="98"/>
                  </a:lnTo>
                  <a:lnTo>
                    <a:pt x="77" y="106"/>
                  </a:lnTo>
                  <a:lnTo>
                    <a:pt x="73" y="114"/>
                  </a:lnTo>
                  <a:lnTo>
                    <a:pt x="67" y="121"/>
                  </a:lnTo>
                  <a:lnTo>
                    <a:pt x="59" y="127"/>
                  </a:lnTo>
                  <a:lnTo>
                    <a:pt x="49" y="129"/>
                  </a:lnTo>
                  <a:lnTo>
                    <a:pt x="49" y="210"/>
                  </a:lnTo>
                  <a:lnTo>
                    <a:pt x="43" y="210"/>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0" name="Freeform 16"/>
            <p:cNvSpPr>
              <a:spLocks/>
            </p:cNvSpPr>
            <p:nvPr/>
          </p:nvSpPr>
          <p:spPr bwMode="gray">
            <a:xfrm>
              <a:off x="1566" y="297"/>
              <a:ext cx="128" cy="292"/>
            </a:xfrm>
            <a:custGeom>
              <a:avLst/>
              <a:gdLst/>
              <a:ahLst/>
              <a:cxnLst>
                <a:cxn ang="0">
                  <a:pos x="61" y="225"/>
                </a:cxn>
                <a:cxn ang="0">
                  <a:pos x="54" y="225"/>
                </a:cxn>
                <a:cxn ang="0">
                  <a:pos x="38" y="219"/>
                </a:cxn>
                <a:cxn ang="0">
                  <a:pos x="23" y="206"/>
                </a:cxn>
                <a:cxn ang="0">
                  <a:pos x="15" y="180"/>
                </a:cxn>
                <a:cxn ang="0">
                  <a:pos x="23" y="180"/>
                </a:cxn>
                <a:cxn ang="0">
                  <a:pos x="38" y="186"/>
                </a:cxn>
                <a:cxn ang="0">
                  <a:pos x="54" y="205"/>
                </a:cxn>
                <a:cxn ang="0">
                  <a:pos x="61" y="151"/>
                </a:cxn>
                <a:cxn ang="0">
                  <a:pos x="52" y="149"/>
                </a:cxn>
                <a:cxn ang="0">
                  <a:pos x="34" y="144"/>
                </a:cxn>
                <a:cxn ang="0">
                  <a:pos x="16" y="128"/>
                </a:cxn>
                <a:cxn ang="0">
                  <a:pos x="8" y="98"/>
                </a:cxn>
                <a:cxn ang="0">
                  <a:pos x="15" y="97"/>
                </a:cxn>
                <a:cxn ang="0">
                  <a:pos x="29" y="101"/>
                </a:cxn>
                <a:cxn ang="0">
                  <a:pos x="47" y="116"/>
                </a:cxn>
                <a:cxn ang="0">
                  <a:pos x="61" y="147"/>
                </a:cxn>
                <a:cxn ang="0">
                  <a:pos x="58" y="60"/>
                </a:cxn>
                <a:cxn ang="0">
                  <a:pos x="44" y="58"/>
                </a:cxn>
                <a:cxn ang="0">
                  <a:pos x="25" y="50"/>
                </a:cxn>
                <a:cxn ang="0">
                  <a:pos x="8" y="32"/>
                </a:cxn>
                <a:cxn ang="0">
                  <a:pos x="0" y="0"/>
                </a:cxn>
                <a:cxn ang="0">
                  <a:pos x="8" y="0"/>
                </a:cxn>
                <a:cxn ang="0">
                  <a:pos x="27" y="5"/>
                </a:cxn>
                <a:cxn ang="0">
                  <a:pos x="48" y="21"/>
                </a:cxn>
                <a:cxn ang="0">
                  <a:pos x="65" y="56"/>
                </a:cxn>
                <a:cxn ang="0">
                  <a:pos x="66" y="48"/>
                </a:cxn>
                <a:cxn ang="0">
                  <a:pos x="77" y="28"/>
                </a:cxn>
                <a:cxn ang="0">
                  <a:pos x="96" y="9"/>
                </a:cxn>
                <a:cxn ang="0">
                  <a:pos x="128" y="0"/>
                </a:cxn>
                <a:cxn ang="0">
                  <a:pos x="127" y="9"/>
                </a:cxn>
                <a:cxn ang="0">
                  <a:pos x="119" y="31"/>
                </a:cxn>
                <a:cxn ang="0">
                  <a:pos x="101" y="51"/>
                </a:cxn>
                <a:cxn ang="0">
                  <a:pos x="67" y="60"/>
                </a:cxn>
                <a:cxn ang="0">
                  <a:pos x="69" y="170"/>
                </a:cxn>
                <a:cxn ang="0">
                  <a:pos x="73" y="155"/>
                </a:cxn>
                <a:cxn ang="0">
                  <a:pos x="86" y="136"/>
                </a:cxn>
                <a:cxn ang="0">
                  <a:pos x="113" y="128"/>
                </a:cxn>
                <a:cxn ang="0">
                  <a:pos x="112" y="136"/>
                </a:cxn>
                <a:cxn ang="0">
                  <a:pos x="105" y="153"/>
                </a:cxn>
                <a:cxn ang="0">
                  <a:pos x="92" y="172"/>
                </a:cxn>
                <a:cxn ang="0">
                  <a:pos x="67" y="180"/>
                </a:cxn>
                <a:cxn ang="0">
                  <a:pos x="61" y="292"/>
                </a:cxn>
              </a:cxnLst>
              <a:rect l="0" t="0" r="r" b="b"/>
              <a:pathLst>
                <a:path w="128" h="292">
                  <a:moveTo>
                    <a:pt x="61" y="292"/>
                  </a:moveTo>
                  <a:lnTo>
                    <a:pt x="61" y="225"/>
                  </a:lnTo>
                  <a:lnTo>
                    <a:pt x="58" y="225"/>
                  </a:lnTo>
                  <a:lnTo>
                    <a:pt x="54" y="225"/>
                  </a:lnTo>
                  <a:lnTo>
                    <a:pt x="46" y="222"/>
                  </a:lnTo>
                  <a:lnTo>
                    <a:pt x="38" y="219"/>
                  </a:lnTo>
                  <a:lnTo>
                    <a:pt x="29" y="214"/>
                  </a:lnTo>
                  <a:lnTo>
                    <a:pt x="23" y="206"/>
                  </a:lnTo>
                  <a:lnTo>
                    <a:pt x="17" y="195"/>
                  </a:lnTo>
                  <a:lnTo>
                    <a:pt x="15" y="180"/>
                  </a:lnTo>
                  <a:lnTo>
                    <a:pt x="17" y="180"/>
                  </a:lnTo>
                  <a:lnTo>
                    <a:pt x="23" y="180"/>
                  </a:lnTo>
                  <a:lnTo>
                    <a:pt x="29" y="182"/>
                  </a:lnTo>
                  <a:lnTo>
                    <a:pt x="38" y="186"/>
                  </a:lnTo>
                  <a:lnTo>
                    <a:pt x="47" y="194"/>
                  </a:lnTo>
                  <a:lnTo>
                    <a:pt x="54" y="205"/>
                  </a:lnTo>
                  <a:lnTo>
                    <a:pt x="61" y="221"/>
                  </a:lnTo>
                  <a:lnTo>
                    <a:pt x="61" y="151"/>
                  </a:lnTo>
                  <a:lnTo>
                    <a:pt x="58" y="149"/>
                  </a:lnTo>
                  <a:lnTo>
                    <a:pt x="52" y="149"/>
                  </a:lnTo>
                  <a:lnTo>
                    <a:pt x="44" y="147"/>
                  </a:lnTo>
                  <a:lnTo>
                    <a:pt x="34" y="144"/>
                  </a:lnTo>
                  <a:lnTo>
                    <a:pt x="24" y="137"/>
                  </a:lnTo>
                  <a:lnTo>
                    <a:pt x="16" y="128"/>
                  </a:lnTo>
                  <a:lnTo>
                    <a:pt x="11" y="114"/>
                  </a:lnTo>
                  <a:lnTo>
                    <a:pt x="8" y="98"/>
                  </a:lnTo>
                  <a:lnTo>
                    <a:pt x="9" y="97"/>
                  </a:lnTo>
                  <a:lnTo>
                    <a:pt x="15" y="97"/>
                  </a:lnTo>
                  <a:lnTo>
                    <a:pt x="21" y="98"/>
                  </a:lnTo>
                  <a:lnTo>
                    <a:pt x="29" y="101"/>
                  </a:lnTo>
                  <a:lnTo>
                    <a:pt x="39" y="106"/>
                  </a:lnTo>
                  <a:lnTo>
                    <a:pt x="47" y="116"/>
                  </a:lnTo>
                  <a:lnTo>
                    <a:pt x="55" y="128"/>
                  </a:lnTo>
                  <a:lnTo>
                    <a:pt x="61" y="147"/>
                  </a:lnTo>
                  <a:lnTo>
                    <a:pt x="61" y="60"/>
                  </a:lnTo>
                  <a:lnTo>
                    <a:pt x="58" y="60"/>
                  </a:lnTo>
                  <a:lnTo>
                    <a:pt x="52" y="59"/>
                  </a:lnTo>
                  <a:lnTo>
                    <a:pt x="44" y="58"/>
                  </a:lnTo>
                  <a:lnTo>
                    <a:pt x="35" y="55"/>
                  </a:lnTo>
                  <a:lnTo>
                    <a:pt x="25" y="50"/>
                  </a:lnTo>
                  <a:lnTo>
                    <a:pt x="16" y="43"/>
                  </a:lnTo>
                  <a:lnTo>
                    <a:pt x="8" y="32"/>
                  </a:lnTo>
                  <a:lnTo>
                    <a:pt x="3" y="19"/>
                  </a:lnTo>
                  <a:lnTo>
                    <a:pt x="0" y="0"/>
                  </a:lnTo>
                  <a:lnTo>
                    <a:pt x="3" y="0"/>
                  </a:lnTo>
                  <a:lnTo>
                    <a:pt x="8" y="0"/>
                  </a:lnTo>
                  <a:lnTo>
                    <a:pt x="16" y="1"/>
                  </a:lnTo>
                  <a:lnTo>
                    <a:pt x="27" y="5"/>
                  </a:lnTo>
                  <a:lnTo>
                    <a:pt x="38" y="10"/>
                  </a:lnTo>
                  <a:lnTo>
                    <a:pt x="48" y="21"/>
                  </a:lnTo>
                  <a:lnTo>
                    <a:pt x="56" y="36"/>
                  </a:lnTo>
                  <a:lnTo>
                    <a:pt x="65" y="56"/>
                  </a:lnTo>
                  <a:lnTo>
                    <a:pt x="65" y="54"/>
                  </a:lnTo>
                  <a:lnTo>
                    <a:pt x="66" y="48"/>
                  </a:lnTo>
                  <a:lnTo>
                    <a:pt x="70" y="39"/>
                  </a:lnTo>
                  <a:lnTo>
                    <a:pt x="77" y="28"/>
                  </a:lnTo>
                  <a:lnTo>
                    <a:pt x="85" y="19"/>
                  </a:lnTo>
                  <a:lnTo>
                    <a:pt x="96" y="9"/>
                  </a:lnTo>
                  <a:lnTo>
                    <a:pt x="110" y="2"/>
                  </a:lnTo>
                  <a:lnTo>
                    <a:pt x="128" y="0"/>
                  </a:lnTo>
                  <a:lnTo>
                    <a:pt x="128" y="2"/>
                  </a:lnTo>
                  <a:lnTo>
                    <a:pt x="127" y="9"/>
                  </a:lnTo>
                  <a:lnTo>
                    <a:pt x="124" y="19"/>
                  </a:lnTo>
                  <a:lnTo>
                    <a:pt x="119" y="31"/>
                  </a:lnTo>
                  <a:lnTo>
                    <a:pt x="112" y="41"/>
                  </a:lnTo>
                  <a:lnTo>
                    <a:pt x="101" y="51"/>
                  </a:lnTo>
                  <a:lnTo>
                    <a:pt x="86" y="58"/>
                  </a:lnTo>
                  <a:lnTo>
                    <a:pt x="67" y="60"/>
                  </a:lnTo>
                  <a:lnTo>
                    <a:pt x="67" y="172"/>
                  </a:lnTo>
                  <a:lnTo>
                    <a:pt x="69" y="170"/>
                  </a:lnTo>
                  <a:lnTo>
                    <a:pt x="70" y="164"/>
                  </a:lnTo>
                  <a:lnTo>
                    <a:pt x="73" y="155"/>
                  </a:lnTo>
                  <a:lnTo>
                    <a:pt x="78" y="145"/>
                  </a:lnTo>
                  <a:lnTo>
                    <a:pt x="86" y="136"/>
                  </a:lnTo>
                  <a:lnTo>
                    <a:pt x="97" y="130"/>
                  </a:lnTo>
                  <a:lnTo>
                    <a:pt x="113" y="128"/>
                  </a:lnTo>
                  <a:lnTo>
                    <a:pt x="113" y="130"/>
                  </a:lnTo>
                  <a:lnTo>
                    <a:pt x="112" y="136"/>
                  </a:lnTo>
                  <a:lnTo>
                    <a:pt x="109" y="144"/>
                  </a:lnTo>
                  <a:lnTo>
                    <a:pt x="105" y="153"/>
                  </a:lnTo>
                  <a:lnTo>
                    <a:pt x="100" y="163"/>
                  </a:lnTo>
                  <a:lnTo>
                    <a:pt x="92" y="172"/>
                  </a:lnTo>
                  <a:lnTo>
                    <a:pt x="82" y="178"/>
                  </a:lnTo>
                  <a:lnTo>
                    <a:pt x="67" y="180"/>
                  </a:lnTo>
                  <a:lnTo>
                    <a:pt x="67" y="292"/>
                  </a:lnTo>
                  <a:lnTo>
                    <a:pt x="61" y="29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1" name="Freeform 17"/>
            <p:cNvSpPr>
              <a:spLocks/>
            </p:cNvSpPr>
            <p:nvPr/>
          </p:nvSpPr>
          <p:spPr bwMode="gray">
            <a:xfrm>
              <a:off x="2596" y="332"/>
              <a:ext cx="68" cy="257"/>
            </a:xfrm>
            <a:custGeom>
              <a:avLst/>
              <a:gdLst/>
              <a:ahLst/>
              <a:cxnLst>
                <a:cxn ang="0">
                  <a:pos x="31" y="164"/>
                </a:cxn>
                <a:cxn ang="0">
                  <a:pos x="23" y="163"/>
                </a:cxn>
                <a:cxn ang="0">
                  <a:pos x="8" y="155"/>
                </a:cxn>
                <a:cxn ang="0">
                  <a:pos x="0" y="132"/>
                </a:cxn>
                <a:cxn ang="0">
                  <a:pos x="7" y="132"/>
                </a:cxn>
                <a:cxn ang="0">
                  <a:pos x="22" y="139"/>
                </a:cxn>
                <a:cxn ang="0">
                  <a:pos x="31" y="160"/>
                </a:cxn>
                <a:cxn ang="0">
                  <a:pos x="29" y="101"/>
                </a:cxn>
                <a:cxn ang="0">
                  <a:pos x="16" y="97"/>
                </a:cxn>
                <a:cxn ang="0">
                  <a:pos x="3" y="83"/>
                </a:cxn>
                <a:cxn ang="0">
                  <a:pos x="3" y="70"/>
                </a:cxn>
                <a:cxn ang="0">
                  <a:pos x="15" y="74"/>
                </a:cxn>
                <a:cxn ang="0">
                  <a:pos x="27" y="86"/>
                </a:cxn>
                <a:cxn ang="0">
                  <a:pos x="31" y="31"/>
                </a:cxn>
                <a:cxn ang="0">
                  <a:pos x="33" y="23"/>
                </a:cxn>
                <a:cxn ang="0">
                  <a:pos x="41" y="8"/>
                </a:cxn>
                <a:cxn ang="0">
                  <a:pos x="62" y="0"/>
                </a:cxn>
                <a:cxn ang="0">
                  <a:pos x="61" y="8"/>
                </a:cxn>
                <a:cxn ang="0">
                  <a:pos x="53" y="23"/>
                </a:cxn>
                <a:cxn ang="0">
                  <a:pos x="35" y="31"/>
                </a:cxn>
                <a:cxn ang="0">
                  <a:pos x="35" y="75"/>
                </a:cxn>
                <a:cxn ang="0">
                  <a:pos x="39" y="62"/>
                </a:cxn>
                <a:cxn ang="0">
                  <a:pos x="54" y="48"/>
                </a:cxn>
                <a:cxn ang="0">
                  <a:pos x="68" y="48"/>
                </a:cxn>
                <a:cxn ang="0">
                  <a:pos x="66" y="59"/>
                </a:cxn>
                <a:cxn ang="0">
                  <a:pos x="58" y="72"/>
                </a:cxn>
                <a:cxn ang="0">
                  <a:pos x="35" y="82"/>
                </a:cxn>
                <a:cxn ang="0">
                  <a:pos x="35" y="143"/>
                </a:cxn>
                <a:cxn ang="0">
                  <a:pos x="38" y="132"/>
                </a:cxn>
                <a:cxn ang="0">
                  <a:pos x="49" y="122"/>
                </a:cxn>
                <a:cxn ang="0">
                  <a:pos x="60" y="122"/>
                </a:cxn>
                <a:cxn ang="0">
                  <a:pos x="58" y="133"/>
                </a:cxn>
                <a:cxn ang="0">
                  <a:pos x="47" y="144"/>
                </a:cxn>
                <a:cxn ang="0">
                  <a:pos x="35" y="257"/>
                </a:cxn>
              </a:cxnLst>
              <a:rect l="0" t="0" r="r" b="b"/>
              <a:pathLst>
                <a:path w="68" h="257">
                  <a:moveTo>
                    <a:pt x="31" y="257"/>
                  </a:moveTo>
                  <a:lnTo>
                    <a:pt x="31" y="164"/>
                  </a:lnTo>
                  <a:lnTo>
                    <a:pt x="29" y="163"/>
                  </a:lnTo>
                  <a:lnTo>
                    <a:pt x="23" y="163"/>
                  </a:lnTo>
                  <a:lnTo>
                    <a:pt x="16" y="160"/>
                  </a:lnTo>
                  <a:lnTo>
                    <a:pt x="8" y="155"/>
                  </a:lnTo>
                  <a:lnTo>
                    <a:pt x="3" y="145"/>
                  </a:lnTo>
                  <a:lnTo>
                    <a:pt x="0" y="132"/>
                  </a:lnTo>
                  <a:lnTo>
                    <a:pt x="3" y="132"/>
                  </a:lnTo>
                  <a:lnTo>
                    <a:pt x="7" y="132"/>
                  </a:lnTo>
                  <a:lnTo>
                    <a:pt x="15" y="135"/>
                  </a:lnTo>
                  <a:lnTo>
                    <a:pt x="22" y="139"/>
                  </a:lnTo>
                  <a:lnTo>
                    <a:pt x="27" y="147"/>
                  </a:lnTo>
                  <a:lnTo>
                    <a:pt x="31" y="160"/>
                  </a:lnTo>
                  <a:lnTo>
                    <a:pt x="31" y="101"/>
                  </a:lnTo>
                  <a:lnTo>
                    <a:pt x="29" y="101"/>
                  </a:lnTo>
                  <a:lnTo>
                    <a:pt x="23" y="99"/>
                  </a:lnTo>
                  <a:lnTo>
                    <a:pt x="16" y="97"/>
                  </a:lnTo>
                  <a:lnTo>
                    <a:pt x="8" y="91"/>
                  </a:lnTo>
                  <a:lnTo>
                    <a:pt x="3" y="83"/>
                  </a:lnTo>
                  <a:lnTo>
                    <a:pt x="0" y="70"/>
                  </a:lnTo>
                  <a:lnTo>
                    <a:pt x="3" y="70"/>
                  </a:lnTo>
                  <a:lnTo>
                    <a:pt x="7" y="71"/>
                  </a:lnTo>
                  <a:lnTo>
                    <a:pt x="15" y="74"/>
                  </a:lnTo>
                  <a:lnTo>
                    <a:pt x="22" y="78"/>
                  </a:lnTo>
                  <a:lnTo>
                    <a:pt x="27" y="86"/>
                  </a:lnTo>
                  <a:lnTo>
                    <a:pt x="31" y="97"/>
                  </a:lnTo>
                  <a:lnTo>
                    <a:pt x="31" y="31"/>
                  </a:lnTo>
                  <a:lnTo>
                    <a:pt x="31" y="28"/>
                  </a:lnTo>
                  <a:lnTo>
                    <a:pt x="33" y="23"/>
                  </a:lnTo>
                  <a:lnTo>
                    <a:pt x="35" y="15"/>
                  </a:lnTo>
                  <a:lnTo>
                    <a:pt x="41" y="8"/>
                  </a:lnTo>
                  <a:lnTo>
                    <a:pt x="50" y="2"/>
                  </a:lnTo>
                  <a:lnTo>
                    <a:pt x="62" y="0"/>
                  </a:lnTo>
                  <a:lnTo>
                    <a:pt x="62" y="2"/>
                  </a:lnTo>
                  <a:lnTo>
                    <a:pt x="61" y="8"/>
                  </a:lnTo>
                  <a:lnTo>
                    <a:pt x="58" y="15"/>
                  </a:lnTo>
                  <a:lnTo>
                    <a:pt x="53" y="23"/>
                  </a:lnTo>
                  <a:lnTo>
                    <a:pt x="46" y="28"/>
                  </a:lnTo>
                  <a:lnTo>
                    <a:pt x="35" y="31"/>
                  </a:lnTo>
                  <a:lnTo>
                    <a:pt x="35" y="78"/>
                  </a:lnTo>
                  <a:lnTo>
                    <a:pt x="35" y="75"/>
                  </a:lnTo>
                  <a:lnTo>
                    <a:pt x="37" y="70"/>
                  </a:lnTo>
                  <a:lnTo>
                    <a:pt x="39" y="62"/>
                  </a:lnTo>
                  <a:lnTo>
                    <a:pt x="45" y="55"/>
                  </a:lnTo>
                  <a:lnTo>
                    <a:pt x="54" y="48"/>
                  </a:lnTo>
                  <a:lnTo>
                    <a:pt x="66" y="47"/>
                  </a:lnTo>
                  <a:lnTo>
                    <a:pt x="68" y="48"/>
                  </a:lnTo>
                  <a:lnTo>
                    <a:pt x="68" y="52"/>
                  </a:lnTo>
                  <a:lnTo>
                    <a:pt x="66" y="59"/>
                  </a:lnTo>
                  <a:lnTo>
                    <a:pt x="64" y="66"/>
                  </a:lnTo>
                  <a:lnTo>
                    <a:pt x="58" y="72"/>
                  </a:lnTo>
                  <a:lnTo>
                    <a:pt x="50" y="78"/>
                  </a:lnTo>
                  <a:lnTo>
                    <a:pt x="35" y="82"/>
                  </a:lnTo>
                  <a:lnTo>
                    <a:pt x="35" y="144"/>
                  </a:lnTo>
                  <a:lnTo>
                    <a:pt x="35" y="143"/>
                  </a:lnTo>
                  <a:lnTo>
                    <a:pt x="37" y="139"/>
                  </a:lnTo>
                  <a:lnTo>
                    <a:pt x="38" y="132"/>
                  </a:lnTo>
                  <a:lnTo>
                    <a:pt x="42" y="126"/>
                  </a:lnTo>
                  <a:lnTo>
                    <a:pt x="49" y="122"/>
                  </a:lnTo>
                  <a:lnTo>
                    <a:pt x="58" y="121"/>
                  </a:lnTo>
                  <a:lnTo>
                    <a:pt x="60" y="122"/>
                  </a:lnTo>
                  <a:lnTo>
                    <a:pt x="60" y="126"/>
                  </a:lnTo>
                  <a:lnTo>
                    <a:pt x="58" y="133"/>
                  </a:lnTo>
                  <a:lnTo>
                    <a:pt x="56" y="139"/>
                  </a:lnTo>
                  <a:lnTo>
                    <a:pt x="47" y="144"/>
                  </a:lnTo>
                  <a:lnTo>
                    <a:pt x="35" y="148"/>
                  </a:lnTo>
                  <a:lnTo>
                    <a:pt x="35" y="257"/>
                  </a:lnTo>
                  <a:lnTo>
                    <a:pt x="31" y="25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2" name="Freeform 18"/>
            <p:cNvSpPr>
              <a:spLocks/>
            </p:cNvSpPr>
            <p:nvPr/>
          </p:nvSpPr>
          <p:spPr bwMode="gray">
            <a:xfrm>
              <a:off x="1672" y="164"/>
              <a:ext cx="111" cy="425"/>
            </a:xfrm>
            <a:custGeom>
              <a:avLst/>
              <a:gdLst/>
              <a:ahLst/>
              <a:cxnLst>
                <a:cxn ang="0">
                  <a:pos x="52" y="272"/>
                </a:cxn>
                <a:cxn ang="0">
                  <a:pos x="44" y="270"/>
                </a:cxn>
                <a:cxn ang="0">
                  <a:pos x="26" y="265"/>
                </a:cxn>
                <a:cxn ang="0">
                  <a:pos x="8" y="249"/>
                </a:cxn>
                <a:cxn ang="0">
                  <a:pos x="0" y="219"/>
                </a:cxn>
                <a:cxn ang="0">
                  <a:pos x="8" y="219"/>
                </a:cxn>
                <a:cxn ang="0">
                  <a:pos x="25" y="223"/>
                </a:cxn>
                <a:cxn ang="0">
                  <a:pos x="41" y="235"/>
                </a:cxn>
                <a:cxn ang="0">
                  <a:pos x="52" y="265"/>
                </a:cxn>
                <a:cxn ang="0">
                  <a:pos x="50" y="168"/>
                </a:cxn>
                <a:cxn ang="0">
                  <a:pos x="35" y="165"/>
                </a:cxn>
                <a:cxn ang="0">
                  <a:pos x="17" y="156"/>
                </a:cxn>
                <a:cxn ang="0">
                  <a:pos x="3" y="134"/>
                </a:cxn>
                <a:cxn ang="0">
                  <a:pos x="3" y="116"/>
                </a:cxn>
                <a:cxn ang="0">
                  <a:pos x="19" y="120"/>
                </a:cxn>
                <a:cxn ang="0">
                  <a:pos x="39" y="133"/>
                </a:cxn>
                <a:cxn ang="0">
                  <a:pos x="52" y="161"/>
                </a:cxn>
                <a:cxn ang="0">
                  <a:pos x="53" y="50"/>
                </a:cxn>
                <a:cxn ang="0">
                  <a:pos x="54" y="36"/>
                </a:cxn>
                <a:cxn ang="0">
                  <a:pos x="65" y="17"/>
                </a:cxn>
                <a:cxn ang="0">
                  <a:pos x="87" y="3"/>
                </a:cxn>
                <a:cxn ang="0">
                  <a:pos x="103" y="3"/>
                </a:cxn>
                <a:cxn ang="0">
                  <a:pos x="99" y="21"/>
                </a:cxn>
                <a:cxn ang="0">
                  <a:pos x="84" y="42"/>
                </a:cxn>
                <a:cxn ang="0">
                  <a:pos x="58" y="52"/>
                </a:cxn>
                <a:cxn ang="0">
                  <a:pos x="58" y="127"/>
                </a:cxn>
                <a:cxn ang="0">
                  <a:pos x="61" y="112"/>
                </a:cxn>
                <a:cxn ang="0">
                  <a:pos x="72" y="94"/>
                </a:cxn>
                <a:cxn ang="0">
                  <a:pos x="93" y="80"/>
                </a:cxn>
                <a:cxn ang="0">
                  <a:pos x="111" y="80"/>
                </a:cxn>
                <a:cxn ang="0">
                  <a:pos x="111" y="91"/>
                </a:cxn>
                <a:cxn ang="0">
                  <a:pos x="107" y="108"/>
                </a:cxn>
                <a:cxn ang="0">
                  <a:pos x="91" y="126"/>
                </a:cxn>
                <a:cxn ang="0">
                  <a:pos x="58" y="135"/>
                </a:cxn>
                <a:cxn ang="0">
                  <a:pos x="58" y="236"/>
                </a:cxn>
                <a:cxn ang="0">
                  <a:pos x="61" y="223"/>
                </a:cxn>
                <a:cxn ang="0">
                  <a:pos x="73" y="208"/>
                </a:cxn>
                <a:cxn ang="0">
                  <a:pos x="97" y="200"/>
                </a:cxn>
                <a:cxn ang="0">
                  <a:pos x="99" y="207"/>
                </a:cxn>
                <a:cxn ang="0">
                  <a:pos x="97" y="220"/>
                </a:cxn>
                <a:cxn ang="0">
                  <a:pos x="87" y="235"/>
                </a:cxn>
                <a:cxn ang="0">
                  <a:pos x="58" y="245"/>
                </a:cxn>
                <a:cxn ang="0">
                  <a:pos x="52" y="425"/>
                </a:cxn>
              </a:cxnLst>
              <a:rect l="0" t="0" r="r" b="b"/>
              <a:pathLst>
                <a:path w="111" h="425">
                  <a:moveTo>
                    <a:pt x="52" y="425"/>
                  </a:moveTo>
                  <a:lnTo>
                    <a:pt x="52" y="272"/>
                  </a:lnTo>
                  <a:lnTo>
                    <a:pt x="50" y="270"/>
                  </a:lnTo>
                  <a:lnTo>
                    <a:pt x="44" y="270"/>
                  </a:lnTo>
                  <a:lnTo>
                    <a:pt x="35" y="269"/>
                  </a:lnTo>
                  <a:lnTo>
                    <a:pt x="26" y="265"/>
                  </a:lnTo>
                  <a:lnTo>
                    <a:pt x="17" y="258"/>
                  </a:lnTo>
                  <a:lnTo>
                    <a:pt x="8" y="249"/>
                  </a:lnTo>
                  <a:lnTo>
                    <a:pt x="3" y="236"/>
                  </a:lnTo>
                  <a:lnTo>
                    <a:pt x="0" y="219"/>
                  </a:lnTo>
                  <a:lnTo>
                    <a:pt x="3" y="219"/>
                  </a:lnTo>
                  <a:lnTo>
                    <a:pt x="8" y="219"/>
                  </a:lnTo>
                  <a:lnTo>
                    <a:pt x="15" y="220"/>
                  </a:lnTo>
                  <a:lnTo>
                    <a:pt x="25" y="223"/>
                  </a:lnTo>
                  <a:lnTo>
                    <a:pt x="33" y="227"/>
                  </a:lnTo>
                  <a:lnTo>
                    <a:pt x="41" y="235"/>
                  </a:lnTo>
                  <a:lnTo>
                    <a:pt x="48" y="247"/>
                  </a:lnTo>
                  <a:lnTo>
                    <a:pt x="52" y="265"/>
                  </a:lnTo>
                  <a:lnTo>
                    <a:pt x="52" y="168"/>
                  </a:lnTo>
                  <a:lnTo>
                    <a:pt x="50" y="168"/>
                  </a:lnTo>
                  <a:lnTo>
                    <a:pt x="44" y="168"/>
                  </a:lnTo>
                  <a:lnTo>
                    <a:pt x="35" y="165"/>
                  </a:lnTo>
                  <a:lnTo>
                    <a:pt x="26" y="161"/>
                  </a:lnTo>
                  <a:lnTo>
                    <a:pt x="17" y="156"/>
                  </a:lnTo>
                  <a:lnTo>
                    <a:pt x="8" y="146"/>
                  </a:lnTo>
                  <a:lnTo>
                    <a:pt x="3" y="134"/>
                  </a:lnTo>
                  <a:lnTo>
                    <a:pt x="0" y="116"/>
                  </a:lnTo>
                  <a:lnTo>
                    <a:pt x="3" y="116"/>
                  </a:lnTo>
                  <a:lnTo>
                    <a:pt x="10" y="118"/>
                  </a:lnTo>
                  <a:lnTo>
                    <a:pt x="19" y="120"/>
                  </a:lnTo>
                  <a:lnTo>
                    <a:pt x="29" y="125"/>
                  </a:lnTo>
                  <a:lnTo>
                    <a:pt x="39" y="133"/>
                  </a:lnTo>
                  <a:lnTo>
                    <a:pt x="48" y="145"/>
                  </a:lnTo>
                  <a:lnTo>
                    <a:pt x="52" y="161"/>
                  </a:lnTo>
                  <a:lnTo>
                    <a:pt x="52" y="52"/>
                  </a:lnTo>
                  <a:lnTo>
                    <a:pt x="53" y="50"/>
                  </a:lnTo>
                  <a:lnTo>
                    <a:pt x="53" y="44"/>
                  </a:lnTo>
                  <a:lnTo>
                    <a:pt x="54" y="36"/>
                  </a:lnTo>
                  <a:lnTo>
                    <a:pt x="58" y="26"/>
                  </a:lnTo>
                  <a:lnTo>
                    <a:pt x="65" y="17"/>
                  </a:lnTo>
                  <a:lnTo>
                    <a:pt x="75" y="9"/>
                  </a:lnTo>
                  <a:lnTo>
                    <a:pt x="87" y="3"/>
                  </a:lnTo>
                  <a:lnTo>
                    <a:pt x="104" y="0"/>
                  </a:lnTo>
                  <a:lnTo>
                    <a:pt x="103" y="3"/>
                  </a:lnTo>
                  <a:lnTo>
                    <a:pt x="102" y="11"/>
                  </a:lnTo>
                  <a:lnTo>
                    <a:pt x="99" y="21"/>
                  </a:lnTo>
                  <a:lnTo>
                    <a:pt x="92" y="32"/>
                  </a:lnTo>
                  <a:lnTo>
                    <a:pt x="84" y="42"/>
                  </a:lnTo>
                  <a:lnTo>
                    <a:pt x="73" y="49"/>
                  </a:lnTo>
                  <a:lnTo>
                    <a:pt x="58" y="52"/>
                  </a:lnTo>
                  <a:lnTo>
                    <a:pt x="58" y="130"/>
                  </a:lnTo>
                  <a:lnTo>
                    <a:pt x="58" y="127"/>
                  </a:lnTo>
                  <a:lnTo>
                    <a:pt x="60" y="122"/>
                  </a:lnTo>
                  <a:lnTo>
                    <a:pt x="61" y="112"/>
                  </a:lnTo>
                  <a:lnTo>
                    <a:pt x="65" y="103"/>
                  </a:lnTo>
                  <a:lnTo>
                    <a:pt x="72" y="94"/>
                  </a:lnTo>
                  <a:lnTo>
                    <a:pt x="80" y="85"/>
                  </a:lnTo>
                  <a:lnTo>
                    <a:pt x="93" y="80"/>
                  </a:lnTo>
                  <a:lnTo>
                    <a:pt x="110" y="77"/>
                  </a:lnTo>
                  <a:lnTo>
                    <a:pt x="111" y="80"/>
                  </a:lnTo>
                  <a:lnTo>
                    <a:pt x="111" y="84"/>
                  </a:lnTo>
                  <a:lnTo>
                    <a:pt x="111" y="91"/>
                  </a:lnTo>
                  <a:lnTo>
                    <a:pt x="110" y="100"/>
                  </a:lnTo>
                  <a:lnTo>
                    <a:pt x="107" y="108"/>
                  </a:lnTo>
                  <a:lnTo>
                    <a:pt x="100" y="118"/>
                  </a:lnTo>
                  <a:lnTo>
                    <a:pt x="91" y="126"/>
                  </a:lnTo>
                  <a:lnTo>
                    <a:pt x="77" y="133"/>
                  </a:lnTo>
                  <a:lnTo>
                    <a:pt x="58" y="135"/>
                  </a:lnTo>
                  <a:lnTo>
                    <a:pt x="58" y="239"/>
                  </a:lnTo>
                  <a:lnTo>
                    <a:pt x="58" y="236"/>
                  </a:lnTo>
                  <a:lnTo>
                    <a:pt x="60" y="231"/>
                  </a:lnTo>
                  <a:lnTo>
                    <a:pt x="61" y="223"/>
                  </a:lnTo>
                  <a:lnTo>
                    <a:pt x="66" y="215"/>
                  </a:lnTo>
                  <a:lnTo>
                    <a:pt x="73" y="208"/>
                  </a:lnTo>
                  <a:lnTo>
                    <a:pt x="83" y="203"/>
                  </a:lnTo>
                  <a:lnTo>
                    <a:pt x="97" y="200"/>
                  </a:lnTo>
                  <a:lnTo>
                    <a:pt x="97" y="201"/>
                  </a:lnTo>
                  <a:lnTo>
                    <a:pt x="99" y="207"/>
                  </a:lnTo>
                  <a:lnTo>
                    <a:pt x="99" y="212"/>
                  </a:lnTo>
                  <a:lnTo>
                    <a:pt x="97" y="220"/>
                  </a:lnTo>
                  <a:lnTo>
                    <a:pt x="93" y="228"/>
                  </a:lnTo>
                  <a:lnTo>
                    <a:pt x="87" y="235"/>
                  </a:lnTo>
                  <a:lnTo>
                    <a:pt x="75" y="242"/>
                  </a:lnTo>
                  <a:lnTo>
                    <a:pt x="58" y="245"/>
                  </a:lnTo>
                  <a:lnTo>
                    <a:pt x="58" y="425"/>
                  </a:lnTo>
                  <a:lnTo>
                    <a:pt x="52" y="425"/>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3" name="Freeform 19"/>
            <p:cNvSpPr>
              <a:spLocks/>
            </p:cNvSpPr>
            <p:nvPr/>
          </p:nvSpPr>
          <p:spPr bwMode="gray">
            <a:xfrm>
              <a:off x="2065" y="361"/>
              <a:ext cx="100" cy="228"/>
            </a:xfrm>
            <a:custGeom>
              <a:avLst/>
              <a:gdLst/>
              <a:ahLst/>
              <a:cxnLst>
                <a:cxn ang="0">
                  <a:pos x="52" y="176"/>
                </a:cxn>
                <a:cxn ang="0">
                  <a:pos x="59" y="176"/>
                </a:cxn>
                <a:cxn ang="0">
                  <a:pos x="74" y="169"/>
                </a:cxn>
                <a:cxn ang="0">
                  <a:pos x="86" y="154"/>
                </a:cxn>
                <a:cxn ang="0">
                  <a:pos x="86" y="141"/>
                </a:cxn>
                <a:cxn ang="0">
                  <a:pos x="74" y="143"/>
                </a:cxn>
                <a:cxn ang="0">
                  <a:pos x="58" y="158"/>
                </a:cxn>
                <a:cxn ang="0">
                  <a:pos x="52" y="118"/>
                </a:cxn>
                <a:cxn ang="0">
                  <a:pos x="61" y="116"/>
                </a:cxn>
                <a:cxn ang="0">
                  <a:pos x="78" y="110"/>
                </a:cxn>
                <a:cxn ang="0">
                  <a:pos x="92" y="92"/>
                </a:cxn>
                <a:cxn ang="0">
                  <a:pos x="92" y="77"/>
                </a:cxn>
                <a:cxn ang="0">
                  <a:pos x="81" y="79"/>
                </a:cxn>
                <a:cxn ang="0">
                  <a:pos x="65" y="88"/>
                </a:cxn>
                <a:cxn ang="0">
                  <a:pos x="52" y="115"/>
                </a:cxn>
                <a:cxn ang="0">
                  <a:pos x="55" y="48"/>
                </a:cxn>
                <a:cxn ang="0">
                  <a:pos x="67" y="45"/>
                </a:cxn>
                <a:cxn ang="0">
                  <a:pos x="85" y="37"/>
                </a:cxn>
                <a:cxn ang="0">
                  <a:pos x="97" y="17"/>
                </a:cxn>
                <a:cxn ang="0">
                  <a:pos x="97" y="0"/>
                </a:cxn>
                <a:cxn ang="0">
                  <a:pos x="83" y="3"/>
                </a:cxn>
                <a:cxn ang="0">
                  <a:pos x="65" y="14"/>
                </a:cxn>
                <a:cxn ang="0">
                  <a:pos x="50" y="45"/>
                </a:cxn>
                <a:cxn ang="0">
                  <a:pos x="47" y="35"/>
                </a:cxn>
                <a:cxn ang="0">
                  <a:pos x="38" y="18"/>
                </a:cxn>
                <a:cxn ang="0">
                  <a:pos x="16" y="3"/>
                </a:cxn>
                <a:cxn ang="0">
                  <a:pos x="1" y="3"/>
                </a:cxn>
                <a:cxn ang="0">
                  <a:pos x="5" y="19"/>
                </a:cxn>
                <a:cxn ang="0">
                  <a:pos x="19" y="38"/>
                </a:cxn>
                <a:cxn ang="0">
                  <a:pos x="47" y="48"/>
                </a:cxn>
                <a:cxn ang="0">
                  <a:pos x="47" y="132"/>
                </a:cxn>
                <a:cxn ang="0">
                  <a:pos x="42" y="118"/>
                </a:cxn>
                <a:cxn ang="0">
                  <a:pos x="25" y="103"/>
                </a:cxn>
                <a:cxn ang="0">
                  <a:pos x="12" y="103"/>
                </a:cxn>
                <a:cxn ang="0">
                  <a:pos x="16" y="116"/>
                </a:cxn>
                <a:cxn ang="0">
                  <a:pos x="25" y="132"/>
                </a:cxn>
                <a:cxn ang="0">
                  <a:pos x="47" y="141"/>
                </a:cxn>
                <a:cxn ang="0">
                  <a:pos x="52" y="228"/>
                </a:cxn>
              </a:cxnLst>
              <a:rect l="0" t="0" r="r" b="b"/>
              <a:pathLst>
                <a:path w="100" h="228">
                  <a:moveTo>
                    <a:pt x="52" y="228"/>
                  </a:moveTo>
                  <a:lnTo>
                    <a:pt x="52" y="176"/>
                  </a:lnTo>
                  <a:lnTo>
                    <a:pt x="55" y="176"/>
                  </a:lnTo>
                  <a:lnTo>
                    <a:pt x="59" y="176"/>
                  </a:lnTo>
                  <a:lnTo>
                    <a:pt x="67" y="173"/>
                  </a:lnTo>
                  <a:lnTo>
                    <a:pt x="74" y="169"/>
                  </a:lnTo>
                  <a:lnTo>
                    <a:pt x="81" y="163"/>
                  </a:lnTo>
                  <a:lnTo>
                    <a:pt x="86" y="154"/>
                  </a:lnTo>
                  <a:lnTo>
                    <a:pt x="88" y="141"/>
                  </a:lnTo>
                  <a:lnTo>
                    <a:pt x="86" y="141"/>
                  </a:lnTo>
                  <a:lnTo>
                    <a:pt x="81" y="142"/>
                  </a:lnTo>
                  <a:lnTo>
                    <a:pt x="74" y="143"/>
                  </a:lnTo>
                  <a:lnTo>
                    <a:pt x="66" y="149"/>
                  </a:lnTo>
                  <a:lnTo>
                    <a:pt x="58" y="158"/>
                  </a:lnTo>
                  <a:lnTo>
                    <a:pt x="52" y="173"/>
                  </a:lnTo>
                  <a:lnTo>
                    <a:pt x="52" y="118"/>
                  </a:lnTo>
                  <a:lnTo>
                    <a:pt x="55" y="118"/>
                  </a:lnTo>
                  <a:lnTo>
                    <a:pt x="61" y="116"/>
                  </a:lnTo>
                  <a:lnTo>
                    <a:pt x="69" y="115"/>
                  </a:lnTo>
                  <a:lnTo>
                    <a:pt x="78" y="110"/>
                  </a:lnTo>
                  <a:lnTo>
                    <a:pt x="86" y="103"/>
                  </a:lnTo>
                  <a:lnTo>
                    <a:pt x="92" y="92"/>
                  </a:lnTo>
                  <a:lnTo>
                    <a:pt x="94" y="77"/>
                  </a:lnTo>
                  <a:lnTo>
                    <a:pt x="92" y="77"/>
                  </a:lnTo>
                  <a:lnTo>
                    <a:pt x="88" y="77"/>
                  </a:lnTo>
                  <a:lnTo>
                    <a:pt x="81" y="79"/>
                  </a:lnTo>
                  <a:lnTo>
                    <a:pt x="73" y="81"/>
                  </a:lnTo>
                  <a:lnTo>
                    <a:pt x="65" y="88"/>
                  </a:lnTo>
                  <a:lnTo>
                    <a:pt x="58" y="99"/>
                  </a:lnTo>
                  <a:lnTo>
                    <a:pt x="52" y="115"/>
                  </a:lnTo>
                  <a:lnTo>
                    <a:pt x="52" y="48"/>
                  </a:lnTo>
                  <a:lnTo>
                    <a:pt x="55" y="48"/>
                  </a:lnTo>
                  <a:lnTo>
                    <a:pt x="61" y="48"/>
                  </a:lnTo>
                  <a:lnTo>
                    <a:pt x="67" y="45"/>
                  </a:lnTo>
                  <a:lnTo>
                    <a:pt x="77" y="42"/>
                  </a:lnTo>
                  <a:lnTo>
                    <a:pt x="85" y="37"/>
                  </a:lnTo>
                  <a:lnTo>
                    <a:pt x="92" y="27"/>
                  </a:lnTo>
                  <a:lnTo>
                    <a:pt x="97" y="17"/>
                  </a:lnTo>
                  <a:lnTo>
                    <a:pt x="100" y="0"/>
                  </a:lnTo>
                  <a:lnTo>
                    <a:pt x="97" y="0"/>
                  </a:lnTo>
                  <a:lnTo>
                    <a:pt x="92" y="0"/>
                  </a:lnTo>
                  <a:lnTo>
                    <a:pt x="83" y="3"/>
                  </a:lnTo>
                  <a:lnTo>
                    <a:pt x="74" y="7"/>
                  </a:lnTo>
                  <a:lnTo>
                    <a:pt x="65" y="14"/>
                  </a:lnTo>
                  <a:lnTo>
                    <a:pt x="56" y="27"/>
                  </a:lnTo>
                  <a:lnTo>
                    <a:pt x="50" y="45"/>
                  </a:lnTo>
                  <a:lnTo>
                    <a:pt x="50" y="42"/>
                  </a:lnTo>
                  <a:lnTo>
                    <a:pt x="47" y="35"/>
                  </a:lnTo>
                  <a:lnTo>
                    <a:pt x="43" y="27"/>
                  </a:lnTo>
                  <a:lnTo>
                    <a:pt x="38" y="18"/>
                  </a:lnTo>
                  <a:lnTo>
                    <a:pt x="28" y="10"/>
                  </a:lnTo>
                  <a:lnTo>
                    <a:pt x="16" y="3"/>
                  </a:lnTo>
                  <a:lnTo>
                    <a:pt x="0" y="0"/>
                  </a:lnTo>
                  <a:lnTo>
                    <a:pt x="1" y="3"/>
                  </a:lnTo>
                  <a:lnTo>
                    <a:pt x="3" y="10"/>
                  </a:lnTo>
                  <a:lnTo>
                    <a:pt x="5" y="19"/>
                  </a:lnTo>
                  <a:lnTo>
                    <a:pt x="11" y="29"/>
                  </a:lnTo>
                  <a:lnTo>
                    <a:pt x="19" y="38"/>
                  </a:lnTo>
                  <a:lnTo>
                    <a:pt x="31" y="45"/>
                  </a:lnTo>
                  <a:lnTo>
                    <a:pt x="47" y="48"/>
                  </a:lnTo>
                  <a:lnTo>
                    <a:pt x="47" y="135"/>
                  </a:lnTo>
                  <a:lnTo>
                    <a:pt x="47" y="132"/>
                  </a:lnTo>
                  <a:lnTo>
                    <a:pt x="46" y="126"/>
                  </a:lnTo>
                  <a:lnTo>
                    <a:pt x="42" y="118"/>
                  </a:lnTo>
                  <a:lnTo>
                    <a:pt x="35" y="110"/>
                  </a:lnTo>
                  <a:lnTo>
                    <a:pt x="25" y="103"/>
                  </a:lnTo>
                  <a:lnTo>
                    <a:pt x="12" y="100"/>
                  </a:lnTo>
                  <a:lnTo>
                    <a:pt x="12" y="103"/>
                  </a:lnTo>
                  <a:lnTo>
                    <a:pt x="13" y="108"/>
                  </a:lnTo>
                  <a:lnTo>
                    <a:pt x="16" y="116"/>
                  </a:lnTo>
                  <a:lnTo>
                    <a:pt x="20" y="124"/>
                  </a:lnTo>
                  <a:lnTo>
                    <a:pt x="25" y="132"/>
                  </a:lnTo>
                  <a:lnTo>
                    <a:pt x="35" y="139"/>
                  </a:lnTo>
                  <a:lnTo>
                    <a:pt x="47" y="141"/>
                  </a:lnTo>
                  <a:lnTo>
                    <a:pt x="47" y="228"/>
                  </a:lnTo>
                  <a:lnTo>
                    <a:pt x="52"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4" name="Freeform 20"/>
            <p:cNvSpPr>
              <a:spLocks/>
            </p:cNvSpPr>
            <p:nvPr/>
          </p:nvSpPr>
          <p:spPr bwMode="gray">
            <a:xfrm>
              <a:off x="2921" y="361"/>
              <a:ext cx="100" cy="228"/>
            </a:xfrm>
            <a:custGeom>
              <a:avLst/>
              <a:gdLst/>
              <a:ahLst/>
              <a:cxnLst>
                <a:cxn ang="0">
                  <a:pos x="53" y="176"/>
                </a:cxn>
                <a:cxn ang="0">
                  <a:pos x="60" y="176"/>
                </a:cxn>
                <a:cxn ang="0">
                  <a:pos x="74" y="169"/>
                </a:cxn>
                <a:cxn ang="0">
                  <a:pos x="87" y="154"/>
                </a:cxn>
                <a:cxn ang="0">
                  <a:pos x="87" y="141"/>
                </a:cxn>
                <a:cxn ang="0">
                  <a:pos x="74" y="143"/>
                </a:cxn>
                <a:cxn ang="0">
                  <a:pos x="60" y="158"/>
                </a:cxn>
                <a:cxn ang="0">
                  <a:pos x="53" y="118"/>
                </a:cxn>
                <a:cxn ang="0">
                  <a:pos x="61" y="116"/>
                </a:cxn>
                <a:cxn ang="0">
                  <a:pos x="78" y="110"/>
                </a:cxn>
                <a:cxn ang="0">
                  <a:pos x="92" y="92"/>
                </a:cxn>
                <a:cxn ang="0">
                  <a:pos x="92" y="77"/>
                </a:cxn>
                <a:cxn ang="0">
                  <a:pos x="81" y="79"/>
                </a:cxn>
                <a:cxn ang="0">
                  <a:pos x="65" y="88"/>
                </a:cxn>
                <a:cxn ang="0">
                  <a:pos x="53" y="115"/>
                </a:cxn>
                <a:cxn ang="0">
                  <a:pos x="56" y="48"/>
                </a:cxn>
                <a:cxn ang="0">
                  <a:pos x="68" y="45"/>
                </a:cxn>
                <a:cxn ang="0">
                  <a:pos x="85" y="37"/>
                </a:cxn>
                <a:cxn ang="0">
                  <a:pos x="97" y="17"/>
                </a:cxn>
                <a:cxn ang="0">
                  <a:pos x="97" y="0"/>
                </a:cxn>
                <a:cxn ang="0">
                  <a:pos x="84" y="3"/>
                </a:cxn>
                <a:cxn ang="0">
                  <a:pos x="65" y="14"/>
                </a:cxn>
                <a:cxn ang="0">
                  <a:pos x="50" y="45"/>
                </a:cxn>
                <a:cxn ang="0">
                  <a:pos x="47" y="35"/>
                </a:cxn>
                <a:cxn ang="0">
                  <a:pos x="38" y="18"/>
                </a:cxn>
                <a:cxn ang="0">
                  <a:pos x="16" y="3"/>
                </a:cxn>
                <a:cxn ang="0">
                  <a:pos x="2" y="3"/>
                </a:cxn>
                <a:cxn ang="0">
                  <a:pos x="6" y="19"/>
                </a:cxn>
                <a:cxn ang="0">
                  <a:pos x="19" y="38"/>
                </a:cxn>
                <a:cxn ang="0">
                  <a:pos x="47" y="48"/>
                </a:cxn>
                <a:cxn ang="0">
                  <a:pos x="47" y="132"/>
                </a:cxn>
                <a:cxn ang="0">
                  <a:pos x="42" y="118"/>
                </a:cxn>
                <a:cxn ang="0">
                  <a:pos x="26" y="103"/>
                </a:cxn>
                <a:cxn ang="0">
                  <a:pos x="12" y="103"/>
                </a:cxn>
                <a:cxn ang="0">
                  <a:pos x="16" y="116"/>
                </a:cxn>
                <a:cxn ang="0">
                  <a:pos x="26" y="132"/>
                </a:cxn>
                <a:cxn ang="0">
                  <a:pos x="47" y="141"/>
                </a:cxn>
                <a:cxn ang="0">
                  <a:pos x="53" y="228"/>
                </a:cxn>
              </a:cxnLst>
              <a:rect l="0" t="0" r="r" b="b"/>
              <a:pathLst>
                <a:path w="100" h="228">
                  <a:moveTo>
                    <a:pt x="53" y="228"/>
                  </a:moveTo>
                  <a:lnTo>
                    <a:pt x="53" y="176"/>
                  </a:lnTo>
                  <a:lnTo>
                    <a:pt x="56" y="176"/>
                  </a:lnTo>
                  <a:lnTo>
                    <a:pt x="60" y="176"/>
                  </a:lnTo>
                  <a:lnTo>
                    <a:pt x="68" y="173"/>
                  </a:lnTo>
                  <a:lnTo>
                    <a:pt x="74" y="169"/>
                  </a:lnTo>
                  <a:lnTo>
                    <a:pt x="81" y="163"/>
                  </a:lnTo>
                  <a:lnTo>
                    <a:pt x="87" y="154"/>
                  </a:lnTo>
                  <a:lnTo>
                    <a:pt x="88" y="141"/>
                  </a:lnTo>
                  <a:lnTo>
                    <a:pt x="87" y="141"/>
                  </a:lnTo>
                  <a:lnTo>
                    <a:pt x="81" y="142"/>
                  </a:lnTo>
                  <a:lnTo>
                    <a:pt x="74" y="143"/>
                  </a:lnTo>
                  <a:lnTo>
                    <a:pt x="66" y="149"/>
                  </a:lnTo>
                  <a:lnTo>
                    <a:pt x="60" y="158"/>
                  </a:lnTo>
                  <a:lnTo>
                    <a:pt x="53" y="173"/>
                  </a:lnTo>
                  <a:lnTo>
                    <a:pt x="53" y="118"/>
                  </a:lnTo>
                  <a:lnTo>
                    <a:pt x="56" y="118"/>
                  </a:lnTo>
                  <a:lnTo>
                    <a:pt x="61" y="116"/>
                  </a:lnTo>
                  <a:lnTo>
                    <a:pt x="69" y="115"/>
                  </a:lnTo>
                  <a:lnTo>
                    <a:pt x="78" y="110"/>
                  </a:lnTo>
                  <a:lnTo>
                    <a:pt x="87" y="103"/>
                  </a:lnTo>
                  <a:lnTo>
                    <a:pt x="92" y="92"/>
                  </a:lnTo>
                  <a:lnTo>
                    <a:pt x="95" y="77"/>
                  </a:lnTo>
                  <a:lnTo>
                    <a:pt x="92" y="77"/>
                  </a:lnTo>
                  <a:lnTo>
                    <a:pt x="88" y="77"/>
                  </a:lnTo>
                  <a:lnTo>
                    <a:pt x="81" y="79"/>
                  </a:lnTo>
                  <a:lnTo>
                    <a:pt x="73" y="81"/>
                  </a:lnTo>
                  <a:lnTo>
                    <a:pt x="65" y="88"/>
                  </a:lnTo>
                  <a:lnTo>
                    <a:pt x="58" y="99"/>
                  </a:lnTo>
                  <a:lnTo>
                    <a:pt x="53" y="115"/>
                  </a:lnTo>
                  <a:lnTo>
                    <a:pt x="53" y="48"/>
                  </a:lnTo>
                  <a:lnTo>
                    <a:pt x="56" y="48"/>
                  </a:lnTo>
                  <a:lnTo>
                    <a:pt x="61" y="48"/>
                  </a:lnTo>
                  <a:lnTo>
                    <a:pt x="68" y="45"/>
                  </a:lnTo>
                  <a:lnTo>
                    <a:pt x="77" y="42"/>
                  </a:lnTo>
                  <a:lnTo>
                    <a:pt x="85" y="37"/>
                  </a:lnTo>
                  <a:lnTo>
                    <a:pt x="93" y="27"/>
                  </a:lnTo>
                  <a:lnTo>
                    <a:pt x="97" y="17"/>
                  </a:lnTo>
                  <a:lnTo>
                    <a:pt x="100" y="0"/>
                  </a:lnTo>
                  <a:lnTo>
                    <a:pt x="97" y="0"/>
                  </a:lnTo>
                  <a:lnTo>
                    <a:pt x="92" y="0"/>
                  </a:lnTo>
                  <a:lnTo>
                    <a:pt x="84" y="3"/>
                  </a:lnTo>
                  <a:lnTo>
                    <a:pt x="74" y="7"/>
                  </a:lnTo>
                  <a:lnTo>
                    <a:pt x="65" y="14"/>
                  </a:lnTo>
                  <a:lnTo>
                    <a:pt x="57" y="27"/>
                  </a:lnTo>
                  <a:lnTo>
                    <a:pt x="50" y="45"/>
                  </a:lnTo>
                  <a:lnTo>
                    <a:pt x="50" y="42"/>
                  </a:lnTo>
                  <a:lnTo>
                    <a:pt x="47" y="35"/>
                  </a:lnTo>
                  <a:lnTo>
                    <a:pt x="43" y="27"/>
                  </a:lnTo>
                  <a:lnTo>
                    <a:pt x="38" y="18"/>
                  </a:lnTo>
                  <a:lnTo>
                    <a:pt x="29" y="10"/>
                  </a:lnTo>
                  <a:lnTo>
                    <a:pt x="16" y="3"/>
                  </a:lnTo>
                  <a:lnTo>
                    <a:pt x="0" y="0"/>
                  </a:lnTo>
                  <a:lnTo>
                    <a:pt x="2" y="3"/>
                  </a:lnTo>
                  <a:lnTo>
                    <a:pt x="3" y="10"/>
                  </a:lnTo>
                  <a:lnTo>
                    <a:pt x="6" y="19"/>
                  </a:lnTo>
                  <a:lnTo>
                    <a:pt x="11" y="29"/>
                  </a:lnTo>
                  <a:lnTo>
                    <a:pt x="19" y="38"/>
                  </a:lnTo>
                  <a:lnTo>
                    <a:pt x="31" y="45"/>
                  </a:lnTo>
                  <a:lnTo>
                    <a:pt x="47" y="48"/>
                  </a:lnTo>
                  <a:lnTo>
                    <a:pt x="47" y="135"/>
                  </a:lnTo>
                  <a:lnTo>
                    <a:pt x="47" y="132"/>
                  </a:lnTo>
                  <a:lnTo>
                    <a:pt x="46" y="126"/>
                  </a:lnTo>
                  <a:lnTo>
                    <a:pt x="42" y="118"/>
                  </a:lnTo>
                  <a:lnTo>
                    <a:pt x="35" y="110"/>
                  </a:lnTo>
                  <a:lnTo>
                    <a:pt x="26" y="103"/>
                  </a:lnTo>
                  <a:lnTo>
                    <a:pt x="12" y="100"/>
                  </a:lnTo>
                  <a:lnTo>
                    <a:pt x="12" y="103"/>
                  </a:lnTo>
                  <a:lnTo>
                    <a:pt x="14" y="108"/>
                  </a:lnTo>
                  <a:lnTo>
                    <a:pt x="16" y="116"/>
                  </a:lnTo>
                  <a:lnTo>
                    <a:pt x="20" y="124"/>
                  </a:lnTo>
                  <a:lnTo>
                    <a:pt x="26" y="132"/>
                  </a:lnTo>
                  <a:lnTo>
                    <a:pt x="35" y="139"/>
                  </a:lnTo>
                  <a:lnTo>
                    <a:pt x="47" y="141"/>
                  </a:lnTo>
                  <a:lnTo>
                    <a:pt x="47" y="228"/>
                  </a:lnTo>
                  <a:lnTo>
                    <a:pt x="53"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5" name="Freeform 21"/>
            <p:cNvSpPr>
              <a:spLocks/>
            </p:cNvSpPr>
            <p:nvPr/>
          </p:nvSpPr>
          <p:spPr bwMode="gray">
            <a:xfrm>
              <a:off x="2273" y="187"/>
              <a:ext cx="175" cy="402"/>
            </a:xfrm>
            <a:custGeom>
              <a:avLst/>
              <a:gdLst/>
              <a:ahLst/>
              <a:cxnLst>
                <a:cxn ang="0">
                  <a:pos x="93" y="309"/>
                </a:cxn>
                <a:cxn ang="0">
                  <a:pos x="101" y="309"/>
                </a:cxn>
                <a:cxn ang="0">
                  <a:pos x="118" y="304"/>
                </a:cxn>
                <a:cxn ang="0">
                  <a:pos x="138" y="292"/>
                </a:cxn>
                <a:cxn ang="0">
                  <a:pos x="152" y="266"/>
                </a:cxn>
                <a:cxn ang="0">
                  <a:pos x="152" y="247"/>
                </a:cxn>
                <a:cxn ang="0">
                  <a:pos x="138" y="250"/>
                </a:cxn>
                <a:cxn ang="0">
                  <a:pos x="120" y="259"/>
                </a:cxn>
                <a:cxn ang="0">
                  <a:pos x="99" y="285"/>
                </a:cxn>
                <a:cxn ang="0">
                  <a:pos x="93" y="207"/>
                </a:cxn>
                <a:cxn ang="0">
                  <a:pos x="102" y="205"/>
                </a:cxn>
                <a:cxn ang="0">
                  <a:pos x="122" y="200"/>
                </a:cxn>
                <a:cxn ang="0">
                  <a:pos x="147" y="185"/>
                </a:cxn>
                <a:cxn ang="0">
                  <a:pos x="163" y="155"/>
                </a:cxn>
                <a:cxn ang="0">
                  <a:pos x="163" y="134"/>
                </a:cxn>
                <a:cxn ang="0">
                  <a:pos x="149" y="135"/>
                </a:cxn>
                <a:cxn ang="0">
                  <a:pos x="129" y="142"/>
                </a:cxn>
                <a:cxn ang="0">
                  <a:pos x="107" y="162"/>
                </a:cxn>
                <a:cxn ang="0">
                  <a:pos x="93" y="201"/>
                </a:cxn>
                <a:cxn ang="0">
                  <a:pos x="95" y="83"/>
                </a:cxn>
                <a:cxn ang="0">
                  <a:pos x="110" y="81"/>
                </a:cxn>
                <a:cxn ang="0">
                  <a:pos x="134" y="73"/>
                </a:cxn>
                <a:cxn ang="0">
                  <a:pos x="157" y="54"/>
                </a:cxn>
                <a:cxn ang="0">
                  <a:pos x="174" y="23"/>
                </a:cxn>
                <a:cxn ang="0">
                  <a:pos x="174" y="0"/>
                </a:cxn>
                <a:cxn ang="0">
                  <a:pos x="157" y="2"/>
                </a:cxn>
                <a:cxn ang="0">
                  <a:pos x="133" y="10"/>
                </a:cxn>
                <a:cxn ang="0">
                  <a:pos x="107" y="33"/>
                </a:cxn>
                <a:cxn ang="0">
                  <a:pos x="87" y="77"/>
                </a:cxn>
                <a:cxn ang="0">
                  <a:pos x="85" y="68"/>
                </a:cxn>
                <a:cxn ang="0">
                  <a:pos x="75" y="46"/>
                </a:cxn>
                <a:cxn ang="0">
                  <a:pos x="55" y="21"/>
                </a:cxn>
                <a:cxn ang="0">
                  <a:pos x="22" y="3"/>
                </a:cxn>
                <a:cxn ang="0">
                  <a:pos x="1" y="3"/>
                </a:cxn>
                <a:cxn ang="0">
                  <a:pos x="4" y="18"/>
                </a:cxn>
                <a:cxn ang="0">
                  <a:pos x="12" y="42"/>
                </a:cxn>
                <a:cxn ang="0">
                  <a:pos x="31" y="65"/>
                </a:cxn>
                <a:cxn ang="0">
                  <a:pos x="62" y="81"/>
                </a:cxn>
                <a:cxn ang="0">
                  <a:pos x="82" y="238"/>
                </a:cxn>
                <a:cxn ang="0">
                  <a:pos x="80" y="228"/>
                </a:cxn>
                <a:cxn ang="0">
                  <a:pos x="72" y="207"/>
                </a:cxn>
                <a:cxn ang="0">
                  <a:pos x="55" y="185"/>
                </a:cxn>
                <a:cxn ang="0">
                  <a:pos x="21" y="176"/>
                </a:cxn>
                <a:cxn ang="0">
                  <a:pos x="22" y="185"/>
                </a:cxn>
                <a:cxn ang="0">
                  <a:pos x="28" y="205"/>
                </a:cxn>
                <a:cxn ang="0">
                  <a:pos x="41" y="230"/>
                </a:cxn>
                <a:cxn ang="0">
                  <a:pos x="66" y="246"/>
                </a:cxn>
                <a:cxn ang="0">
                  <a:pos x="82" y="402"/>
                </a:cxn>
              </a:cxnLst>
              <a:rect l="0" t="0" r="r" b="b"/>
              <a:pathLst>
                <a:path w="175" h="402">
                  <a:moveTo>
                    <a:pt x="93" y="402"/>
                  </a:moveTo>
                  <a:lnTo>
                    <a:pt x="93" y="309"/>
                  </a:lnTo>
                  <a:lnTo>
                    <a:pt x="95" y="309"/>
                  </a:lnTo>
                  <a:lnTo>
                    <a:pt x="101" y="309"/>
                  </a:lnTo>
                  <a:lnTo>
                    <a:pt x="109" y="308"/>
                  </a:lnTo>
                  <a:lnTo>
                    <a:pt x="118" y="304"/>
                  </a:lnTo>
                  <a:lnTo>
                    <a:pt x="129" y="298"/>
                  </a:lnTo>
                  <a:lnTo>
                    <a:pt x="138" y="292"/>
                  </a:lnTo>
                  <a:lnTo>
                    <a:pt x="147" y="281"/>
                  </a:lnTo>
                  <a:lnTo>
                    <a:pt x="152" y="266"/>
                  </a:lnTo>
                  <a:lnTo>
                    <a:pt x="155" y="247"/>
                  </a:lnTo>
                  <a:lnTo>
                    <a:pt x="152" y="247"/>
                  </a:lnTo>
                  <a:lnTo>
                    <a:pt x="147" y="249"/>
                  </a:lnTo>
                  <a:lnTo>
                    <a:pt x="138" y="250"/>
                  </a:lnTo>
                  <a:lnTo>
                    <a:pt x="129" y="253"/>
                  </a:lnTo>
                  <a:lnTo>
                    <a:pt x="120" y="259"/>
                  </a:lnTo>
                  <a:lnTo>
                    <a:pt x="109" y="270"/>
                  </a:lnTo>
                  <a:lnTo>
                    <a:pt x="99" y="285"/>
                  </a:lnTo>
                  <a:lnTo>
                    <a:pt x="93" y="304"/>
                  </a:lnTo>
                  <a:lnTo>
                    <a:pt x="93" y="207"/>
                  </a:lnTo>
                  <a:lnTo>
                    <a:pt x="95" y="207"/>
                  </a:lnTo>
                  <a:lnTo>
                    <a:pt x="102" y="205"/>
                  </a:lnTo>
                  <a:lnTo>
                    <a:pt x="111" y="204"/>
                  </a:lnTo>
                  <a:lnTo>
                    <a:pt x="122" y="200"/>
                  </a:lnTo>
                  <a:lnTo>
                    <a:pt x="134" y="195"/>
                  </a:lnTo>
                  <a:lnTo>
                    <a:pt x="147" y="185"/>
                  </a:lnTo>
                  <a:lnTo>
                    <a:pt x="156" y="173"/>
                  </a:lnTo>
                  <a:lnTo>
                    <a:pt x="163" y="155"/>
                  </a:lnTo>
                  <a:lnTo>
                    <a:pt x="165" y="134"/>
                  </a:lnTo>
                  <a:lnTo>
                    <a:pt x="163" y="134"/>
                  </a:lnTo>
                  <a:lnTo>
                    <a:pt x="157" y="134"/>
                  </a:lnTo>
                  <a:lnTo>
                    <a:pt x="149" y="135"/>
                  </a:lnTo>
                  <a:lnTo>
                    <a:pt x="140" y="137"/>
                  </a:lnTo>
                  <a:lnTo>
                    <a:pt x="129" y="142"/>
                  </a:lnTo>
                  <a:lnTo>
                    <a:pt x="118" y="150"/>
                  </a:lnTo>
                  <a:lnTo>
                    <a:pt x="107" y="162"/>
                  </a:lnTo>
                  <a:lnTo>
                    <a:pt x="99" y="178"/>
                  </a:lnTo>
                  <a:lnTo>
                    <a:pt x="93" y="201"/>
                  </a:lnTo>
                  <a:lnTo>
                    <a:pt x="93" y="83"/>
                  </a:lnTo>
                  <a:lnTo>
                    <a:pt x="95" y="83"/>
                  </a:lnTo>
                  <a:lnTo>
                    <a:pt x="101" y="83"/>
                  </a:lnTo>
                  <a:lnTo>
                    <a:pt x="110" y="81"/>
                  </a:lnTo>
                  <a:lnTo>
                    <a:pt x="122" y="77"/>
                  </a:lnTo>
                  <a:lnTo>
                    <a:pt x="134" y="73"/>
                  </a:lnTo>
                  <a:lnTo>
                    <a:pt x="147" y="65"/>
                  </a:lnTo>
                  <a:lnTo>
                    <a:pt x="157" y="54"/>
                  </a:lnTo>
                  <a:lnTo>
                    <a:pt x="167" y="41"/>
                  </a:lnTo>
                  <a:lnTo>
                    <a:pt x="174" y="23"/>
                  </a:lnTo>
                  <a:lnTo>
                    <a:pt x="175" y="0"/>
                  </a:lnTo>
                  <a:lnTo>
                    <a:pt x="174" y="0"/>
                  </a:lnTo>
                  <a:lnTo>
                    <a:pt x="167" y="0"/>
                  </a:lnTo>
                  <a:lnTo>
                    <a:pt x="157" y="2"/>
                  </a:lnTo>
                  <a:lnTo>
                    <a:pt x="145" y="4"/>
                  </a:lnTo>
                  <a:lnTo>
                    <a:pt x="133" y="10"/>
                  </a:lnTo>
                  <a:lnTo>
                    <a:pt x="120" y="19"/>
                  </a:lnTo>
                  <a:lnTo>
                    <a:pt x="107" y="33"/>
                  </a:lnTo>
                  <a:lnTo>
                    <a:pt x="97" y="52"/>
                  </a:lnTo>
                  <a:lnTo>
                    <a:pt x="87" y="77"/>
                  </a:lnTo>
                  <a:lnTo>
                    <a:pt x="87" y="75"/>
                  </a:lnTo>
                  <a:lnTo>
                    <a:pt x="85" y="68"/>
                  </a:lnTo>
                  <a:lnTo>
                    <a:pt x="80" y="58"/>
                  </a:lnTo>
                  <a:lnTo>
                    <a:pt x="75" y="46"/>
                  </a:lnTo>
                  <a:lnTo>
                    <a:pt x="66" y="33"/>
                  </a:lnTo>
                  <a:lnTo>
                    <a:pt x="55" y="21"/>
                  </a:lnTo>
                  <a:lnTo>
                    <a:pt x="40" y="10"/>
                  </a:lnTo>
                  <a:lnTo>
                    <a:pt x="22" y="3"/>
                  </a:lnTo>
                  <a:lnTo>
                    <a:pt x="0" y="0"/>
                  </a:lnTo>
                  <a:lnTo>
                    <a:pt x="1" y="3"/>
                  </a:lnTo>
                  <a:lnTo>
                    <a:pt x="1" y="10"/>
                  </a:lnTo>
                  <a:lnTo>
                    <a:pt x="4" y="18"/>
                  </a:lnTo>
                  <a:lnTo>
                    <a:pt x="6" y="30"/>
                  </a:lnTo>
                  <a:lnTo>
                    <a:pt x="12" y="42"/>
                  </a:lnTo>
                  <a:lnTo>
                    <a:pt x="20" y="54"/>
                  </a:lnTo>
                  <a:lnTo>
                    <a:pt x="31" y="65"/>
                  </a:lnTo>
                  <a:lnTo>
                    <a:pt x="44" y="75"/>
                  </a:lnTo>
                  <a:lnTo>
                    <a:pt x="62" y="81"/>
                  </a:lnTo>
                  <a:lnTo>
                    <a:pt x="82" y="83"/>
                  </a:lnTo>
                  <a:lnTo>
                    <a:pt x="82" y="238"/>
                  </a:lnTo>
                  <a:lnTo>
                    <a:pt x="82" y="235"/>
                  </a:lnTo>
                  <a:lnTo>
                    <a:pt x="80" y="228"/>
                  </a:lnTo>
                  <a:lnTo>
                    <a:pt x="78" y="217"/>
                  </a:lnTo>
                  <a:lnTo>
                    <a:pt x="72" y="207"/>
                  </a:lnTo>
                  <a:lnTo>
                    <a:pt x="66" y="196"/>
                  </a:lnTo>
                  <a:lnTo>
                    <a:pt x="55" y="185"/>
                  </a:lnTo>
                  <a:lnTo>
                    <a:pt x="40" y="178"/>
                  </a:lnTo>
                  <a:lnTo>
                    <a:pt x="21" y="176"/>
                  </a:lnTo>
                  <a:lnTo>
                    <a:pt x="21" y="178"/>
                  </a:lnTo>
                  <a:lnTo>
                    <a:pt x="22" y="185"/>
                  </a:lnTo>
                  <a:lnTo>
                    <a:pt x="24" y="195"/>
                  </a:lnTo>
                  <a:lnTo>
                    <a:pt x="28" y="205"/>
                  </a:lnTo>
                  <a:lnTo>
                    <a:pt x="33" y="217"/>
                  </a:lnTo>
                  <a:lnTo>
                    <a:pt x="41" y="230"/>
                  </a:lnTo>
                  <a:lnTo>
                    <a:pt x="52" y="239"/>
                  </a:lnTo>
                  <a:lnTo>
                    <a:pt x="66" y="246"/>
                  </a:lnTo>
                  <a:lnTo>
                    <a:pt x="82" y="247"/>
                  </a:lnTo>
                  <a:lnTo>
                    <a:pt x="82" y="402"/>
                  </a:lnTo>
                  <a:lnTo>
                    <a:pt x="93" y="40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6" name="Freeform 22"/>
            <p:cNvSpPr>
              <a:spLocks/>
            </p:cNvSpPr>
            <p:nvPr/>
          </p:nvSpPr>
          <p:spPr bwMode="gray">
            <a:xfrm>
              <a:off x="2161" y="216"/>
              <a:ext cx="97" cy="373"/>
            </a:xfrm>
            <a:custGeom>
              <a:avLst/>
              <a:gdLst/>
              <a:ahLst/>
              <a:cxnLst>
                <a:cxn ang="0">
                  <a:pos x="52" y="237"/>
                </a:cxn>
                <a:cxn ang="0">
                  <a:pos x="59" y="237"/>
                </a:cxn>
                <a:cxn ang="0">
                  <a:pos x="74" y="232"/>
                </a:cxn>
                <a:cxn ang="0">
                  <a:pos x="90" y="218"/>
                </a:cxn>
                <a:cxn ang="0">
                  <a:pos x="97" y="193"/>
                </a:cxn>
                <a:cxn ang="0">
                  <a:pos x="89" y="193"/>
                </a:cxn>
                <a:cxn ang="0">
                  <a:pos x="71" y="197"/>
                </a:cxn>
                <a:cxn ang="0">
                  <a:pos x="56" y="215"/>
                </a:cxn>
                <a:cxn ang="0">
                  <a:pos x="52" y="147"/>
                </a:cxn>
                <a:cxn ang="0">
                  <a:pos x="59" y="147"/>
                </a:cxn>
                <a:cxn ang="0">
                  <a:pos x="74" y="141"/>
                </a:cxn>
                <a:cxn ang="0">
                  <a:pos x="90" y="128"/>
                </a:cxn>
                <a:cxn ang="0">
                  <a:pos x="97" y="102"/>
                </a:cxn>
                <a:cxn ang="0">
                  <a:pos x="89" y="102"/>
                </a:cxn>
                <a:cxn ang="0">
                  <a:pos x="71" y="109"/>
                </a:cxn>
                <a:cxn ang="0">
                  <a:pos x="56" y="126"/>
                </a:cxn>
                <a:cxn ang="0">
                  <a:pos x="52" y="46"/>
                </a:cxn>
                <a:cxn ang="0">
                  <a:pos x="51" y="37"/>
                </a:cxn>
                <a:cxn ang="0">
                  <a:pos x="45" y="23"/>
                </a:cxn>
                <a:cxn ang="0">
                  <a:pos x="32" y="6"/>
                </a:cxn>
                <a:cxn ang="0">
                  <a:pos x="6" y="0"/>
                </a:cxn>
                <a:cxn ang="0">
                  <a:pos x="8" y="9"/>
                </a:cxn>
                <a:cxn ang="0">
                  <a:pos x="16" y="27"/>
                </a:cxn>
                <a:cxn ang="0">
                  <a:pos x="33" y="43"/>
                </a:cxn>
                <a:cxn ang="0">
                  <a:pos x="45" y="113"/>
                </a:cxn>
                <a:cxn ang="0">
                  <a:pos x="45" y="106"/>
                </a:cxn>
                <a:cxn ang="0">
                  <a:pos x="40" y="90"/>
                </a:cxn>
                <a:cxn ang="0">
                  <a:pos x="27" y="75"/>
                </a:cxn>
                <a:cxn ang="0">
                  <a:pos x="1" y="67"/>
                </a:cxn>
                <a:cxn ang="0">
                  <a:pos x="0" y="75"/>
                </a:cxn>
                <a:cxn ang="0">
                  <a:pos x="2" y="91"/>
                </a:cxn>
                <a:cxn ang="0">
                  <a:pos x="14" y="109"/>
                </a:cxn>
                <a:cxn ang="0">
                  <a:pos x="45" y="118"/>
                </a:cxn>
                <a:cxn ang="0">
                  <a:pos x="45" y="207"/>
                </a:cxn>
                <a:cxn ang="0">
                  <a:pos x="43" y="195"/>
                </a:cxn>
                <a:cxn ang="0">
                  <a:pos x="33" y="182"/>
                </a:cxn>
                <a:cxn ang="0">
                  <a:pos x="12" y="175"/>
                </a:cxn>
                <a:cxn ang="0">
                  <a:pos x="10" y="182"/>
                </a:cxn>
                <a:cxn ang="0">
                  <a:pos x="13" y="197"/>
                </a:cxn>
                <a:cxn ang="0">
                  <a:pos x="29" y="211"/>
                </a:cxn>
                <a:cxn ang="0">
                  <a:pos x="45" y="373"/>
                </a:cxn>
              </a:cxnLst>
              <a:rect l="0" t="0" r="r" b="b"/>
              <a:pathLst>
                <a:path w="97" h="373">
                  <a:moveTo>
                    <a:pt x="52" y="373"/>
                  </a:moveTo>
                  <a:lnTo>
                    <a:pt x="52" y="237"/>
                  </a:lnTo>
                  <a:lnTo>
                    <a:pt x="54" y="237"/>
                  </a:lnTo>
                  <a:lnTo>
                    <a:pt x="59" y="237"/>
                  </a:lnTo>
                  <a:lnTo>
                    <a:pt x="66" y="236"/>
                  </a:lnTo>
                  <a:lnTo>
                    <a:pt x="74" y="232"/>
                  </a:lnTo>
                  <a:lnTo>
                    <a:pt x="82" y="226"/>
                  </a:lnTo>
                  <a:lnTo>
                    <a:pt x="90" y="218"/>
                  </a:lnTo>
                  <a:lnTo>
                    <a:pt x="95" y="207"/>
                  </a:lnTo>
                  <a:lnTo>
                    <a:pt x="97" y="193"/>
                  </a:lnTo>
                  <a:lnTo>
                    <a:pt x="94" y="193"/>
                  </a:lnTo>
                  <a:lnTo>
                    <a:pt x="89" y="193"/>
                  </a:lnTo>
                  <a:lnTo>
                    <a:pt x="81" y="194"/>
                  </a:lnTo>
                  <a:lnTo>
                    <a:pt x="71" y="197"/>
                  </a:lnTo>
                  <a:lnTo>
                    <a:pt x="63" y="205"/>
                  </a:lnTo>
                  <a:lnTo>
                    <a:pt x="56" y="215"/>
                  </a:lnTo>
                  <a:lnTo>
                    <a:pt x="52" y="232"/>
                  </a:lnTo>
                  <a:lnTo>
                    <a:pt x="52" y="147"/>
                  </a:lnTo>
                  <a:lnTo>
                    <a:pt x="54" y="147"/>
                  </a:lnTo>
                  <a:lnTo>
                    <a:pt x="59" y="147"/>
                  </a:lnTo>
                  <a:lnTo>
                    <a:pt x="66" y="144"/>
                  </a:lnTo>
                  <a:lnTo>
                    <a:pt x="74" y="141"/>
                  </a:lnTo>
                  <a:lnTo>
                    <a:pt x="82" y="136"/>
                  </a:lnTo>
                  <a:lnTo>
                    <a:pt x="90" y="128"/>
                  </a:lnTo>
                  <a:lnTo>
                    <a:pt x="95" y="117"/>
                  </a:lnTo>
                  <a:lnTo>
                    <a:pt x="97" y="102"/>
                  </a:lnTo>
                  <a:lnTo>
                    <a:pt x="94" y="102"/>
                  </a:lnTo>
                  <a:lnTo>
                    <a:pt x="89" y="102"/>
                  </a:lnTo>
                  <a:lnTo>
                    <a:pt x="81" y="105"/>
                  </a:lnTo>
                  <a:lnTo>
                    <a:pt x="71" y="109"/>
                  </a:lnTo>
                  <a:lnTo>
                    <a:pt x="63" y="116"/>
                  </a:lnTo>
                  <a:lnTo>
                    <a:pt x="56" y="126"/>
                  </a:lnTo>
                  <a:lnTo>
                    <a:pt x="52" y="141"/>
                  </a:lnTo>
                  <a:lnTo>
                    <a:pt x="52" y="46"/>
                  </a:lnTo>
                  <a:lnTo>
                    <a:pt x="51" y="43"/>
                  </a:lnTo>
                  <a:lnTo>
                    <a:pt x="51" y="37"/>
                  </a:lnTo>
                  <a:lnTo>
                    <a:pt x="49" y="31"/>
                  </a:lnTo>
                  <a:lnTo>
                    <a:pt x="45" y="23"/>
                  </a:lnTo>
                  <a:lnTo>
                    <a:pt x="40" y="15"/>
                  </a:lnTo>
                  <a:lnTo>
                    <a:pt x="32" y="6"/>
                  </a:lnTo>
                  <a:lnTo>
                    <a:pt x="21" y="2"/>
                  </a:lnTo>
                  <a:lnTo>
                    <a:pt x="6" y="0"/>
                  </a:lnTo>
                  <a:lnTo>
                    <a:pt x="6" y="2"/>
                  </a:lnTo>
                  <a:lnTo>
                    <a:pt x="8" y="9"/>
                  </a:lnTo>
                  <a:lnTo>
                    <a:pt x="12" y="17"/>
                  </a:lnTo>
                  <a:lnTo>
                    <a:pt x="16" y="27"/>
                  </a:lnTo>
                  <a:lnTo>
                    <a:pt x="23" y="36"/>
                  </a:lnTo>
                  <a:lnTo>
                    <a:pt x="33" y="43"/>
                  </a:lnTo>
                  <a:lnTo>
                    <a:pt x="45" y="46"/>
                  </a:lnTo>
                  <a:lnTo>
                    <a:pt x="45" y="113"/>
                  </a:lnTo>
                  <a:lnTo>
                    <a:pt x="45" y="112"/>
                  </a:lnTo>
                  <a:lnTo>
                    <a:pt x="45" y="106"/>
                  </a:lnTo>
                  <a:lnTo>
                    <a:pt x="44" y="98"/>
                  </a:lnTo>
                  <a:lnTo>
                    <a:pt x="40" y="90"/>
                  </a:lnTo>
                  <a:lnTo>
                    <a:pt x="35" y="82"/>
                  </a:lnTo>
                  <a:lnTo>
                    <a:pt x="27" y="75"/>
                  </a:lnTo>
                  <a:lnTo>
                    <a:pt x="16" y="70"/>
                  </a:lnTo>
                  <a:lnTo>
                    <a:pt x="1" y="67"/>
                  </a:lnTo>
                  <a:lnTo>
                    <a:pt x="0" y="70"/>
                  </a:lnTo>
                  <a:lnTo>
                    <a:pt x="0" y="75"/>
                  </a:lnTo>
                  <a:lnTo>
                    <a:pt x="0" y="82"/>
                  </a:lnTo>
                  <a:lnTo>
                    <a:pt x="2" y="91"/>
                  </a:lnTo>
                  <a:lnTo>
                    <a:pt x="6" y="100"/>
                  </a:lnTo>
                  <a:lnTo>
                    <a:pt x="14" y="109"/>
                  </a:lnTo>
                  <a:lnTo>
                    <a:pt x="28" y="114"/>
                  </a:lnTo>
                  <a:lnTo>
                    <a:pt x="45" y="118"/>
                  </a:lnTo>
                  <a:lnTo>
                    <a:pt x="45" y="209"/>
                  </a:lnTo>
                  <a:lnTo>
                    <a:pt x="45" y="207"/>
                  </a:lnTo>
                  <a:lnTo>
                    <a:pt x="45" y="202"/>
                  </a:lnTo>
                  <a:lnTo>
                    <a:pt x="43" y="195"/>
                  </a:lnTo>
                  <a:lnTo>
                    <a:pt x="40" y="188"/>
                  </a:lnTo>
                  <a:lnTo>
                    <a:pt x="33" y="182"/>
                  </a:lnTo>
                  <a:lnTo>
                    <a:pt x="24" y="178"/>
                  </a:lnTo>
                  <a:lnTo>
                    <a:pt x="12" y="175"/>
                  </a:lnTo>
                  <a:lnTo>
                    <a:pt x="12" y="178"/>
                  </a:lnTo>
                  <a:lnTo>
                    <a:pt x="10" y="182"/>
                  </a:lnTo>
                  <a:lnTo>
                    <a:pt x="10" y="188"/>
                  </a:lnTo>
                  <a:lnTo>
                    <a:pt x="13" y="197"/>
                  </a:lnTo>
                  <a:lnTo>
                    <a:pt x="20" y="205"/>
                  </a:lnTo>
                  <a:lnTo>
                    <a:pt x="29" y="211"/>
                  </a:lnTo>
                  <a:lnTo>
                    <a:pt x="45" y="215"/>
                  </a:lnTo>
                  <a:lnTo>
                    <a:pt x="45" y="373"/>
                  </a:lnTo>
                  <a:lnTo>
                    <a:pt x="52"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7" name="Freeform 23"/>
            <p:cNvSpPr>
              <a:spLocks/>
            </p:cNvSpPr>
            <p:nvPr/>
          </p:nvSpPr>
          <p:spPr bwMode="gray">
            <a:xfrm>
              <a:off x="2708" y="216"/>
              <a:ext cx="97" cy="373"/>
            </a:xfrm>
            <a:custGeom>
              <a:avLst/>
              <a:gdLst/>
              <a:ahLst/>
              <a:cxnLst>
                <a:cxn ang="0">
                  <a:pos x="51" y="237"/>
                </a:cxn>
                <a:cxn ang="0">
                  <a:pos x="60" y="237"/>
                </a:cxn>
                <a:cxn ang="0">
                  <a:pos x="74" y="232"/>
                </a:cxn>
                <a:cxn ang="0">
                  <a:pos x="91" y="218"/>
                </a:cxn>
                <a:cxn ang="0">
                  <a:pos x="97" y="193"/>
                </a:cxn>
                <a:cxn ang="0">
                  <a:pos x="89" y="193"/>
                </a:cxn>
                <a:cxn ang="0">
                  <a:pos x="72" y="197"/>
                </a:cxn>
                <a:cxn ang="0">
                  <a:pos x="55" y="215"/>
                </a:cxn>
                <a:cxn ang="0">
                  <a:pos x="51" y="147"/>
                </a:cxn>
                <a:cxn ang="0">
                  <a:pos x="60" y="147"/>
                </a:cxn>
                <a:cxn ang="0">
                  <a:pos x="74" y="141"/>
                </a:cxn>
                <a:cxn ang="0">
                  <a:pos x="91" y="128"/>
                </a:cxn>
                <a:cxn ang="0">
                  <a:pos x="97" y="102"/>
                </a:cxn>
                <a:cxn ang="0">
                  <a:pos x="89" y="102"/>
                </a:cxn>
                <a:cxn ang="0">
                  <a:pos x="72" y="109"/>
                </a:cxn>
                <a:cxn ang="0">
                  <a:pos x="55" y="126"/>
                </a:cxn>
                <a:cxn ang="0">
                  <a:pos x="51" y="46"/>
                </a:cxn>
                <a:cxn ang="0">
                  <a:pos x="51" y="37"/>
                </a:cxn>
                <a:cxn ang="0">
                  <a:pos x="46" y="23"/>
                </a:cxn>
                <a:cxn ang="0">
                  <a:pos x="33" y="6"/>
                </a:cxn>
                <a:cxn ang="0">
                  <a:pos x="7" y="0"/>
                </a:cxn>
                <a:cxn ang="0">
                  <a:pos x="8" y="9"/>
                </a:cxn>
                <a:cxn ang="0">
                  <a:pos x="16" y="27"/>
                </a:cxn>
                <a:cxn ang="0">
                  <a:pos x="34" y="43"/>
                </a:cxn>
                <a:cxn ang="0">
                  <a:pos x="46" y="113"/>
                </a:cxn>
                <a:cxn ang="0">
                  <a:pos x="46" y="106"/>
                </a:cxn>
                <a:cxn ang="0">
                  <a:pos x="41" y="90"/>
                </a:cxn>
                <a:cxn ang="0">
                  <a:pos x="27" y="75"/>
                </a:cxn>
                <a:cxn ang="0">
                  <a:pos x="0" y="67"/>
                </a:cxn>
                <a:cxn ang="0">
                  <a:pos x="0" y="75"/>
                </a:cxn>
                <a:cxn ang="0">
                  <a:pos x="3" y="91"/>
                </a:cxn>
                <a:cxn ang="0">
                  <a:pos x="15" y="109"/>
                </a:cxn>
                <a:cxn ang="0">
                  <a:pos x="46" y="118"/>
                </a:cxn>
                <a:cxn ang="0">
                  <a:pos x="46" y="207"/>
                </a:cxn>
                <a:cxn ang="0">
                  <a:pos x="43" y="195"/>
                </a:cxn>
                <a:cxn ang="0">
                  <a:pos x="34" y="182"/>
                </a:cxn>
                <a:cxn ang="0">
                  <a:pos x="12" y="175"/>
                </a:cxn>
                <a:cxn ang="0">
                  <a:pos x="11" y="182"/>
                </a:cxn>
                <a:cxn ang="0">
                  <a:pos x="14" y="197"/>
                </a:cxn>
                <a:cxn ang="0">
                  <a:pos x="30" y="211"/>
                </a:cxn>
                <a:cxn ang="0">
                  <a:pos x="46" y="373"/>
                </a:cxn>
              </a:cxnLst>
              <a:rect l="0" t="0" r="r" b="b"/>
              <a:pathLst>
                <a:path w="97" h="373">
                  <a:moveTo>
                    <a:pt x="51" y="373"/>
                  </a:moveTo>
                  <a:lnTo>
                    <a:pt x="51" y="237"/>
                  </a:lnTo>
                  <a:lnTo>
                    <a:pt x="54" y="237"/>
                  </a:lnTo>
                  <a:lnTo>
                    <a:pt x="60" y="237"/>
                  </a:lnTo>
                  <a:lnTo>
                    <a:pt x="66" y="236"/>
                  </a:lnTo>
                  <a:lnTo>
                    <a:pt x="74" y="232"/>
                  </a:lnTo>
                  <a:lnTo>
                    <a:pt x="82" y="226"/>
                  </a:lnTo>
                  <a:lnTo>
                    <a:pt x="91" y="218"/>
                  </a:lnTo>
                  <a:lnTo>
                    <a:pt x="95" y="207"/>
                  </a:lnTo>
                  <a:lnTo>
                    <a:pt x="97" y="193"/>
                  </a:lnTo>
                  <a:lnTo>
                    <a:pt x="95" y="193"/>
                  </a:lnTo>
                  <a:lnTo>
                    <a:pt x="89" y="193"/>
                  </a:lnTo>
                  <a:lnTo>
                    <a:pt x="81" y="194"/>
                  </a:lnTo>
                  <a:lnTo>
                    <a:pt x="72" y="197"/>
                  </a:lnTo>
                  <a:lnTo>
                    <a:pt x="64" y="205"/>
                  </a:lnTo>
                  <a:lnTo>
                    <a:pt x="55" y="215"/>
                  </a:lnTo>
                  <a:lnTo>
                    <a:pt x="51" y="232"/>
                  </a:lnTo>
                  <a:lnTo>
                    <a:pt x="51" y="147"/>
                  </a:lnTo>
                  <a:lnTo>
                    <a:pt x="54" y="147"/>
                  </a:lnTo>
                  <a:lnTo>
                    <a:pt x="60" y="147"/>
                  </a:lnTo>
                  <a:lnTo>
                    <a:pt x="66" y="144"/>
                  </a:lnTo>
                  <a:lnTo>
                    <a:pt x="74" y="141"/>
                  </a:lnTo>
                  <a:lnTo>
                    <a:pt x="82" y="136"/>
                  </a:lnTo>
                  <a:lnTo>
                    <a:pt x="91" y="128"/>
                  </a:lnTo>
                  <a:lnTo>
                    <a:pt x="95" y="117"/>
                  </a:lnTo>
                  <a:lnTo>
                    <a:pt x="97" y="102"/>
                  </a:lnTo>
                  <a:lnTo>
                    <a:pt x="95" y="102"/>
                  </a:lnTo>
                  <a:lnTo>
                    <a:pt x="89" y="102"/>
                  </a:lnTo>
                  <a:lnTo>
                    <a:pt x="81" y="105"/>
                  </a:lnTo>
                  <a:lnTo>
                    <a:pt x="72" y="109"/>
                  </a:lnTo>
                  <a:lnTo>
                    <a:pt x="64" y="116"/>
                  </a:lnTo>
                  <a:lnTo>
                    <a:pt x="55" y="126"/>
                  </a:lnTo>
                  <a:lnTo>
                    <a:pt x="51" y="141"/>
                  </a:lnTo>
                  <a:lnTo>
                    <a:pt x="51" y="46"/>
                  </a:lnTo>
                  <a:lnTo>
                    <a:pt x="51" y="43"/>
                  </a:lnTo>
                  <a:lnTo>
                    <a:pt x="51" y="37"/>
                  </a:lnTo>
                  <a:lnTo>
                    <a:pt x="49" y="31"/>
                  </a:lnTo>
                  <a:lnTo>
                    <a:pt x="46" y="23"/>
                  </a:lnTo>
                  <a:lnTo>
                    <a:pt x="41" y="15"/>
                  </a:lnTo>
                  <a:lnTo>
                    <a:pt x="33" y="6"/>
                  </a:lnTo>
                  <a:lnTo>
                    <a:pt x="22" y="2"/>
                  </a:lnTo>
                  <a:lnTo>
                    <a:pt x="7" y="0"/>
                  </a:lnTo>
                  <a:lnTo>
                    <a:pt x="7" y="2"/>
                  </a:lnTo>
                  <a:lnTo>
                    <a:pt x="8" y="9"/>
                  </a:lnTo>
                  <a:lnTo>
                    <a:pt x="11" y="17"/>
                  </a:lnTo>
                  <a:lnTo>
                    <a:pt x="16" y="27"/>
                  </a:lnTo>
                  <a:lnTo>
                    <a:pt x="23" y="36"/>
                  </a:lnTo>
                  <a:lnTo>
                    <a:pt x="34" y="43"/>
                  </a:lnTo>
                  <a:lnTo>
                    <a:pt x="46" y="46"/>
                  </a:lnTo>
                  <a:lnTo>
                    <a:pt x="46" y="113"/>
                  </a:lnTo>
                  <a:lnTo>
                    <a:pt x="46" y="112"/>
                  </a:lnTo>
                  <a:lnTo>
                    <a:pt x="46" y="106"/>
                  </a:lnTo>
                  <a:lnTo>
                    <a:pt x="43" y="98"/>
                  </a:lnTo>
                  <a:lnTo>
                    <a:pt x="41" y="90"/>
                  </a:lnTo>
                  <a:lnTo>
                    <a:pt x="35" y="82"/>
                  </a:lnTo>
                  <a:lnTo>
                    <a:pt x="27" y="75"/>
                  </a:lnTo>
                  <a:lnTo>
                    <a:pt x="16" y="70"/>
                  </a:lnTo>
                  <a:lnTo>
                    <a:pt x="0" y="67"/>
                  </a:lnTo>
                  <a:lnTo>
                    <a:pt x="0" y="70"/>
                  </a:lnTo>
                  <a:lnTo>
                    <a:pt x="0" y="75"/>
                  </a:lnTo>
                  <a:lnTo>
                    <a:pt x="0" y="82"/>
                  </a:lnTo>
                  <a:lnTo>
                    <a:pt x="3" y="91"/>
                  </a:lnTo>
                  <a:lnTo>
                    <a:pt x="7" y="100"/>
                  </a:lnTo>
                  <a:lnTo>
                    <a:pt x="15" y="109"/>
                  </a:lnTo>
                  <a:lnTo>
                    <a:pt x="28" y="114"/>
                  </a:lnTo>
                  <a:lnTo>
                    <a:pt x="46" y="118"/>
                  </a:lnTo>
                  <a:lnTo>
                    <a:pt x="46" y="209"/>
                  </a:lnTo>
                  <a:lnTo>
                    <a:pt x="46" y="207"/>
                  </a:lnTo>
                  <a:lnTo>
                    <a:pt x="45" y="202"/>
                  </a:lnTo>
                  <a:lnTo>
                    <a:pt x="43" y="195"/>
                  </a:lnTo>
                  <a:lnTo>
                    <a:pt x="39" y="188"/>
                  </a:lnTo>
                  <a:lnTo>
                    <a:pt x="34" y="182"/>
                  </a:lnTo>
                  <a:lnTo>
                    <a:pt x="24" y="178"/>
                  </a:lnTo>
                  <a:lnTo>
                    <a:pt x="12" y="175"/>
                  </a:lnTo>
                  <a:lnTo>
                    <a:pt x="12" y="178"/>
                  </a:lnTo>
                  <a:lnTo>
                    <a:pt x="11" y="182"/>
                  </a:lnTo>
                  <a:lnTo>
                    <a:pt x="11" y="188"/>
                  </a:lnTo>
                  <a:lnTo>
                    <a:pt x="14" y="197"/>
                  </a:lnTo>
                  <a:lnTo>
                    <a:pt x="19" y="205"/>
                  </a:lnTo>
                  <a:lnTo>
                    <a:pt x="30" y="211"/>
                  </a:lnTo>
                  <a:lnTo>
                    <a:pt x="46" y="215"/>
                  </a:lnTo>
                  <a:lnTo>
                    <a:pt x="46" y="373"/>
                  </a:lnTo>
                  <a:lnTo>
                    <a:pt x="51"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grpSp>
      <p:grpSp>
        <p:nvGrpSpPr>
          <p:cNvPr id="28" name="Group 35"/>
          <p:cNvGrpSpPr>
            <a:grpSpLocks/>
          </p:cNvGrpSpPr>
          <p:nvPr/>
        </p:nvGrpSpPr>
        <p:grpSpPr bwMode="auto">
          <a:xfrm>
            <a:off x="838200" y="4551363"/>
            <a:ext cx="914400" cy="1403350"/>
            <a:chOff x="838201" y="4551191"/>
            <a:chExt cx="914400" cy="1404284"/>
          </a:xfrm>
        </p:grpSpPr>
        <p:sp>
          <p:nvSpPr>
            <p:cNvPr id="29" name="Rectangle 50"/>
            <p:cNvSpPr>
              <a:spLocks noChangeArrowheads="1"/>
            </p:cNvSpPr>
            <p:nvPr userDrawn="1"/>
          </p:nvSpPr>
          <p:spPr bwMode="gray">
            <a:xfrm>
              <a:off x="838201" y="5269219"/>
              <a:ext cx="914400" cy="686256"/>
            </a:xfrm>
            <a:prstGeom prst="rect">
              <a:avLst/>
            </a:prstGeom>
            <a:solidFill>
              <a:schemeClr val="accent1">
                <a:lumMod val="75000"/>
                <a:alpha val="50000"/>
              </a:schemeClr>
            </a:solidFill>
            <a:ln w="9525">
              <a:noFill/>
              <a:miter lim="800000"/>
              <a:headEnd/>
              <a:tailEnd/>
            </a:ln>
            <a:effectLst/>
          </p:spPr>
          <p:txBody>
            <a:bodyPr wrap="none" lIns="95696" tIns="47848" rIns="95696" bIns="47848" anchor="ctr"/>
            <a:lstStyle/>
            <a:p>
              <a:pPr fontAlgn="auto">
                <a:spcBef>
                  <a:spcPts val="0"/>
                </a:spcBef>
                <a:spcAft>
                  <a:spcPts val="0"/>
                </a:spcAft>
                <a:defRPr/>
              </a:pPr>
              <a:endParaRPr lang="en-US">
                <a:solidFill>
                  <a:prstClr val="black"/>
                </a:solidFill>
                <a:latin typeface="+mn-lt"/>
                <a:ea typeface="+mn-ea"/>
              </a:endParaRPr>
            </a:p>
          </p:txBody>
        </p:sp>
        <p:sp>
          <p:nvSpPr>
            <p:cNvPr id="30" name="Rectangle 54"/>
            <p:cNvSpPr>
              <a:spLocks noChangeArrowheads="1"/>
            </p:cNvSpPr>
            <p:nvPr userDrawn="1"/>
          </p:nvSpPr>
          <p:spPr bwMode="gray">
            <a:xfrm>
              <a:off x="838201" y="4551191"/>
              <a:ext cx="909638" cy="686256"/>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696" tIns="47848" rIns="95696" bIns="47848"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id-ID" altLang="id-ID" sz="1800" smtClean="0">
                <a:solidFill>
                  <a:srgbClr val="000000"/>
                </a:solidFill>
              </a:endParaRPr>
            </a:p>
          </p:txBody>
        </p:sp>
      </p:grpSp>
      <p:sp>
        <p:nvSpPr>
          <p:cNvPr id="31" name="Rectangle 50"/>
          <p:cNvSpPr>
            <a:spLocks noChangeArrowheads="1"/>
          </p:cNvSpPr>
          <p:nvPr/>
        </p:nvSpPr>
        <p:spPr bwMode="gray">
          <a:xfrm>
            <a:off x="1795463" y="5984875"/>
            <a:ext cx="914400" cy="685800"/>
          </a:xfrm>
          <a:prstGeom prst="rect">
            <a:avLst/>
          </a:prstGeom>
          <a:solidFill>
            <a:schemeClr val="accent2">
              <a:lumMod val="75000"/>
              <a:alpha val="50000"/>
            </a:schemeClr>
          </a:solidFill>
          <a:ln w="9525">
            <a:noFill/>
            <a:miter lim="800000"/>
            <a:headEnd/>
            <a:tailEnd/>
          </a:ln>
          <a:effectLst/>
        </p:spPr>
        <p:txBody>
          <a:bodyPr wrap="none" lIns="95696" tIns="47848" rIns="95696" bIns="47848" anchor="ctr"/>
          <a:lstStyle/>
          <a:p>
            <a:pPr fontAlgn="auto">
              <a:spcBef>
                <a:spcPts val="0"/>
              </a:spcBef>
              <a:spcAft>
                <a:spcPts val="0"/>
              </a:spcAft>
              <a:defRPr/>
            </a:pPr>
            <a:endParaRPr lang="en-US">
              <a:solidFill>
                <a:prstClr val="black"/>
              </a:solidFill>
              <a:latin typeface="+mn-lt"/>
              <a:ea typeface="+mn-ea"/>
            </a:endParaRPr>
          </a:p>
        </p:txBody>
      </p:sp>
      <p:sp>
        <p:nvSpPr>
          <p:cNvPr id="32" name="Rectangle 50"/>
          <p:cNvSpPr>
            <a:spLocks noChangeArrowheads="1"/>
          </p:cNvSpPr>
          <p:nvPr/>
        </p:nvSpPr>
        <p:spPr bwMode="gray">
          <a:xfrm>
            <a:off x="1050925" y="4367213"/>
            <a:ext cx="914400" cy="685800"/>
          </a:xfrm>
          <a:prstGeom prst="rect">
            <a:avLst/>
          </a:prstGeom>
          <a:solidFill>
            <a:schemeClr val="accent2">
              <a:lumMod val="75000"/>
              <a:alpha val="50000"/>
            </a:schemeClr>
          </a:solidFill>
          <a:ln w="9525">
            <a:noFill/>
            <a:miter lim="800000"/>
            <a:headEnd/>
            <a:tailEnd/>
          </a:ln>
          <a:effectLst/>
        </p:spPr>
        <p:txBody>
          <a:bodyPr wrap="none" lIns="95696" tIns="47848" rIns="95696" bIns="47848" anchor="ctr"/>
          <a:lstStyle/>
          <a:p>
            <a:pPr fontAlgn="auto">
              <a:spcBef>
                <a:spcPts val="0"/>
              </a:spcBef>
              <a:spcAft>
                <a:spcPts val="0"/>
              </a:spcAft>
              <a:defRPr/>
            </a:pPr>
            <a:endParaRPr lang="en-US">
              <a:solidFill>
                <a:prstClr val="black"/>
              </a:solidFill>
              <a:latin typeface="+mn-lt"/>
              <a:ea typeface="+mn-ea"/>
            </a:endParaRPr>
          </a:p>
        </p:txBody>
      </p:sp>
      <p:sp>
        <p:nvSpPr>
          <p:cNvPr id="33" name="Rectangle 56"/>
          <p:cNvSpPr>
            <a:spLocks noChangeArrowheads="1"/>
          </p:cNvSpPr>
          <p:nvPr/>
        </p:nvSpPr>
        <p:spPr bwMode="gray">
          <a:xfrm>
            <a:off x="1781175" y="5276850"/>
            <a:ext cx="914400" cy="68580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696" tIns="47848" rIns="95696" bIns="47848"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id-ID" altLang="id-ID" sz="1800" smtClean="0">
              <a:solidFill>
                <a:srgbClr val="000000"/>
              </a:solidFill>
            </a:endParaRPr>
          </a:p>
        </p:txBody>
      </p:sp>
      <p:sp>
        <p:nvSpPr>
          <p:cNvPr id="34" name="Rectangle 56"/>
          <p:cNvSpPr>
            <a:spLocks noChangeArrowheads="1"/>
          </p:cNvSpPr>
          <p:nvPr/>
        </p:nvSpPr>
        <p:spPr bwMode="gray">
          <a:xfrm>
            <a:off x="2741613" y="5991225"/>
            <a:ext cx="914400" cy="68580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696" tIns="47848" rIns="95696" bIns="47848"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id-ID" altLang="id-ID" sz="1800" smtClean="0">
              <a:solidFill>
                <a:srgbClr val="000000"/>
              </a:solidFill>
            </a:endParaRPr>
          </a:p>
        </p:txBody>
      </p:sp>
      <p:sp>
        <p:nvSpPr>
          <p:cNvPr id="35" name="Rectangle 50"/>
          <p:cNvSpPr>
            <a:spLocks noChangeArrowheads="1"/>
          </p:cNvSpPr>
          <p:nvPr/>
        </p:nvSpPr>
        <p:spPr bwMode="gray">
          <a:xfrm>
            <a:off x="2911475" y="5827713"/>
            <a:ext cx="914400" cy="685800"/>
          </a:xfrm>
          <a:prstGeom prst="rect">
            <a:avLst/>
          </a:prstGeom>
          <a:solidFill>
            <a:schemeClr val="accent1">
              <a:lumMod val="75000"/>
              <a:alpha val="50000"/>
            </a:schemeClr>
          </a:solidFill>
          <a:ln w="9525">
            <a:noFill/>
            <a:miter lim="800000"/>
            <a:headEnd/>
            <a:tailEnd/>
          </a:ln>
          <a:effectLst/>
        </p:spPr>
        <p:txBody>
          <a:bodyPr wrap="none" lIns="95696" tIns="47848" rIns="95696" bIns="47848" anchor="ctr"/>
          <a:lstStyle/>
          <a:p>
            <a:pPr fontAlgn="auto">
              <a:spcBef>
                <a:spcPts val="0"/>
              </a:spcBef>
              <a:spcAft>
                <a:spcPts val="0"/>
              </a:spcAft>
              <a:defRPr/>
            </a:pPr>
            <a:endParaRPr lang="en-US">
              <a:solidFill>
                <a:prstClr val="black"/>
              </a:solidFill>
              <a:latin typeface="+mn-lt"/>
              <a:ea typeface="+mn-ea"/>
            </a:endParaRPr>
          </a:p>
        </p:txBody>
      </p:sp>
      <p:sp>
        <p:nvSpPr>
          <p:cNvPr id="2" name="Title 1"/>
          <p:cNvSpPr>
            <a:spLocks noGrp="1"/>
          </p:cNvSpPr>
          <p:nvPr>
            <p:ph type="ctrTitle"/>
          </p:nvPr>
        </p:nvSpPr>
        <p:spPr>
          <a:xfrm>
            <a:off x="533400" y="1447800"/>
            <a:ext cx="8001001" cy="1371600"/>
          </a:xfrm>
          <a:solidFill>
            <a:schemeClr val="bg1">
              <a:lumMod val="95000"/>
              <a:alpha val="12000"/>
            </a:schemeClr>
          </a:solidFill>
        </p:spPr>
        <p:txBody>
          <a:bodyPr/>
          <a:lstStyle>
            <a:lvl1pPr algn="ctr">
              <a:defRPr>
                <a:solidFill>
                  <a:srgbClr val="C00000"/>
                </a:solidFill>
              </a:defRPr>
            </a:lvl1pPr>
          </a:lstStyle>
          <a:p>
            <a:r>
              <a:rPr lang="en-US" smtClean="0"/>
              <a:t>Click to edit Master title style</a:t>
            </a:r>
            <a:endParaRPr lang="id-ID" dirty="0"/>
          </a:p>
        </p:txBody>
      </p:sp>
      <p:sp>
        <p:nvSpPr>
          <p:cNvPr id="3" name="Subtitle 2"/>
          <p:cNvSpPr>
            <a:spLocks noGrp="1"/>
          </p:cNvSpPr>
          <p:nvPr>
            <p:ph type="subTitle" idx="1"/>
          </p:nvPr>
        </p:nvSpPr>
        <p:spPr>
          <a:xfrm>
            <a:off x="569259" y="3397631"/>
            <a:ext cx="7987553" cy="587180"/>
          </a:xfrm>
          <a:noFill/>
        </p:spPr>
        <p:txBody>
          <a:bodyPr>
            <a:normAutofit/>
          </a:bodyPr>
          <a:lstStyle>
            <a:lvl1pPr marL="0" indent="0" algn="ctr">
              <a:buNone/>
              <a:defRPr sz="2000" b="1">
                <a:solidFill>
                  <a:srgbClr val="00206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d-ID" dirty="0"/>
          </a:p>
        </p:txBody>
      </p:sp>
      <p:sp>
        <p:nvSpPr>
          <p:cNvPr id="36" name="Footer Placeholder 4"/>
          <p:cNvSpPr>
            <a:spLocks noGrp="1"/>
          </p:cNvSpPr>
          <p:nvPr>
            <p:ph type="ftr" sz="quarter" idx="10"/>
          </p:nvPr>
        </p:nvSpPr>
        <p:spPr>
          <a:xfrm>
            <a:off x="5080000" y="6353175"/>
            <a:ext cx="2895600" cy="365125"/>
          </a:xfrm>
        </p:spPr>
        <p:txBody>
          <a:bodyPr/>
          <a:lstStyle>
            <a:lvl1pPr>
              <a:defRPr/>
            </a:lvl1pPr>
          </a:lstStyle>
          <a:p>
            <a:pPr>
              <a:defRPr/>
            </a:pPr>
            <a:endParaRPr lang="id-ID"/>
          </a:p>
        </p:txBody>
      </p:sp>
    </p:spTree>
    <p:extLst>
      <p:ext uri="{BB962C8B-B14F-4D97-AF65-F5344CB8AC3E}">
        <p14:creationId xmlns:p14="http://schemas.microsoft.com/office/powerpoint/2010/main" val="4512129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808" y="-27384"/>
            <a:ext cx="8229600" cy="432048"/>
          </a:xfrm>
        </p:spPr>
        <p:txBody>
          <a:bodyPr/>
          <a:lstStyle/>
          <a:p>
            <a:r>
              <a:rPr lang="en-US" smtClean="0"/>
              <a:t>Click to edit Master title style</a:t>
            </a:r>
            <a:endParaRPr lang="id-ID"/>
          </a:p>
        </p:txBody>
      </p:sp>
      <p:sp>
        <p:nvSpPr>
          <p:cNvPr id="3" name="Content Placeholder 2"/>
          <p:cNvSpPr>
            <a:spLocks noGrp="1"/>
          </p:cNvSpPr>
          <p:nvPr>
            <p:ph idx="1"/>
          </p:nvPr>
        </p:nvSpPr>
        <p:spPr>
          <a:xfrm>
            <a:off x="107504" y="548680"/>
            <a:ext cx="8928992" cy="792088"/>
          </a:xfrm>
        </p:spPr>
        <p:txBody>
          <a:bodyPr>
            <a:normAutofit/>
          </a:bodyPr>
          <a:lstStyle>
            <a:lvl1pPr marL="0" indent="0">
              <a:buNone/>
              <a:defRPr sz="2400" b="1" i="1">
                <a:solidFill>
                  <a:srgbClr val="C00000"/>
                </a:solidFill>
              </a:defRPr>
            </a:lvl1pPr>
          </a:lstStyle>
          <a:p>
            <a:pPr lvl="0"/>
            <a:r>
              <a:rPr lang="en-US" smtClean="0"/>
              <a:t>Click to edit Master text styles</a:t>
            </a:r>
          </a:p>
        </p:txBody>
      </p:sp>
      <p:sp>
        <p:nvSpPr>
          <p:cNvPr id="7" name="Content Placeholder 2"/>
          <p:cNvSpPr>
            <a:spLocks noGrp="1"/>
          </p:cNvSpPr>
          <p:nvPr>
            <p:ph idx="13"/>
          </p:nvPr>
        </p:nvSpPr>
        <p:spPr>
          <a:xfrm>
            <a:off x="107504" y="1628800"/>
            <a:ext cx="8928992" cy="256153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3"/>
          <p:cNvSpPr>
            <a:spLocks noGrp="1"/>
          </p:cNvSpPr>
          <p:nvPr>
            <p:ph type="dt" sz="half" idx="14"/>
          </p:nvPr>
        </p:nvSpPr>
        <p:spPr/>
        <p:txBody>
          <a:bodyPr/>
          <a:lstStyle>
            <a:lvl1pPr>
              <a:defRPr smtClean="0"/>
            </a:lvl1pPr>
          </a:lstStyle>
          <a:p>
            <a:pPr>
              <a:defRPr/>
            </a:pPr>
            <a:fld id="{45A25F4C-F92F-49F0-89D3-EA3175B75A4D}" type="datetime1">
              <a:rPr lang="id-ID" altLang="id-ID"/>
              <a:pPr>
                <a:defRPr/>
              </a:pPr>
              <a:t>21/10/2015</a:t>
            </a:fld>
            <a:endParaRPr lang="id-ID" altLang="id-ID"/>
          </a:p>
        </p:txBody>
      </p:sp>
      <p:sp>
        <p:nvSpPr>
          <p:cNvPr id="6" name="Footer Placeholder 4"/>
          <p:cNvSpPr>
            <a:spLocks noGrp="1"/>
          </p:cNvSpPr>
          <p:nvPr>
            <p:ph type="ftr" sz="quarter" idx="15"/>
          </p:nvPr>
        </p:nvSpPr>
        <p:spPr/>
        <p:txBody>
          <a:bodyPr/>
          <a:lstStyle>
            <a:lvl1pPr>
              <a:defRPr/>
            </a:lvl1pPr>
          </a:lstStyle>
          <a:p>
            <a:pPr>
              <a:defRPr/>
            </a:pPr>
            <a:endParaRPr lang="id-ID"/>
          </a:p>
        </p:txBody>
      </p:sp>
      <p:sp>
        <p:nvSpPr>
          <p:cNvPr id="8" name="Slide Number Placeholder 5"/>
          <p:cNvSpPr>
            <a:spLocks noGrp="1"/>
          </p:cNvSpPr>
          <p:nvPr>
            <p:ph type="sldNum" sz="quarter" idx="16"/>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F3D46E77-72B0-48FA-A845-BB332B2829B8}" type="slidenum">
              <a:rPr lang="id-ID" altLang="id-ID"/>
              <a:pPr>
                <a:defRPr/>
              </a:pPr>
              <a:t>‹#›</a:t>
            </a:fld>
            <a:endParaRPr lang="id-ID" altLang="id-ID"/>
          </a:p>
        </p:txBody>
      </p:sp>
    </p:spTree>
    <p:extLst>
      <p:ext uri="{BB962C8B-B14F-4D97-AF65-F5344CB8AC3E}">
        <p14:creationId xmlns:p14="http://schemas.microsoft.com/office/powerpoint/2010/main" val="2485632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pic>
        <p:nvPicPr>
          <p:cNvPr id="4" name="Picture 3" descr="H:\Δ Apik Δ\GMBR dwnload\BTA.jpg"/>
          <p:cNvPicPr/>
          <p:nvPr/>
        </p:nvPicPr>
        <p:blipFill>
          <a:blip r:embed="rId2" cstate="print">
            <a:duotone>
              <a:schemeClr val="accent1">
                <a:shade val="45000"/>
                <a:satMod val="135000"/>
              </a:schemeClr>
              <a:prstClr val="white"/>
            </a:duotone>
            <a:extLst/>
          </a:blip>
          <a:srcRect/>
          <a:stretch>
            <a:fillRect/>
          </a:stretch>
        </p:blipFill>
        <p:spPr bwMode="auto">
          <a:xfrm>
            <a:off x="8626" y="457200"/>
            <a:ext cx="9148626" cy="6400800"/>
          </a:xfrm>
          <a:prstGeom prst="rect">
            <a:avLst/>
          </a:prstGeom>
          <a:noFill/>
          <a:ln w="9525">
            <a:noFill/>
            <a:miter lim="800000"/>
            <a:headEnd/>
            <a:tailEnd/>
          </a:ln>
        </p:spPr>
      </p:pic>
      <p:grpSp>
        <p:nvGrpSpPr>
          <p:cNvPr id="5" name="Group 7"/>
          <p:cNvGrpSpPr>
            <a:grpSpLocks/>
          </p:cNvGrpSpPr>
          <p:nvPr/>
        </p:nvGrpSpPr>
        <p:grpSpPr bwMode="auto">
          <a:xfrm>
            <a:off x="6461234" y="5871303"/>
            <a:ext cx="2559094" cy="868459"/>
            <a:chOff x="1566" y="164"/>
            <a:chExt cx="1455" cy="425"/>
          </a:xfrm>
          <a:solidFill>
            <a:schemeClr val="bg1">
              <a:lumMod val="65000"/>
            </a:schemeClr>
          </a:solidFill>
        </p:grpSpPr>
        <p:sp>
          <p:nvSpPr>
            <p:cNvPr id="6" name="Freeform 8"/>
            <p:cNvSpPr>
              <a:spLocks/>
            </p:cNvSpPr>
            <p:nvPr/>
          </p:nvSpPr>
          <p:spPr bwMode="gray">
            <a:xfrm>
              <a:off x="1892" y="468"/>
              <a:ext cx="39" cy="121"/>
            </a:xfrm>
            <a:custGeom>
              <a:avLst/>
              <a:gdLst/>
              <a:ahLst/>
              <a:cxnLst>
                <a:cxn ang="0">
                  <a:pos x="37" y="36"/>
                </a:cxn>
                <a:cxn ang="0">
                  <a:pos x="35" y="36"/>
                </a:cxn>
                <a:cxn ang="0">
                  <a:pos x="30" y="36"/>
                </a:cxn>
                <a:cxn ang="0">
                  <a:pos x="22" y="34"/>
                </a:cxn>
                <a:cxn ang="0">
                  <a:pos x="15" y="30"/>
                </a:cxn>
                <a:cxn ang="0">
                  <a:pos x="7" y="23"/>
                </a:cxn>
                <a:cxn ang="0">
                  <a:pos x="3" y="13"/>
                </a:cxn>
                <a:cxn ang="0">
                  <a:pos x="0" y="0"/>
                </a:cxn>
                <a:cxn ang="0">
                  <a:pos x="3" y="0"/>
                </a:cxn>
                <a:cxn ang="0">
                  <a:pos x="7" y="1"/>
                </a:cxn>
                <a:cxn ang="0">
                  <a:pos x="15" y="3"/>
                </a:cxn>
                <a:cxn ang="0">
                  <a:pos x="23" y="5"/>
                </a:cxn>
                <a:cxn ang="0">
                  <a:pos x="30" y="11"/>
                </a:cxn>
                <a:cxn ang="0">
                  <a:pos x="37" y="20"/>
                </a:cxn>
                <a:cxn ang="0">
                  <a:pos x="39" y="34"/>
                </a:cxn>
                <a:cxn ang="0">
                  <a:pos x="39" y="121"/>
                </a:cxn>
                <a:cxn ang="0">
                  <a:pos x="37" y="121"/>
                </a:cxn>
                <a:cxn ang="0">
                  <a:pos x="37" y="36"/>
                </a:cxn>
              </a:cxnLst>
              <a:rect l="0" t="0" r="r" b="b"/>
              <a:pathLst>
                <a:path w="39" h="121">
                  <a:moveTo>
                    <a:pt x="37" y="36"/>
                  </a:moveTo>
                  <a:lnTo>
                    <a:pt x="35" y="36"/>
                  </a:lnTo>
                  <a:lnTo>
                    <a:pt x="30" y="36"/>
                  </a:lnTo>
                  <a:lnTo>
                    <a:pt x="22" y="34"/>
                  </a:lnTo>
                  <a:lnTo>
                    <a:pt x="15" y="30"/>
                  </a:lnTo>
                  <a:lnTo>
                    <a:pt x="7" y="23"/>
                  </a:lnTo>
                  <a:lnTo>
                    <a:pt x="3" y="13"/>
                  </a:lnTo>
                  <a:lnTo>
                    <a:pt x="0" y="0"/>
                  </a:lnTo>
                  <a:lnTo>
                    <a:pt x="3" y="0"/>
                  </a:lnTo>
                  <a:lnTo>
                    <a:pt x="7" y="1"/>
                  </a:lnTo>
                  <a:lnTo>
                    <a:pt x="15" y="3"/>
                  </a:lnTo>
                  <a:lnTo>
                    <a:pt x="23" y="5"/>
                  </a:lnTo>
                  <a:lnTo>
                    <a:pt x="30" y="11"/>
                  </a:lnTo>
                  <a:lnTo>
                    <a:pt x="37" y="20"/>
                  </a:lnTo>
                  <a:lnTo>
                    <a:pt x="39" y="34"/>
                  </a:lnTo>
                  <a:lnTo>
                    <a:pt x="39" y="121"/>
                  </a:lnTo>
                  <a:lnTo>
                    <a:pt x="37" y="121"/>
                  </a:lnTo>
                  <a:lnTo>
                    <a:pt x="37" y="36"/>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8" name="Freeform 9"/>
            <p:cNvSpPr>
              <a:spLocks/>
            </p:cNvSpPr>
            <p:nvPr/>
          </p:nvSpPr>
          <p:spPr bwMode="gray">
            <a:xfrm>
              <a:off x="2271" y="450"/>
              <a:ext cx="45" cy="139"/>
            </a:xfrm>
            <a:custGeom>
              <a:avLst/>
              <a:gdLst/>
              <a:ahLst/>
              <a:cxnLst>
                <a:cxn ang="0">
                  <a:pos x="3" y="42"/>
                </a:cxn>
                <a:cxn ang="0">
                  <a:pos x="6" y="42"/>
                </a:cxn>
                <a:cxn ang="0">
                  <a:pos x="12" y="42"/>
                </a:cxn>
                <a:cxn ang="0">
                  <a:pos x="20" y="39"/>
                </a:cxn>
                <a:cxn ang="0">
                  <a:pos x="29" y="35"/>
                </a:cxn>
                <a:cxn ang="0">
                  <a:pos x="37" y="27"/>
                </a:cxn>
                <a:cxn ang="0">
                  <a:pos x="43" y="17"/>
                </a:cxn>
                <a:cxn ang="0">
                  <a:pos x="45" y="2"/>
                </a:cxn>
                <a:cxn ang="0">
                  <a:pos x="43" y="0"/>
                </a:cxn>
                <a:cxn ang="0">
                  <a:pos x="37" y="2"/>
                </a:cxn>
                <a:cxn ang="0">
                  <a:pos x="29" y="3"/>
                </a:cxn>
                <a:cxn ang="0">
                  <a:pos x="19" y="7"/>
                </a:cxn>
                <a:cxn ang="0">
                  <a:pos x="11" y="14"/>
                </a:cxn>
                <a:cxn ang="0">
                  <a:pos x="4" y="23"/>
                </a:cxn>
                <a:cxn ang="0">
                  <a:pos x="0" y="39"/>
                </a:cxn>
                <a:cxn ang="0">
                  <a:pos x="0" y="139"/>
                </a:cxn>
                <a:cxn ang="0">
                  <a:pos x="3" y="139"/>
                </a:cxn>
                <a:cxn ang="0">
                  <a:pos x="3" y="42"/>
                </a:cxn>
              </a:cxnLst>
              <a:rect l="0" t="0" r="r" b="b"/>
              <a:pathLst>
                <a:path w="45" h="139">
                  <a:moveTo>
                    <a:pt x="3" y="42"/>
                  </a:moveTo>
                  <a:lnTo>
                    <a:pt x="6" y="42"/>
                  </a:lnTo>
                  <a:lnTo>
                    <a:pt x="12" y="42"/>
                  </a:lnTo>
                  <a:lnTo>
                    <a:pt x="20" y="39"/>
                  </a:lnTo>
                  <a:lnTo>
                    <a:pt x="29" y="35"/>
                  </a:lnTo>
                  <a:lnTo>
                    <a:pt x="37" y="27"/>
                  </a:lnTo>
                  <a:lnTo>
                    <a:pt x="43" y="17"/>
                  </a:lnTo>
                  <a:lnTo>
                    <a:pt x="45" y="2"/>
                  </a:lnTo>
                  <a:lnTo>
                    <a:pt x="43" y="0"/>
                  </a:lnTo>
                  <a:lnTo>
                    <a:pt x="37" y="2"/>
                  </a:lnTo>
                  <a:lnTo>
                    <a:pt x="29" y="3"/>
                  </a:lnTo>
                  <a:lnTo>
                    <a:pt x="19" y="7"/>
                  </a:lnTo>
                  <a:lnTo>
                    <a:pt x="11" y="14"/>
                  </a:lnTo>
                  <a:lnTo>
                    <a:pt x="4" y="23"/>
                  </a:lnTo>
                  <a:lnTo>
                    <a:pt x="0" y="39"/>
                  </a:lnTo>
                  <a:lnTo>
                    <a:pt x="0" y="139"/>
                  </a:lnTo>
                  <a:lnTo>
                    <a:pt x="3" y="139"/>
                  </a:lnTo>
                  <a:lnTo>
                    <a:pt x="3" y="4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9" name="Freeform 10"/>
            <p:cNvSpPr>
              <a:spLocks/>
            </p:cNvSpPr>
            <p:nvPr/>
          </p:nvSpPr>
          <p:spPr bwMode="gray">
            <a:xfrm>
              <a:off x="1765" y="378"/>
              <a:ext cx="146" cy="211"/>
            </a:xfrm>
            <a:custGeom>
              <a:avLst/>
              <a:gdLst/>
              <a:ahLst/>
              <a:cxnLst>
                <a:cxn ang="0">
                  <a:pos x="68" y="67"/>
                </a:cxn>
                <a:cxn ang="0">
                  <a:pos x="67" y="67"/>
                </a:cxn>
                <a:cxn ang="0">
                  <a:pos x="60" y="66"/>
                </a:cxn>
                <a:cxn ang="0">
                  <a:pos x="50" y="64"/>
                </a:cxn>
                <a:cxn ang="0">
                  <a:pos x="41" y="62"/>
                </a:cxn>
                <a:cxn ang="0">
                  <a:pos x="29" y="55"/>
                </a:cxn>
                <a:cxn ang="0">
                  <a:pos x="18" y="47"/>
                </a:cxn>
                <a:cxn ang="0">
                  <a:pos x="10" y="35"/>
                </a:cxn>
                <a:cxn ang="0">
                  <a:pos x="3" y="20"/>
                </a:cxn>
                <a:cxn ang="0">
                  <a:pos x="0" y="0"/>
                </a:cxn>
                <a:cxn ang="0">
                  <a:pos x="3" y="0"/>
                </a:cxn>
                <a:cxn ang="0">
                  <a:pos x="10" y="0"/>
                </a:cxn>
                <a:cxn ang="0">
                  <a:pos x="19" y="0"/>
                </a:cxn>
                <a:cxn ang="0">
                  <a:pos x="30" y="2"/>
                </a:cxn>
                <a:cxn ang="0">
                  <a:pos x="41" y="6"/>
                </a:cxn>
                <a:cxn ang="0">
                  <a:pos x="53" y="14"/>
                </a:cxn>
                <a:cxn ang="0">
                  <a:pos x="62" y="25"/>
                </a:cxn>
                <a:cxn ang="0">
                  <a:pos x="69" y="41"/>
                </a:cxn>
                <a:cxn ang="0">
                  <a:pos x="73" y="62"/>
                </a:cxn>
                <a:cxn ang="0">
                  <a:pos x="73" y="60"/>
                </a:cxn>
                <a:cxn ang="0">
                  <a:pos x="73" y="55"/>
                </a:cxn>
                <a:cxn ang="0">
                  <a:pos x="75" y="45"/>
                </a:cxn>
                <a:cxn ang="0">
                  <a:pos x="79" y="36"/>
                </a:cxn>
                <a:cxn ang="0">
                  <a:pos x="84" y="25"/>
                </a:cxn>
                <a:cxn ang="0">
                  <a:pos x="92" y="16"/>
                </a:cxn>
                <a:cxn ang="0">
                  <a:pos x="106" y="8"/>
                </a:cxn>
                <a:cxn ang="0">
                  <a:pos x="123" y="2"/>
                </a:cxn>
                <a:cxn ang="0">
                  <a:pos x="146" y="0"/>
                </a:cxn>
                <a:cxn ang="0">
                  <a:pos x="145" y="2"/>
                </a:cxn>
                <a:cxn ang="0">
                  <a:pos x="145" y="8"/>
                </a:cxn>
                <a:cxn ang="0">
                  <a:pos x="143" y="17"/>
                </a:cxn>
                <a:cxn ang="0">
                  <a:pos x="139" y="28"/>
                </a:cxn>
                <a:cxn ang="0">
                  <a:pos x="134" y="39"/>
                </a:cxn>
                <a:cxn ang="0">
                  <a:pos x="126" y="49"/>
                </a:cxn>
                <a:cxn ang="0">
                  <a:pos x="114" y="59"/>
                </a:cxn>
                <a:cxn ang="0">
                  <a:pos x="98" y="64"/>
                </a:cxn>
                <a:cxn ang="0">
                  <a:pos x="79" y="67"/>
                </a:cxn>
                <a:cxn ang="0">
                  <a:pos x="79" y="211"/>
                </a:cxn>
                <a:cxn ang="0">
                  <a:pos x="68" y="211"/>
                </a:cxn>
                <a:cxn ang="0">
                  <a:pos x="68" y="67"/>
                </a:cxn>
              </a:cxnLst>
              <a:rect l="0" t="0" r="r" b="b"/>
              <a:pathLst>
                <a:path w="146" h="211">
                  <a:moveTo>
                    <a:pt x="68" y="67"/>
                  </a:moveTo>
                  <a:lnTo>
                    <a:pt x="67" y="67"/>
                  </a:lnTo>
                  <a:lnTo>
                    <a:pt x="60" y="66"/>
                  </a:lnTo>
                  <a:lnTo>
                    <a:pt x="50" y="64"/>
                  </a:lnTo>
                  <a:lnTo>
                    <a:pt x="41" y="62"/>
                  </a:lnTo>
                  <a:lnTo>
                    <a:pt x="29" y="55"/>
                  </a:lnTo>
                  <a:lnTo>
                    <a:pt x="18" y="47"/>
                  </a:lnTo>
                  <a:lnTo>
                    <a:pt x="10" y="35"/>
                  </a:lnTo>
                  <a:lnTo>
                    <a:pt x="3" y="20"/>
                  </a:lnTo>
                  <a:lnTo>
                    <a:pt x="0" y="0"/>
                  </a:lnTo>
                  <a:lnTo>
                    <a:pt x="3" y="0"/>
                  </a:lnTo>
                  <a:lnTo>
                    <a:pt x="10" y="0"/>
                  </a:lnTo>
                  <a:lnTo>
                    <a:pt x="19" y="0"/>
                  </a:lnTo>
                  <a:lnTo>
                    <a:pt x="30" y="2"/>
                  </a:lnTo>
                  <a:lnTo>
                    <a:pt x="41" y="6"/>
                  </a:lnTo>
                  <a:lnTo>
                    <a:pt x="53" y="14"/>
                  </a:lnTo>
                  <a:lnTo>
                    <a:pt x="62" y="25"/>
                  </a:lnTo>
                  <a:lnTo>
                    <a:pt x="69" y="41"/>
                  </a:lnTo>
                  <a:lnTo>
                    <a:pt x="73" y="62"/>
                  </a:lnTo>
                  <a:lnTo>
                    <a:pt x="73" y="60"/>
                  </a:lnTo>
                  <a:lnTo>
                    <a:pt x="73" y="55"/>
                  </a:lnTo>
                  <a:lnTo>
                    <a:pt x="75" y="45"/>
                  </a:lnTo>
                  <a:lnTo>
                    <a:pt x="79" y="36"/>
                  </a:lnTo>
                  <a:lnTo>
                    <a:pt x="84" y="25"/>
                  </a:lnTo>
                  <a:lnTo>
                    <a:pt x="92" y="16"/>
                  </a:lnTo>
                  <a:lnTo>
                    <a:pt x="106" y="8"/>
                  </a:lnTo>
                  <a:lnTo>
                    <a:pt x="123" y="2"/>
                  </a:lnTo>
                  <a:lnTo>
                    <a:pt x="146" y="0"/>
                  </a:lnTo>
                  <a:lnTo>
                    <a:pt x="145" y="2"/>
                  </a:lnTo>
                  <a:lnTo>
                    <a:pt x="145" y="8"/>
                  </a:lnTo>
                  <a:lnTo>
                    <a:pt x="143" y="17"/>
                  </a:lnTo>
                  <a:lnTo>
                    <a:pt x="139" y="28"/>
                  </a:lnTo>
                  <a:lnTo>
                    <a:pt x="134" y="39"/>
                  </a:lnTo>
                  <a:lnTo>
                    <a:pt x="126" y="49"/>
                  </a:lnTo>
                  <a:lnTo>
                    <a:pt x="114" y="59"/>
                  </a:lnTo>
                  <a:lnTo>
                    <a:pt x="98" y="64"/>
                  </a:lnTo>
                  <a:lnTo>
                    <a:pt x="79" y="67"/>
                  </a:lnTo>
                  <a:lnTo>
                    <a:pt x="79" y="211"/>
                  </a:lnTo>
                  <a:lnTo>
                    <a:pt x="68" y="211"/>
                  </a:lnTo>
                  <a:lnTo>
                    <a:pt x="68"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0" name="Freeform 11"/>
            <p:cNvSpPr>
              <a:spLocks/>
            </p:cNvSpPr>
            <p:nvPr/>
          </p:nvSpPr>
          <p:spPr bwMode="gray">
            <a:xfrm>
              <a:off x="2792" y="378"/>
              <a:ext cx="144" cy="211"/>
            </a:xfrm>
            <a:custGeom>
              <a:avLst/>
              <a:gdLst/>
              <a:ahLst/>
              <a:cxnLst>
                <a:cxn ang="0">
                  <a:pos x="67" y="67"/>
                </a:cxn>
                <a:cxn ang="0">
                  <a:pos x="66" y="67"/>
                </a:cxn>
                <a:cxn ang="0">
                  <a:pos x="59" y="66"/>
                </a:cxn>
                <a:cxn ang="0">
                  <a:pos x="50" y="64"/>
                </a:cxn>
                <a:cxn ang="0">
                  <a:pos x="39" y="62"/>
                </a:cxn>
                <a:cxn ang="0">
                  <a:pos x="28" y="55"/>
                </a:cxn>
                <a:cxn ang="0">
                  <a:pos x="17" y="47"/>
                </a:cxn>
                <a:cxn ang="0">
                  <a:pos x="9" y="35"/>
                </a:cxn>
                <a:cxn ang="0">
                  <a:pos x="2" y="20"/>
                </a:cxn>
                <a:cxn ang="0">
                  <a:pos x="0" y="0"/>
                </a:cxn>
                <a:cxn ang="0">
                  <a:pos x="2" y="0"/>
                </a:cxn>
                <a:cxn ang="0">
                  <a:pos x="9" y="0"/>
                </a:cxn>
                <a:cxn ang="0">
                  <a:pos x="17" y="0"/>
                </a:cxn>
                <a:cxn ang="0">
                  <a:pos x="28" y="2"/>
                </a:cxn>
                <a:cxn ang="0">
                  <a:pos x="40" y="6"/>
                </a:cxn>
                <a:cxn ang="0">
                  <a:pos x="51" y="14"/>
                </a:cxn>
                <a:cxn ang="0">
                  <a:pos x="62" y="25"/>
                </a:cxn>
                <a:cxn ang="0">
                  <a:pos x="69" y="41"/>
                </a:cxn>
                <a:cxn ang="0">
                  <a:pos x="73" y="62"/>
                </a:cxn>
                <a:cxn ang="0">
                  <a:pos x="73" y="60"/>
                </a:cxn>
                <a:cxn ang="0">
                  <a:pos x="73" y="55"/>
                </a:cxn>
                <a:cxn ang="0">
                  <a:pos x="74" y="45"/>
                </a:cxn>
                <a:cxn ang="0">
                  <a:pos x="77" y="36"/>
                </a:cxn>
                <a:cxn ang="0">
                  <a:pos x="82" y="25"/>
                </a:cxn>
                <a:cxn ang="0">
                  <a:pos x="91" y="16"/>
                </a:cxn>
                <a:cxn ang="0">
                  <a:pos x="105" y="8"/>
                </a:cxn>
                <a:cxn ang="0">
                  <a:pos x="121" y="2"/>
                </a:cxn>
                <a:cxn ang="0">
                  <a:pos x="144" y="0"/>
                </a:cxn>
                <a:cxn ang="0">
                  <a:pos x="144" y="2"/>
                </a:cxn>
                <a:cxn ang="0">
                  <a:pos x="144" y="8"/>
                </a:cxn>
                <a:cxn ang="0">
                  <a:pos x="141" y="17"/>
                </a:cxn>
                <a:cxn ang="0">
                  <a:pos x="139" y="28"/>
                </a:cxn>
                <a:cxn ang="0">
                  <a:pos x="133" y="39"/>
                </a:cxn>
                <a:cxn ang="0">
                  <a:pos x="125" y="49"/>
                </a:cxn>
                <a:cxn ang="0">
                  <a:pos x="113" y="59"/>
                </a:cxn>
                <a:cxn ang="0">
                  <a:pos x="97" y="64"/>
                </a:cxn>
                <a:cxn ang="0">
                  <a:pos x="77" y="67"/>
                </a:cxn>
                <a:cxn ang="0">
                  <a:pos x="77" y="211"/>
                </a:cxn>
                <a:cxn ang="0">
                  <a:pos x="67" y="211"/>
                </a:cxn>
                <a:cxn ang="0">
                  <a:pos x="67" y="67"/>
                </a:cxn>
              </a:cxnLst>
              <a:rect l="0" t="0" r="r" b="b"/>
              <a:pathLst>
                <a:path w="144" h="211">
                  <a:moveTo>
                    <a:pt x="67" y="67"/>
                  </a:moveTo>
                  <a:lnTo>
                    <a:pt x="66" y="67"/>
                  </a:lnTo>
                  <a:lnTo>
                    <a:pt x="59" y="66"/>
                  </a:lnTo>
                  <a:lnTo>
                    <a:pt x="50" y="64"/>
                  </a:lnTo>
                  <a:lnTo>
                    <a:pt x="39" y="62"/>
                  </a:lnTo>
                  <a:lnTo>
                    <a:pt x="28" y="55"/>
                  </a:lnTo>
                  <a:lnTo>
                    <a:pt x="17" y="47"/>
                  </a:lnTo>
                  <a:lnTo>
                    <a:pt x="9" y="35"/>
                  </a:lnTo>
                  <a:lnTo>
                    <a:pt x="2" y="20"/>
                  </a:lnTo>
                  <a:lnTo>
                    <a:pt x="0" y="0"/>
                  </a:lnTo>
                  <a:lnTo>
                    <a:pt x="2" y="0"/>
                  </a:lnTo>
                  <a:lnTo>
                    <a:pt x="9" y="0"/>
                  </a:lnTo>
                  <a:lnTo>
                    <a:pt x="17" y="0"/>
                  </a:lnTo>
                  <a:lnTo>
                    <a:pt x="28" y="2"/>
                  </a:lnTo>
                  <a:lnTo>
                    <a:pt x="40" y="6"/>
                  </a:lnTo>
                  <a:lnTo>
                    <a:pt x="51" y="14"/>
                  </a:lnTo>
                  <a:lnTo>
                    <a:pt x="62" y="25"/>
                  </a:lnTo>
                  <a:lnTo>
                    <a:pt x="69" y="41"/>
                  </a:lnTo>
                  <a:lnTo>
                    <a:pt x="73" y="62"/>
                  </a:lnTo>
                  <a:lnTo>
                    <a:pt x="73" y="60"/>
                  </a:lnTo>
                  <a:lnTo>
                    <a:pt x="73" y="55"/>
                  </a:lnTo>
                  <a:lnTo>
                    <a:pt x="74" y="45"/>
                  </a:lnTo>
                  <a:lnTo>
                    <a:pt x="77" y="36"/>
                  </a:lnTo>
                  <a:lnTo>
                    <a:pt x="82" y="25"/>
                  </a:lnTo>
                  <a:lnTo>
                    <a:pt x="91" y="16"/>
                  </a:lnTo>
                  <a:lnTo>
                    <a:pt x="105" y="8"/>
                  </a:lnTo>
                  <a:lnTo>
                    <a:pt x="121" y="2"/>
                  </a:lnTo>
                  <a:lnTo>
                    <a:pt x="144" y="0"/>
                  </a:lnTo>
                  <a:lnTo>
                    <a:pt x="144" y="2"/>
                  </a:lnTo>
                  <a:lnTo>
                    <a:pt x="144" y="8"/>
                  </a:lnTo>
                  <a:lnTo>
                    <a:pt x="141" y="17"/>
                  </a:lnTo>
                  <a:lnTo>
                    <a:pt x="139" y="28"/>
                  </a:lnTo>
                  <a:lnTo>
                    <a:pt x="133" y="39"/>
                  </a:lnTo>
                  <a:lnTo>
                    <a:pt x="125" y="49"/>
                  </a:lnTo>
                  <a:lnTo>
                    <a:pt x="113" y="59"/>
                  </a:lnTo>
                  <a:lnTo>
                    <a:pt x="97" y="64"/>
                  </a:lnTo>
                  <a:lnTo>
                    <a:pt x="77" y="67"/>
                  </a:lnTo>
                  <a:lnTo>
                    <a:pt x="77" y="211"/>
                  </a:lnTo>
                  <a:lnTo>
                    <a:pt x="67" y="211"/>
                  </a:lnTo>
                  <a:lnTo>
                    <a:pt x="67"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1" name="Freeform 12"/>
            <p:cNvSpPr>
              <a:spLocks/>
            </p:cNvSpPr>
            <p:nvPr/>
          </p:nvSpPr>
          <p:spPr bwMode="gray">
            <a:xfrm>
              <a:off x="2631" y="457"/>
              <a:ext cx="89" cy="132"/>
            </a:xfrm>
            <a:custGeom>
              <a:avLst/>
              <a:gdLst/>
              <a:ahLst/>
              <a:cxnLst>
                <a:cxn ang="0">
                  <a:pos x="42" y="43"/>
                </a:cxn>
                <a:cxn ang="0">
                  <a:pos x="39" y="42"/>
                </a:cxn>
                <a:cxn ang="0">
                  <a:pos x="33" y="42"/>
                </a:cxn>
                <a:cxn ang="0">
                  <a:pos x="25" y="39"/>
                </a:cxn>
                <a:cxn ang="0">
                  <a:pos x="16" y="35"/>
                </a:cxn>
                <a:cxn ang="0">
                  <a:pos x="8" y="27"/>
                </a:cxn>
                <a:cxn ang="0">
                  <a:pos x="2" y="16"/>
                </a:cxn>
                <a:cxn ang="0">
                  <a:pos x="0" y="0"/>
                </a:cxn>
                <a:cxn ang="0">
                  <a:pos x="2" y="0"/>
                </a:cxn>
                <a:cxn ang="0">
                  <a:pos x="6" y="0"/>
                </a:cxn>
                <a:cxn ang="0">
                  <a:pos x="12" y="1"/>
                </a:cxn>
                <a:cxn ang="0">
                  <a:pos x="21" y="3"/>
                </a:cxn>
                <a:cxn ang="0">
                  <a:pos x="29" y="8"/>
                </a:cxn>
                <a:cxn ang="0">
                  <a:pos x="37" y="15"/>
                </a:cxn>
                <a:cxn ang="0">
                  <a:pos x="42" y="26"/>
                </a:cxn>
                <a:cxn ang="0">
                  <a:pos x="45" y="39"/>
                </a:cxn>
                <a:cxn ang="0">
                  <a:pos x="45" y="38"/>
                </a:cxn>
                <a:cxn ang="0">
                  <a:pos x="45" y="34"/>
                </a:cxn>
                <a:cxn ang="0">
                  <a:pos x="46" y="27"/>
                </a:cxn>
                <a:cxn ang="0">
                  <a:pos x="49" y="20"/>
                </a:cxn>
                <a:cxn ang="0">
                  <a:pos x="54" y="14"/>
                </a:cxn>
                <a:cxn ang="0">
                  <a:pos x="62" y="7"/>
                </a:cxn>
                <a:cxn ang="0">
                  <a:pos x="73" y="3"/>
                </a:cxn>
                <a:cxn ang="0">
                  <a:pos x="89" y="0"/>
                </a:cxn>
                <a:cxn ang="0">
                  <a:pos x="89" y="3"/>
                </a:cxn>
                <a:cxn ang="0">
                  <a:pos x="88" y="10"/>
                </a:cxn>
                <a:cxn ang="0">
                  <a:pos x="87" y="18"/>
                </a:cxn>
                <a:cxn ang="0">
                  <a:pos x="81" y="26"/>
                </a:cxn>
                <a:cxn ang="0">
                  <a:pos x="74" y="34"/>
                </a:cxn>
                <a:cxn ang="0">
                  <a:pos x="64" y="41"/>
                </a:cxn>
                <a:cxn ang="0">
                  <a:pos x="47" y="43"/>
                </a:cxn>
                <a:cxn ang="0">
                  <a:pos x="47" y="132"/>
                </a:cxn>
                <a:cxn ang="0">
                  <a:pos x="42" y="132"/>
                </a:cxn>
                <a:cxn ang="0">
                  <a:pos x="42" y="43"/>
                </a:cxn>
              </a:cxnLst>
              <a:rect l="0" t="0" r="r" b="b"/>
              <a:pathLst>
                <a:path w="89" h="132">
                  <a:moveTo>
                    <a:pt x="42" y="43"/>
                  </a:moveTo>
                  <a:lnTo>
                    <a:pt x="39" y="42"/>
                  </a:lnTo>
                  <a:lnTo>
                    <a:pt x="33" y="42"/>
                  </a:lnTo>
                  <a:lnTo>
                    <a:pt x="25" y="39"/>
                  </a:lnTo>
                  <a:lnTo>
                    <a:pt x="16" y="35"/>
                  </a:lnTo>
                  <a:lnTo>
                    <a:pt x="8" y="27"/>
                  </a:lnTo>
                  <a:lnTo>
                    <a:pt x="2" y="16"/>
                  </a:lnTo>
                  <a:lnTo>
                    <a:pt x="0" y="0"/>
                  </a:lnTo>
                  <a:lnTo>
                    <a:pt x="2" y="0"/>
                  </a:lnTo>
                  <a:lnTo>
                    <a:pt x="6" y="0"/>
                  </a:lnTo>
                  <a:lnTo>
                    <a:pt x="12" y="1"/>
                  </a:lnTo>
                  <a:lnTo>
                    <a:pt x="21" y="3"/>
                  </a:lnTo>
                  <a:lnTo>
                    <a:pt x="29" y="8"/>
                  </a:lnTo>
                  <a:lnTo>
                    <a:pt x="37" y="15"/>
                  </a:lnTo>
                  <a:lnTo>
                    <a:pt x="42" y="26"/>
                  </a:lnTo>
                  <a:lnTo>
                    <a:pt x="45" y="39"/>
                  </a:lnTo>
                  <a:lnTo>
                    <a:pt x="45" y="38"/>
                  </a:lnTo>
                  <a:lnTo>
                    <a:pt x="45" y="34"/>
                  </a:lnTo>
                  <a:lnTo>
                    <a:pt x="46" y="27"/>
                  </a:lnTo>
                  <a:lnTo>
                    <a:pt x="49" y="20"/>
                  </a:lnTo>
                  <a:lnTo>
                    <a:pt x="54" y="14"/>
                  </a:lnTo>
                  <a:lnTo>
                    <a:pt x="62" y="7"/>
                  </a:lnTo>
                  <a:lnTo>
                    <a:pt x="73" y="3"/>
                  </a:lnTo>
                  <a:lnTo>
                    <a:pt x="89" y="0"/>
                  </a:lnTo>
                  <a:lnTo>
                    <a:pt x="89" y="3"/>
                  </a:lnTo>
                  <a:lnTo>
                    <a:pt x="88" y="10"/>
                  </a:lnTo>
                  <a:lnTo>
                    <a:pt x="87" y="18"/>
                  </a:lnTo>
                  <a:lnTo>
                    <a:pt x="81" y="26"/>
                  </a:lnTo>
                  <a:lnTo>
                    <a:pt x="74" y="34"/>
                  </a:lnTo>
                  <a:lnTo>
                    <a:pt x="64" y="41"/>
                  </a:lnTo>
                  <a:lnTo>
                    <a:pt x="47" y="43"/>
                  </a:lnTo>
                  <a:lnTo>
                    <a:pt x="47" y="132"/>
                  </a:lnTo>
                  <a:lnTo>
                    <a:pt x="42" y="132"/>
                  </a:lnTo>
                  <a:lnTo>
                    <a:pt x="42"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2" name="Freeform 13"/>
            <p:cNvSpPr>
              <a:spLocks/>
            </p:cNvSpPr>
            <p:nvPr/>
          </p:nvSpPr>
          <p:spPr bwMode="gray">
            <a:xfrm>
              <a:off x="2430" y="403"/>
              <a:ext cx="88" cy="186"/>
            </a:xfrm>
            <a:custGeom>
              <a:avLst/>
              <a:gdLst/>
              <a:ahLst/>
              <a:cxnLst>
                <a:cxn ang="0">
                  <a:pos x="43" y="43"/>
                </a:cxn>
                <a:cxn ang="0">
                  <a:pos x="41" y="43"/>
                </a:cxn>
                <a:cxn ang="0">
                  <a:pos x="35" y="43"/>
                </a:cxn>
                <a:cxn ang="0">
                  <a:pos x="27" y="41"/>
                </a:cxn>
                <a:cxn ang="0">
                  <a:pos x="18" y="35"/>
                </a:cxn>
                <a:cxn ang="0">
                  <a:pos x="8" y="28"/>
                </a:cxn>
                <a:cxn ang="0">
                  <a:pos x="3" y="16"/>
                </a:cxn>
                <a:cxn ang="0">
                  <a:pos x="0" y="0"/>
                </a:cxn>
                <a:cxn ang="0">
                  <a:pos x="3" y="0"/>
                </a:cxn>
                <a:cxn ang="0">
                  <a:pos x="8" y="0"/>
                </a:cxn>
                <a:cxn ang="0">
                  <a:pos x="17" y="1"/>
                </a:cxn>
                <a:cxn ang="0">
                  <a:pos x="26" y="6"/>
                </a:cxn>
                <a:cxn ang="0">
                  <a:pos x="35" y="12"/>
                </a:cxn>
                <a:cxn ang="0">
                  <a:pos x="42" y="24"/>
                </a:cxn>
                <a:cxn ang="0">
                  <a:pos x="48" y="41"/>
                </a:cxn>
                <a:cxn ang="0">
                  <a:pos x="48" y="90"/>
                </a:cxn>
                <a:cxn ang="0">
                  <a:pos x="48" y="88"/>
                </a:cxn>
                <a:cxn ang="0">
                  <a:pos x="48" y="82"/>
                </a:cxn>
                <a:cxn ang="0">
                  <a:pos x="50" y="74"/>
                </a:cxn>
                <a:cxn ang="0">
                  <a:pos x="54" y="66"/>
                </a:cxn>
                <a:cxn ang="0">
                  <a:pos x="61" y="58"/>
                </a:cxn>
                <a:cxn ang="0">
                  <a:pos x="72" y="53"/>
                </a:cxn>
                <a:cxn ang="0">
                  <a:pos x="87" y="50"/>
                </a:cxn>
                <a:cxn ang="0">
                  <a:pos x="88" y="51"/>
                </a:cxn>
                <a:cxn ang="0">
                  <a:pos x="88" y="57"/>
                </a:cxn>
                <a:cxn ang="0">
                  <a:pos x="87" y="64"/>
                </a:cxn>
                <a:cxn ang="0">
                  <a:pos x="84" y="72"/>
                </a:cxn>
                <a:cxn ang="0">
                  <a:pos x="80" y="80"/>
                </a:cxn>
                <a:cxn ang="0">
                  <a:pos x="73" y="86"/>
                </a:cxn>
                <a:cxn ang="0">
                  <a:pos x="62" y="92"/>
                </a:cxn>
                <a:cxn ang="0">
                  <a:pos x="48" y="93"/>
                </a:cxn>
                <a:cxn ang="0">
                  <a:pos x="48" y="186"/>
                </a:cxn>
                <a:cxn ang="0">
                  <a:pos x="43" y="186"/>
                </a:cxn>
                <a:cxn ang="0">
                  <a:pos x="43" y="143"/>
                </a:cxn>
                <a:cxn ang="0">
                  <a:pos x="42" y="143"/>
                </a:cxn>
                <a:cxn ang="0">
                  <a:pos x="37" y="142"/>
                </a:cxn>
                <a:cxn ang="0">
                  <a:pos x="29" y="140"/>
                </a:cxn>
                <a:cxn ang="0">
                  <a:pos x="22" y="136"/>
                </a:cxn>
                <a:cxn ang="0">
                  <a:pos x="14" y="130"/>
                </a:cxn>
                <a:cxn ang="0">
                  <a:pos x="8" y="120"/>
                </a:cxn>
                <a:cxn ang="0">
                  <a:pos x="7" y="105"/>
                </a:cxn>
                <a:cxn ang="0">
                  <a:pos x="8" y="105"/>
                </a:cxn>
                <a:cxn ang="0">
                  <a:pos x="12" y="107"/>
                </a:cxn>
                <a:cxn ang="0">
                  <a:pos x="19" y="108"/>
                </a:cxn>
                <a:cxn ang="0">
                  <a:pos x="26" y="111"/>
                </a:cxn>
                <a:cxn ang="0">
                  <a:pos x="34" y="117"/>
                </a:cxn>
                <a:cxn ang="0">
                  <a:pos x="39" y="127"/>
                </a:cxn>
                <a:cxn ang="0">
                  <a:pos x="43" y="140"/>
                </a:cxn>
                <a:cxn ang="0">
                  <a:pos x="43" y="43"/>
                </a:cxn>
              </a:cxnLst>
              <a:rect l="0" t="0" r="r" b="b"/>
              <a:pathLst>
                <a:path w="88" h="186">
                  <a:moveTo>
                    <a:pt x="43" y="43"/>
                  </a:moveTo>
                  <a:lnTo>
                    <a:pt x="41" y="43"/>
                  </a:lnTo>
                  <a:lnTo>
                    <a:pt x="35" y="43"/>
                  </a:lnTo>
                  <a:lnTo>
                    <a:pt x="27" y="41"/>
                  </a:lnTo>
                  <a:lnTo>
                    <a:pt x="18" y="35"/>
                  </a:lnTo>
                  <a:lnTo>
                    <a:pt x="8" y="28"/>
                  </a:lnTo>
                  <a:lnTo>
                    <a:pt x="3" y="16"/>
                  </a:lnTo>
                  <a:lnTo>
                    <a:pt x="0" y="0"/>
                  </a:lnTo>
                  <a:lnTo>
                    <a:pt x="3" y="0"/>
                  </a:lnTo>
                  <a:lnTo>
                    <a:pt x="8" y="0"/>
                  </a:lnTo>
                  <a:lnTo>
                    <a:pt x="17" y="1"/>
                  </a:lnTo>
                  <a:lnTo>
                    <a:pt x="26" y="6"/>
                  </a:lnTo>
                  <a:lnTo>
                    <a:pt x="35" y="12"/>
                  </a:lnTo>
                  <a:lnTo>
                    <a:pt x="42" y="24"/>
                  </a:lnTo>
                  <a:lnTo>
                    <a:pt x="48" y="41"/>
                  </a:lnTo>
                  <a:lnTo>
                    <a:pt x="48" y="90"/>
                  </a:lnTo>
                  <a:lnTo>
                    <a:pt x="48" y="88"/>
                  </a:lnTo>
                  <a:lnTo>
                    <a:pt x="48" y="82"/>
                  </a:lnTo>
                  <a:lnTo>
                    <a:pt x="50" y="74"/>
                  </a:lnTo>
                  <a:lnTo>
                    <a:pt x="54" y="66"/>
                  </a:lnTo>
                  <a:lnTo>
                    <a:pt x="61" y="58"/>
                  </a:lnTo>
                  <a:lnTo>
                    <a:pt x="72" y="53"/>
                  </a:lnTo>
                  <a:lnTo>
                    <a:pt x="87" y="50"/>
                  </a:lnTo>
                  <a:lnTo>
                    <a:pt x="88" y="51"/>
                  </a:lnTo>
                  <a:lnTo>
                    <a:pt x="88" y="57"/>
                  </a:lnTo>
                  <a:lnTo>
                    <a:pt x="87" y="64"/>
                  </a:lnTo>
                  <a:lnTo>
                    <a:pt x="84" y="72"/>
                  </a:lnTo>
                  <a:lnTo>
                    <a:pt x="80" y="80"/>
                  </a:lnTo>
                  <a:lnTo>
                    <a:pt x="73" y="86"/>
                  </a:lnTo>
                  <a:lnTo>
                    <a:pt x="62" y="92"/>
                  </a:lnTo>
                  <a:lnTo>
                    <a:pt x="48" y="93"/>
                  </a:lnTo>
                  <a:lnTo>
                    <a:pt x="48" y="186"/>
                  </a:lnTo>
                  <a:lnTo>
                    <a:pt x="43" y="186"/>
                  </a:lnTo>
                  <a:lnTo>
                    <a:pt x="43" y="143"/>
                  </a:lnTo>
                  <a:lnTo>
                    <a:pt x="42" y="143"/>
                  </a:lnTo>
                  <a:lnTo>
                    <a:pt x="37" y="142"/>
                  </a:lnTo>
                  <a:lnTo>
                    <a:pt x="29" y="140"/>
                  </a:lnTo>
                  <a:lnTo>
                    <a:pt x="22" y="136"/>
                  </a:lnTo>
                  <a:lnTo>
                    <a:pt x="14" y="130"/>
                  </a:lnTo>
                  <a:lnTo>
                    <a:pt x="8" y="120"/>
                  </a:lnTo>
                  <a:lnTo>
                    <a:pt x="7" y="105"/>
                  </a:lnTo>
                  <a:lnTo>
                    <a:pt x="8" y="105"/>
                  </a:lnTo>
                  <a:lnTo>
                    <a:pt x="12" y="107"/>
                  </a:lnTo>
                  <a:lnTo>
                    <a:pt x="19" y="108"/>
                  </a:lnTo>
                  <a:lnTo>
                    <a:pt x="26" y="111"/>
                  </a:lnTo>
                  <a:lnTo>
                    <a:pt x="34" y="117"/>
                  </a:lnTo>
                  <a:lnTo>
                    <a:pt x="39" y="127"/>
                  </a:lnTo>
                  <a:lnTo>
                    <a:pt x="43" y="140"/>
                  </a:lnTo>
                  <a:lnTo>
                    <a:pt x="43"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3" name="Freeform 14"/>
            <p:cNvSpPr>
              <a:spLocks/>
            </p:cNvSpPr>
            <p:nvPr/>
          </p:nvSpPr>
          <p:spPr bwMode="gray">
            <a:xfrm>
              <a:off x="1914" y="233"/>
              <a:ext cx="166" cy="356"/>
            </a:xfrm>
            <a:custGeom>
              <a:avLst/>
              <a:gdLst/>
              <a:ahLst/>
              <a:cxnLst>
                <a:cxn ang="0">
                  <a:pos x="85" y="84"/>
                </a:cxn>
                <a:cxn ang="0">
                  <a:pos x="101" y="81"/>
                </a:cxn>
                <a:cxn ang="0">
                  <a:pos x="124" y="73"/>
                </a:cxn>
                <a:cxn ang="0">
                  <a:pos x="148" y="56"/>
                </a:cxn>
                <a:cxn ang="0">
                  <a:pos x="163" y="23"/>
                </a:cxn>
                <a:cxn ang="0">
                  <a:pos x="163" y="0"/>
                </a:cxn>
                <a:cxn ang="0">
                  <a:pos x="148" y="0"/>
                </a:cxn>
                <a:cxn ang="0">
                  <a:pos x="125" y="6"/>
                </a:cxn>
                <a:cxn ang="0">
                  <a:pos x="101" y="22"/>
                </a:cxn>
                <a:cxn ang="0">
                  <a:pos x="82" y="54"/>
                </a:cxn>
                <a:cxn ang="0">
                  <a:pos x="77" y="173"/>
                </a:cxn>
                <a:cxn ang="0">
                  <a:pos x="77" y="165"/>
                </a:cxn>
                <a:cxn ang="0">
                  <a:pos x="71" y="146"/>
                </a:cxn>
                <a:cxn ang="0">
                  <a:pos x="60" y="123"/>
                </a:cxn>
                <a:cxn ang="0">
                  <a:pos x="38" y="104"/>
                </a:cxn>
                <a:cxn ang="0">
                  <a:pos x="0" y="96"/>
                </a:cxn>
                <a:cxn ang="0">
                  <a:pos x="0" y="103"/>
                </a:cxn>
                <a:cxn ang="0">
                  <a:pos x="0" y="120"/>
                </a:cxn>
                <a:cxn ang="0">
                  <a:pos x="8" y="143"/>
                </a:cxn>
                <a:cxn ang="0">
                  <a:pos x="24" y="163"/>
                </a:cxn>
                <a:cxn ang="0">
                  <a:pos x="55" y="177"/>
                </a:cxn>
                <a:cxn ang="0">
                  <a:pos x="77" y="356"/>
                </a:cxn>
                <a:cxn ang="0">
                  <a:pos x="82" y="274"/>
                </a:cxn>
                <a:cxn ang="0">
                  <a:pos x="91" y="273"/>
                </a:cxn>
                <a:cxn ang="0">
                  <a:pos x="112" y="267"/>
                </a:cxn>
                <a:cxn ang="0">
                  <a:pos x="135" y="252"/>
                </a:cxn>
                <a:cxn ang="0">
                  <a:pos x="151" y="224"/>
                </a:cxn>
                <a:cxn ang="0">
                  <a:pos x="152" y="203"/>
                </a:cxn>
                <a:cxn ang="0">
                  <a:pos x="137" y="204"/>
                </a:cxn>
                <a:cxn ang="0">
                  <a:pos x="117" y="211"/>
                </a:cxn>
                <a:cxn ang="0">
                  <a:pos x="97" y="231"/>
                </a:cxn>
                <a:cxn ang="0">
                  <a:pos x="82" y="267"/>
                </a:cxn>
              </a:cxnLst>
              <a:rect l="0" t="0" r="r" b="b"/>
              <a:pathLst>
                <a:path w="166" h="356">
                  <a:moveTo>
                    <a:pt x="82" y="84"/>
                  </a:moveTo>
                  <a:lnTo>
                    <a:pt x="85" y="84"/>
                  </a:lnTo>
                  <a:lnTo>
                    <a:pt x="91" y="84"/>
                  </a:lnTo>
                  <a:lnTo>
                    <a:pt x="101" y="81"/>
                  </a:lnTo>
                  <a:lnTo>
                    <a:pt x="112" y="78"/>
                  </a:lnTo>
                  <a:lnTo>
                    <a:pt x="124" y="73"/>
                  </a:lnTo>
                  <a:lnTo>
                    <a:pt x="136" y="66"/>
                  </a:lnTo>
                  <a:lnTo>
                    <a:pt x="148" y="56"/>
                  </a:lnTo>
                  <a:lnTo>
                    <a:pt x="156" y="42"/>
                  </a:lnTo>
                  <a:lnTo>
                    <a:pt x="163" y="23"/>
                  </a:lnTo>
                  <a:lnTo>
                    <a:pt x="166" y="2"/>
                  </a:lnTo>
                  <a:lnTo>
                    <a:pt x="163" y="0"/>
                  </a:lnTo>
                  <a:lnTo>
                    <a:pt x="158" y="0"/>
                  </a:lnTo>
                  <a:lnTo>
                    <a:pt x="148" y="0"/>
                  </a:lnTo>
                  <a:lnTo>
                    <a:pt x="137" y="3"/>
                  </a:lnTo>
                  <a:lnTo>
                    <a:pt x="125" y="6"/>
                  </a:lnTo>
                  <a:lnTo>
                    <a:pt x="113" y="12"/>
                  </a:lnTo>
                  <a:lnTo>
                    <a:pt x="101" y="22"/>
                  </a:lnTo>
                  <a:lnTo>
                    <a:pt x="90" y="35"/>
                  </a:lnTo>
                  <a:lnTo>
                    <a:pt x="82" y="54"/>
                  </a:lnTo>
                  <a:lnTo>
                    <a:pt x="77" y="78"/>
                  </a:lnTo>
                  <a:lnTo>
                    <a:pt x="77" y="173"/>
                  </a:lnTo>
                  <a:lnTo>
                    <a:pt x="77" y="170"/>
                  </a:lnTo>
                  <a:lnTo>
                    <a:pt x="77" y="165"/>
                  </a:lnTo>
                  <a:lnTo>
                    <a:pt x="74" y="157"/>
                  </a:lnTo>
                  <a:lnTo>
                    <a:pt x="71" y="146"/>
                  </a:lnTo>
                  <a:lnTo>
                    <a:pt x="67" y="134"/>
                  </a:lnTo>
                  <a:lnTo>
                    <a:pt x="60" y="123"/>
                  </a:lnTo>
                  <a:lnTo>
                    <a:pt x="50" y="112"/>
                  </a:lnTo>
                  <a:lnTo>
                    <a:pt x="38" y="104"/>
                  </a:lnTo>
                  <a:lnTo>
                    <a:pt x="20" y="97"/>
                  </a:lnTo>
                  <a:lnTo>
                    <a:pt x="0" y="96"/>
                  </a:lnTo>
                  <a:lnTo>
                    <a:pt x="0" y="97"/>
                  </a:lnTo>
                  <a:lnTo>
                    <a:pt x="0" y="103"/>
                  </a:lnTo>
                  <a:lnTo>
                    <a:pt x="0" y="111"/>
                  </a:lnTo>
                  <a:lnTo>
                    <a:pt x="0" y="120"/>
                  </a:lnTo>
                  <a:lnTo>
                    <a:pt x="2" y="131"/>
                  </a:lnTo>
                  <a:lnTo>
                    <a:pt x="8" y="143"/>
                  </a:lnTo>
                  <a:lnTo>
                    <a:pt x="15" y="154"/>
                  </a:lnTo>
                  <a:lnTo>
                    <a:pt x="24" y="163"/>
                  </a:lnTo>
                  <a:lnTo>
                    <a:pt x="38" y="171"/>
                  </a:lnTo>
                  <a:lnTo>
                    <a:pt x="55" y="177"/>
                  </a:lnTo>
                  <a:lnTo>
                    <a:pt x="77" y="178"/>
                  </a:lnTo>
                  <a:lnTo>
                    <a:pt x="77" y="356"/>
                  </a:lnTo>
                  <a:lnTo>
                    <a:pt x="82" y="356"/>
                  </a:lnTo>
                  <a:lnTo>
                    <a:pt x="82" y="274"/>
                  </a:lnTo>
                  <a:lnTo>
                    <a:pt x="85" y="273"/>
                  </a:lnTo>
                  <a:lnTo>
                    <a:pt x="91" y="273"/>
                  </a:lnTo>
                  <a:lnTo>
                    <a:pt x="101" y="271"/>
                  </a:lnTo>
                  <a:lnTo>
                    <a:pt x="112" y="267"/>
                  </a:lnTo>
                  <a:lnTo>
                    <a:pt x="124" y="262"/>
                  </a:lnTo>
                  <a:lnTo>
                    <a:pt x="135" y="252"/>
                  </a:lnTo>
                  <a:lnTo>
                    <a:pt x="144" y="240"/>
                  </a:lnTo>
                  <a:lnTo>
                    <a:pt x="151" y="224"/>
                  </a:lnTo>
                  <a:lnTo>
                    <a:pt x="154" y="203"/>
                  </a:lnTo>
                  <a:lnTo>
                    <a:pt x="152" y="203"/>
                  </a:lnTo>
                  <a:lnTo>
                    <a:pt x="145" y="203"/>
                  </a:lnTo>
                  <a:lnTo>
                    <a:pt x="137" y="204"/>
                  </a:lnTo>
                  <a:lnTo>
                    <a:pt x="128" y="207"/>
                  </a:lnTo>
                  <a:lnTo>
                    <a:pt x="117" y="211"/>
                  </a:lnTo>
                  <a:lnTo>
                    <a:pt x="106" y="219"/>
                  </a:lnTo>
                  <a:lnTo>
                    <a:pt x="97" y="231"/>
                  </a:lnTo>
                  <a:lnTo>
                    <a:pt x="89" y="247"/>
                  </a:lnTo>
                  <a:lnTo>
                    <a:pt x="82" y="267"/>
                  </a:lnTo>
                  <a:lnTo>
                    <a:pt x="82" y="84"/>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4" name="Freeform 15"/>
            <p:cNvSpPr>
              <a:spLocks/>
            </p:cNvSpPr>
            <p:nvPr/>
          </p:nvSpPr>
          <p:spPr bwMode="gray">
            <a:xfrm>
              <a:off x="2514" y="379"/>
              <a:ext cx="92" cy="210"/>
            </a:xfrm>
            <a:custGeom>
              <a:avLst/>
              <a:gdLst/>
              <a:ahLst/>
              <a:cxnLst>
                <a:cxn ang="0">
                  <a:pos x="43" y="162"/>
                </a:cxn>
                <a:cxn ang="0">
                  <a:pos x="36" y="160"/>
                </a:cxn>
                <a:cxn ang="0">
                  <a:pos x="23" y="155"/>
                </a:cxn>
                <a:cxn ang="0">
                  <a:pos x="12" y="141"/>
                </a:cxn>
                <a:cxn ang="0">
                  <a:pos x="12" y="129"/>
                </a:cxn>
                <a:cxn ang="0">
                  <a:pos x="23" y="132"/>
                </a:cxn>
                <a:cxn ang="0">
                  <a:pos x="38" y="145"/>
                </a:cxn>
                <a:cxn ang="0">
                  <a:pos x="43" y="108"/>
                </a:cxn>
                <a:cxn ang="0">
                  <a:pos x="35" y="106"/>
                </a:cxn>
                <a:cxn ang="0">
                  <a:pos x="20" y="101"/>
                </a:cxn>
                <a:cxn ang="0">
                  <a:pos x="7" y="83"/>
                </a:cxn>
                <a:cxn ang="0">
                  <a:pos x="7" y="70"/>
                </a:cxn>
                <a:cxn ang="0">
                  <a:pos x="17" y="71"/>
                </a:cxn>
                <a:cxn ang="0">
                  <a:pos x="31" y="81"/>
                </a:cxn>
                <a:cxn ang="0">
                  <a:pos x="43" y="105"/>
                </a:cxn>
                <a:cxn ang="0">
                  <a:pos x="40" y="43"/>
                </a:cxn>
                <a:cxn ang="0">
                  <a:pos x="26" y="39"/>
                </a:cxn>
                <a:cxn ang="0">
                  <a:pos x="8" y="27"/>
                </a:cxn>
                <a:cxn ang="0">
                  <a:pos x="0" y="0"/>
                </a:cxn>
                <a:cxn ang="0">
                  <a:pos x="7" y="0"/>
                </a:cxn>
                <a:cxn ang="0">
                  <a:pos x="23" y="5"/>
                </a:cxn>
                <a:cxn ang="0">
                  <a:pos x="39" y="23"/>
                </a:cxn>
                <a:cxn ang="0">
                  <a:pos x="46" y="38"/>
                </a:cxn>
                <a:cxn ang="0">
                  <a:pos x="51" y="24"/>
                </a:cxn>
                <a:cxn ang="0">
                  <a:pos x="66" y="8"/>
                </a:cxn>
                <a:cxn ang="0">
                  <a:pos x="92" y="0"/>
                </a:cxn>
                <a:cxn ang="0">
                  <a:pos x="90" y="8"/>
                </a:cxn>
                <a:cxn ang="0">
                  <a:pos x="82" y="25"/>
                </a:cxn>
                <a:cxn ang="0">
                  <a:pos x="63" y="40"/>
                </a:cxn>
                <a:cxn ang="0">
                  <a:pos x="49" y="124"/>
                </a:cxn>
                <a:cxn ang="0">
                  <a:pos x="50" y="116"/>
                </a:cxn>
                <a:cxn ang="0">
                  <a:pos x="59" y="100"/>
                </a:cxn>
                <a:cxn ang="0">
                  <a:pos x="81" y="92"/>
                </a:cxn>
                <a:cxn ang="0">
                  <a:pos x="80" y="98"/>
                </a:cxn>
                <a:cxn ang="0">
                  <a:pos x="73" y="114"/>
                </a:cxn>
                <a:cxn ang="0">
                  <a:pos x="59" y="127"/>
                </a:cxn>
                <a:cxn ang="0">
                  <a:pos x="49" y="210"/>
                </a:cxn>
              </a:cxnLst>
              <a:rect l="0" t="0" r="r" b="b"/>
              <a:pathLst>
                <a:path w="92" h="210">
                  <a:moveTo>
                    <a:pt x="43" y="210"/>
                  </a:moveTo>
                  <a:lnTo>
                    <a:pt x="43" y="162"/>
                  </a:lnTo>
                  <a:lnTo>
                    <a:pt x="40" y="162"/>
                  </a:lnTo>
                  <a:lnTo>
                    <a:pt x="36" y="160"/>
                  </a:lnTo>
                  <a:lnTo>
                    <a:pt x="30" y="159"/>
                  </a:lnTo>
                  <a:lnTo>
                    <a:pt x="23" y="155"/>
                  </a:lnTo>
                  <a:lnTo>
                    <a:pt x="16" y="150"/>
                  </a:lnTo>
                  <a:lnTo>
                    <a:pt x="12" y="141"/>
                  </a:lnTo>
                  <a:lnTo>
                    <a:pt x="11" y="129"/>
                  </a:lnTo>
                  <a:lnTo>
                    <a:pt x="12" y="129"/>
                  </a:lnTo>
                  <a:lnTo>
                    <a:pt x="16" y="129"/>
                  </a:lnTo>
                  <a:lnTo>
                    <a:pt x="23" y="132"/>
                  </a:lnTo>
                  <a:lnTo>
                    <a:pt x="31" y="137"/>
                  </a:lnTo>
                  <a:lnTo>
                    <a:pt x="38" y="145"/>
                  </a:lnTo>
                  <a:lnTo>
                    <a:pt x="43" y="159"/>
                  </a:lnTo>
                  <a:lnTo>
                    <a:pt x="43" y="108"/>
                  </a:lnTo>
                  <a:lnTo>
                    <a:pt x="40" y="108"/>
                  </a:lnTo>
                  <a:lnTo>
                    <a:pt x="35" y="106"/>
                  </a:lnTo>
                  <a:lnTo>
                    <a:pt x="28" y="105"/>
                  </a:lnTo>
                  <a:lnTo>
                    <a:pt x="20" y="101"/>
                  </a:lnTo>
                  <a:lnTo>
                    <a:pt x="12" y="94"/>
                  </a:lnTo>
                  <a:lnTo>
                    <a:pt x="7" y="83"/>
                  </a:lnTo>
                  <a:lnTo>
                    <a:pt x="5" y="70"/>
                  </a:lnTo>
                  <a:lnTo>
                    <a:pt x="7" y="70"/>
                  </a:lnTo>
                  <a:lnTo>
                    <a:pt x="11" y="70"/>
                  </a:lnTo>
                  <a:lnTo>
                    <a:pt x="17" y="71"/>
                  </a:lnTo>
                  <a:lnTo>
                    <a:pt x="24" y="74"/>
                  </a:lnTo>
                  <a:lnTo>
                    <a:pt x="31" y="81"/>
                  </a:lnTo>
                  <a:lnTo>
                    <a:pt x="38" y="90"/>
                  </a:lnTo>
                  <a:lnTo>
                    <a:pt x="43" y="105"/>
                  </a:lnTo>
                  <a:lnTo>
                    <a:pt x="43" y="43"/>
                  </a:lnTo>
                  <a:lnTo>
                    <a:pt x="40" y="43"/>
                  </a:lnTo>
                  <a:lnTo>
                    <a:pt x="34" y="42"/>
                  </a:lnTo>
                  <a:lnTo>
                    <a:pt x="26" y="39"/>
                  </a:lnTo>
                  <a:lnTo>
                    <a:pt x="16" y="35"/>
                  </a:lnTo>
                  <a:lnTo>
                    <a:pt x="8" y="27"/>
                  </a:lnTo>
                  <a:lnTo>
                    <a:pt x="1" y="16"/>
                  </a:lnTo>
                  <a:lnTo>
                    <a:pt x="0" y="0"/>
                  </a:lnTo>
                  <a:lnTo>
                    <a:pt x="1" y="0"/>
                  </a:lnTo>
                  <a:lnTo>
                    <a:pt x="7" y="0"/>
                  </a:lnTo>
                  <a:lnTo>
                    <a:pt x="13" y="1"/>
                  </a:lnTo>
                  <a:lnTo>
                    <a:pt x="23" y="5"/>
                  </a:lnTo>
                  <a:lnTo>
                    <a:pt x="31" y="12"/>
                  </a:lnTo>
                  <a:lnTo>
                    <a:pt x="39" y="23"/>
                  </a:lnTo>
                  <a:lnTo>
                    <a:pt x="46" y="40"/>
                  </a:lnTo>
                  <a:lnTo>
                    <a:pt x="46" y="38"/>
                  </a:lnTo>
                  <a:lnTo>
                    <a:pt x="49" y="32"/>
                  </a:lnTo>
                  <a:lnTo>
                    <a:pt x="51" y="24"/>
                  </a:lnTo>
                  <a:lnTo>
                    <a:pt x="58" y="15"/>
                  </a:lnTo>
                  <a:lnTo>
                    <a:pt x="66" y="8"/>
                  </a:lnTo>
                  <a:lnTo>
                    <a:pt x="77" y="1"/>
                  </a:lnTo>
                  <a:lnTo>
                    <a:pt x="92" y="0"/>
                  </a:lnTo>
                  <a:lnTo>
                    <a:pt x="92" y="1"/>
                  </a:lnTo>
                  <a:lnTo>
                    <a:pt x="90" y="8"/>
                  </a:lnTo>
                  <a:lnTo>
                    <a:pt x="88" y="16"/>
                  </a:lnTo>
                  <a:lnTo>
                    <a:pt x="82" y="25"/>
                  </a:lnTo>
                  <a:lnTo>
                    <a:pt x="74" y="34"/>
                  </a:lnTo>
                  <a:lnTo>
                    <a:pt x="63" y="40"/>
                  </a:lnTo>
                  <a:lnTo>
                    <a:pt x="49" y="43"/>
                  </a:lnTo>
                  <a:lnTo>
                    <a:pt x="49" y="124"/>
                  </a:lnTo>
                  <a:lnTo>
                    <a:pt x="49" y="121"/>
                  </a:lnTo>
                  <a:lnTo>
                    <a:pt x="50" y="116"/>
                  </a:lnTo>
                  <a:lnTo>
                    <a:pt x="53" y="108"/>
                  </a:lnTo>
                  <a:lnTo>
                    <a:pt x="59" y="100"/>
                  </a:lnTo>
                  <a:lnTo>
                    <a:pt x="67" y="94"/>
                  </a:lnTo>
                  <a:lnTo>
                    <a:pt x="81" y="92"/>
                  </a:lnTo>
                  <a:lnTo>
                    <a:pt x="81" y="93"/>
                  </a:lnTo>
                  <a:lnTo>
                    <a:pt x="80" y="98"/>
                  </a:lnTo>
                  <a:lnTo>
                    <a:pt x="77" y="106"/>
                  </a:lnTo>
                  <a:lnTo>
                    <a:pt x="73" y="114"/>
                  </a:lnTo>
                  <a:lnTo>
                    <a:pt x="67" y="121"/>
                  </a:lnTo>
                  <a:lnTo>
                    <a:pt x="59" y="127"/>
                  </a:lnTo>
                  <a:lnTo>
                    <a:pt x="49" y="129"/>
                  </a:lnTo>
                  <a:lnTo>
                    <a:pt x="49" y="210"/>
                  </a:lnTo>
                  <a:lnTo>
                    <a:pt x="43" y="210"/>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5" name="Freeform 16"/>
            <p:cNvSpPr>
              <a:spLocks/>
            </p:cNvSpPr>
            <p:nvPr/>
          </p:nvSpPr>
          <p:spPr bwMode="gray">
            <a:xfrm>
              <a:off x="1566" y="297"/>
              <a:ext cx="128" cy="292"/>
            </a:xfrm>
            <a:custGeom>
              <a:avLst/>
              <a:gdLst/>
              <a:ahLst/>
              <a:cxnLst>
                <a:cxn ang="0">
                  <a:pos x="61" y="225"/>
                </a:cxn>
                <a:cxn ang="0">
                  <a:pos x="54" y="225"/>
                </a:cxn>
                <a:cxn ang="0">
                  <a:pos x="38" y="219"/>
                </a:cxn>
                <a:cxn ang="0">
                  <a:pos x="23" y="206"/>
                </a:cxn>
                <a:cxn ang="0">
                  <a:pos x="15" y="180"/>
                </a:cxn>
                <a:cxn ang="0">
                  <a:pos x="23" y="180"/>
                </a:cxn>
                <a:cxn ang="0">
                  <a:pos x="38" y="186"/>
                </a:cxn>
                <a:cxn ang="0">
                  <a:pos x="54" y="205"/>
                </a:cxn>
                <a:cxn ang="0">
                  <a:pos x="61" y="151"/>
                </a:cxn>
                <a:cxn ang="0">
                  <a:pos x="52" y="149"/>
                </a:cxn>
                <a:cxn ang="0">
                  <a:pos x="34" y="144"/>
                </a:cxn>
                <a:cxn ang="0">
                  <a:pos x="16" y="128"/>
                </a:cxn>
                <a:cxn ang="0">
                  <a:pos x="8" y="98"/>
                </a:cxn>
                <a:cxn ang="0">
                  <a:pos x="15" y="97"/>
                </a:cxn>
                <a:cxn ang="0">
                  <a:pos x="29" y="101"/>
                </a:cxn>
                <a:cxn ang="0">
                  <a:pos x="47" y="116"/>
                </a:cxn>
                <a:cxn ang="0">
                  <a:pos x="61" y="147"/>
                </a:cxn>
                <a:cxn ang="0">
                  <a:pos x="58" y="60"/>
                </a:cxn>
                <a:cxn ang="0">
                  <a:pos x="44" y="58"/>
                </a:cxn>
                <a:cxn ang="0">
                  <a:pos x="25" y="50"/>
                </a:cxn>
                <a:cxn ang="0">
                  <a:pos x="8" y="32"/>
                </a:cxn>
                <a:cxn ang="0">
                  <a:pos x="0" y="0"/>
                </a:cxn>
                <a:cxn ang="0">
                  <a:pos x="8" y="0"/>
                </a:cxn>
                <a:cxn ang="0">
                  <a:pos x="27" y="5"/>
                </a:cxn>
                <a:cxn ang="0">
                  <a:pos x="48" y="21"/>
                </a:cxn>
                <a:cxn ang="0">
                  <a:pos x="65" y="56"/>
                </a:cxn>
                <a:cxn ang="0">
                  <a:pos x="66" y="48"/>
                </a:cxn>
                <a:cxn ang="0">
                  <a:pos x="77" y="28"/>
                </a:cxn>
                <a:cxn ang="0">
                  <a:pos x="96" y="9"/>
                </a:cxn>
                <a:cxn ang="0">
                  <a:pos x="128" y="0"/>
                </a:cxn>
                <a:cxn ang="0">
                  <a:pos x="127" y="9"/>
                </a:cxn>
                <a:cxn ang="0">
                  <a:pos x="119" y="31"/>
                </a:cxn>
                <a:cxn ang="0">
                  <a:pos x="101" y="51"/>
                </a:cxn>
                <a:cxn ang="0">
                  <a:pos x="67" y="60"/>
                </a:cxn>
                <a:cxn ang="0">
                  <a:pos x="69" y="170"/>
                </a:cxn>
                <a:cxn ang="0">
                  <a:pos x="73" y="155"/>
                </a:cxn>
                <a:cxn ang="0">
                  <a:pos x="86" y="136"/>
                </a:cxn>
                <a:cxn ang="0">
                  <a:pos x="113" y="128"/>
                </a:cxn>
                <a:cxn ang="0">
                  <a:pos x="112" y="136"/>
                </a:cxn>
                <a:cxn ang="0">
                  <a:pos x="105" y="153"/>
                </a:cxn>
                <a:cxn ang="0">
                  <a:pos x="92" y="172"/>
                </a:cxn>
                <a:cxn ang="0">
                  <a:pos x="67" y="180"/>
                </a:cxn>
                <a:cxn ang="0">
                  <a:pos x="61" y="292"/>
                </a:cxn>
              </a:cxnLst>
              <a:rect l="0" t="0" r="r" b="b"/>
              <a:pathLst>
                <a:path w="128" h="292">
                  <a:moveTo>
                    <a:pt x="61" y="292"/>
                  </a:moveTo>
                  <a:lnTo>
                    <a:pt x="61" y="225"/>
                  </a:lnTo>
                  <a:lnTo>
                    <a:pt x="58" y="225"/>
                  </a:lnTo>
                  <a:lnTo>
                    <a:pt x="54" y="225"/>
                  </a:lnTo>
                  <a:lnTo>
                    <a:pt x="46" y="222"/>
                  </a:lnTo>
                  <a:lnTo>
                    <a:pt x="38" y="219"/>
                  </a:lnTo>
                  <a:lnTo>
                    <a:pt x="29" y="214"/>
                  </a:lnTo>
                  <a:lnTo>
                    <a:pt x="23" y="206"/>
                  </a:lnTo>
                  <a:lnTo>
                    <a:pt x="17" y="195"/>
                  </a:lnTo>
                  <a:lnTo>
                    <a:pt x="15" y="180"/>
                  </a:lnTo>
                  <a:lnTo>
                    <a:pt x="17" y="180"/>
                  </a:lnTo>
                  <a:lnTo>
                    <a:pt x="23" y="180"/>
                  </a:lnTo>
                  <a:lnTo>
                    <a:pt x="29" y="182"/>
                  </a:lnTo>
                  <a:lnTo>
                    <a:pt x="38" y="186"/>
                  </a:lnTo>
                  <a:lnTo>
                    <a:pt x="47" y="194"/>
                  </a:lnTo>
                  <a:lnTo>
                    <a:pt x="54" y="205"/>
                  </a:lnTo>
                  <a:lnTo>
                    <a:pt x="61" y="221"/>
                  </a:lnTo>
                  <a:lnTo>
                    <a:pt x="61" y="151"/>
                  </a:lnTo>
                  <a:lnTo>
                    <a:pt x="58" y="149"/>
                  </a:lnTo>
                  <a:lnTo>
                    <a:pt x="52" y="149"/>
                  </a:lnTo>
                  <a:lnTo>
                    <a:pt x="44" y="147"/>
                  </a:lnTo>
                  <a:lnTo>
                    <a:pt x="34" y="144"/>
                  </a:lnTo>
                  <a:lnTo>
                    <a:pt x="24" y="137"/>
                  </a:lnTo>
                  <a:lnTo>
                    <a:pt x="16" y="128"/>
                  </a:lnTo>
                  <a:lnTo>
                    <a:pt x="11" y="114"/>
                  </a:lnTo>
                  <a:lnTo>
                    <a:pt x="8" y="98"/>
                  </a:lnTo>
                  <a:lnTo>
                    <a:pt x="9" y="97"/>
                  </a:lnTo>
                  <a:lnTo>
                    <a:pt x="15" y="97"/>
                  </a:lnTo>
                  <a:lnTo>
                    <a:pt x="21" y="98"/>
                  </a:lnTo>
                  <a:lnTo>
                    <a:pt x="29" y="101"/>
                  </a:lnTo>
                  <a:lnTo>
                    <a:pt x="39" y="106"/>
                  </a:lnTo>
                  <a:lnTo>
                    <a:pt x="47" y="116"/>
                  </a:lnTo>
                  <a:lnTo>
                    <a:pt x="55" y="128"/>
                  </a:lnTo>
                  <a:lnTo>
                    <a:pt x="61" y="147"/>
                  </a:lnTo>
                  <a:lnTo>
                    <a:pt x="61" y="60"/>
                  </a:lnTo>
                  <a:lnTo>
                    <a:pt x="58" y="60"/>
                  </a:lnTo>
                  <a:lnTo>
                    <a:pt x="52" y="59"/>
                  </a:lnTo>
                  <a:lnTo>
                    <a:pt x="44" y="58"/>
                  </a:lnTo>
                  <a:lnTo>
                    <a:pt x="35" y="55"/>
                  </a:lnTo>
                  <a:lnTo>
                    <a:pt x="25" y="50"/>
                  </a:lnTo>
                  <a:lnTo>
                    <a:pt x="16" y="43"/>
                  </a:lnTo>
                  <a:lnTo>
                    <a:pt x="8" y="32"/>
                  </a:lnTo>
                  <a:lnTo>
                    <a:pt x="3" y="19"/>
                  </a:lnTo>
                  <a:lnTo>
                    <a:pt x="0" y="0"/>
                  </a:lnTo>
                  <a:lnTo>
                    <a:pt x="3" y="0"/>
                  </a:lnTo>
                  <a:lnTo>
                    <a:pt x="8" y="0"/>
                  </a:lnTo>
                  <a:lnTo>
                    <a:pt x="16" y="1"/>
                  </a:lnTo>
                  <a:lnTo>
                    <a:pt x="27" y="5"/>
                  </a:lnTo>
                  <a:lnTo>
                    <a:pt x="38" y="10"/>
                  </a:lnTo>
                  <a:lnTo>
                    <a:pt x="48" y="21"/>
                  </a:lnTo>
                  <a:lnTo>
                    <a:pt x="56" y="36"/>
                  </a:lnTo>
                  <a:lnTo>
                    <a:pt x="65" y="56"/>
                  </a:lnTo>
                  <a:lnTo>
                    <a:pt x="65" y="54"/>
                  </a:lnTo>
                  <a:lnTo>
                    <a:pt x="66" y="48"/>
                  </a:lnTo>
                  <a:lnTo>
                    <a:pt x="70" y="39"/>
                  </a:lnTo>
                  <a:lnTo>
                    <a:pt x="77" y="28"/>
                  </a:lnTo>
                  <a:lnTo>
                    <a:pt x="85" y="19"/>
                  </a:lnTo>
                  <a:lnTo>
                    <a:pt x="96" y="9"/>
                  </a:lnTo>
                  <a:lnTo>
                    <a:pt x="110" y="2"/>
                  </a:lnTo>
                  <a:lnTo>
                    <a:pt x="128" y="0"/>
                  </a:lnTo>
                  <a:lnTo>
                    <a:pt x="128" y="2"/>
                  </a:lnTo>
                  <a:lnTo>
                    <a:pt x="127" y="9"/>
                  </a:lnTo>
                  <a:lnTo>
                    <a:pt x="124" y="19"/>
                  </a:lnTo>
                  <a:lnTo>
                    <a:pt x="119" y="31"/>
                  </a:lnTo>
                  <a:lnTo>
                    <a:pt x="112" y="41"/>
                  </a:lnTo>
                  <a:lnTo>
                    <a:pt x="101" y="51"/>
                  </a:lnTo>
                  <a:lnTo>
                    <a:pt x="86" y="58"/>
                  </a:lnTo>
                  <a:lnTo>
                    <a:pt x="67" y="60"/>
                  </a:lnTo>
                  <a:lnTo>
                    <a:pt x="67" y="172"/>
                  </a:lnTo>
                  <a:lnTo>
                    <a:pt x="69" y="170"/>
                  </a:lnTo>
                  <a:lnTo>
                    <a:pt x="70" y="164"/>
                  </a:lnTo>
                  <a:lnTo>
                    <a:pt x="73" y="155"/>
                  </a:lnTo>
                  <a:lnTo>
                    <a:pt x="78" y="145"/>
                  </a:lnTo>
                  <a:lnTo>
                    <a:pt x="86" y="136"/>
                  </a:lnTo>
                  <a:lnTo>
                    <a:pt x="97" y="130"/>
                  </a:lnTo>
                  <a:lnTo>
                    <a:pt x="113" y="128"/>
                  </a:lnTo>
                  <a:lnTo>
                    <a:pt x="113" y="130"/>
                  </a:lnTo>
                  <a:lnTo>
                    <a:pt x="112" y="136"/>
                  </a:lnTo>
                  <a:lnTo>
                    <a:pt x="109" y="144"/>
                  </a:lnTo>
                  <a:lnTo>
                    <a:pt x="105" y="153"/>
                  </a:lnTo>
                  <a:lnTo>
                    <a:pt x="100" y="163"/>
                  </a:lnTo>
                  <a:lnTo>
                    <a:pt x="92" y="172"/>
                  </a:lnTo>
                  <a:lnTo>
                    <a:pt x="82" y="178"/>
                  </a:lnTo>
                  <a:lnTo>
                    <a:pt x="67" y="180"/>
                  </a:lnTo>
                  <a:lnTo>
                    <a:pt x="67" y="292"/>
                  </a:lnTo>
                  <a:lnTo>
                    <a:pt x="61" y="29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6" name="Freeform 17"/>
            <p:cNvSpPr>
              <a:spLocks/>
            </p:cNvSpPr>
            <p:nvPr/>
          </p:nvSpPr>
          <p:spPr bwMode="gray">
            <a:xfrm>
              <a:off x="2596" y="332"/>
              <a:ext cx="68" cy="257"/>
            </a:xfrm>
            <a:custGeom>
              <a:avLst/>
              <a:gdLst/>
              <a:ahLst/>
              <a:cxnLst>
                <a:cxn ang="0">
                  <a:pos x="31" y="164"/>
                </a:cxn>
                <a:cxn ang="0">
                  <a:pos x="23" y="163"/>
                </a:cxn>
                <a:cxn ang="0">
                  <a:pos x="8" y="155"/>
                </a:cxn>
                <a:cxn ang="0">
                  <a:pos x="0" y="132"/>
                </a:cxn>
                <a:cxn ang="0">
                  <a:pos x="7" y="132"/>
                </a:cxn>
                <a:cxn ang="0">
                  <a:pos x="22" y="139"/>
                </a:cxn>
                <a:cxn ang="0">
                  <a:pos x="31" y="160"/>
                </a:cxn>
                <a:cxn ang="0">
                  <a:pos x="29" y="101"/>
                </a:cxn>
                <a:cxn ang="0">
                  <a:pos x="16" y="97"/>
                </a:cxn>
                <a:cxn ang="0">
                  <a:pos x="3" y="83"/>
                </a:cxn>
                <a:cxn ang="0">
                  <a:pos x="3" y="70"/>
                </a:cxn>
                <a:cxn ang="0">
                  <a:pos x="15" y="74"/>
                </a:cxn>
                <a:cxn ang="0">
                  <a:pos x="27" y="86"/>
                </a:cxn>
                <a:cxn ang="0">
                  <a:pos x="31" y="31"/>
                </a:cxn>
                <a:cxn ang="0">
                  <a:pos x="33" y="23"/>
                </a:cxn>
                <a:cxn ang="0">
                  <a:pos x="41" y="8"/>
                </a:cxn>
                <a:cxn ang="0">
                  <a:pos x="62" y="0"/>
                </a:cxn>
                <a:cxn ang="0">
                  <a:pos x="61" y="8"/>
                </a:cxn>
                <a:cxn ang="0">
                  <a:pos x="53" y="23"/>
                </a:cxn>
                <a:cxn ang="0">
                  <a:pos x="35" y="31"/>
                </a:cxn>
                <a:cxn ang="0">
                  <a:pos x="35" y="75"/>
                </a:cxn>
                <a:cxn ang="0">
                  <a:pos x="39" y="62"/>
                </a:cxn>
                <a:cxn ang="0">
                  <a:pos x="54" y="48"/>
                </a:cxn>
                <a:cxn ang="0">
                  <a:pos x="68" y="48"/>
                </a:cxn>
                <a:cxn ang="0">
                  <a:pos x="66" y="59"/>
                </a:cxn>
                <a:cxn ang="0">
                  <a:pos x="58" y="72"/>
                </a:cxn>
                <a:cxn ang="0">
                  <a:pos x="35" y="82"/>
                </a:cxn>
                <a:cxn ang="0">
                  <a:pos x="35" y="143"/>
                </a:cxn>
                <a:cxn ang="0">
                  <a:pos x="38" y="132"/>
                </a:cxn>
                <a:cxn ang="0">
                  <a:pos x="49" y="122"/>
                </a:cxn>
                <a:cxn ang="0">
                  <a:pos x="60" y="122"/>
                </a:cxn>
                <a:cxn ang="0">
                  <a:pos x="58" y="133"/>
                </a:cxn>
                <a:cxn ang="0">
                  <a:pos x="47" y="144"/>
                </a:cxn>
                <a:cxn ang="0">
                  <a:pos x="35" y="257"/>
                </a:cxn>
              </a:cxnLst>
              <a:rect l="0" t="0" r="r" b="b"/>
              <a:pathLst>
                <a:path w="68" h="257">
                  <a:moveTo>
                    <a:pt x="31" y="257"/>
                  </a:moveTo>
                  <a:lnTo>
                    <a:pt x="31" y="164"/>
                  </a:lnTo>
                  <a:lnTo>
                    <a:pt x="29" y="163"/>
                  </a:lnTo>
                  <a:lnTo>
                    <a:pt x="23" y="163"/>
                  </a:lnTo>
                  <a:lnTo>
                    <a:pt x="16" y="160"/>
                  </a:lnTo>
                  <a:lnTo>
                    <a:pt x="8" y="155"/>
                  </a:lnTo>
                  <a:lnTo>
                    <a:pt x="3" y="145"/>
                  </a:lnTo>
                  <a:lnTo>
                    <a:pt x="0" y="132"/>
                  </a:lnTo>
                  <a:lnTo>
                    <a:pt x="3" y="132"/>
                  </a:lnTo>
                  <a:lnTo>
                    <a:pt x="7" y="132"/>
                  </a:lnTo>
                  <a:lnTo>
                    <a:pt x="15" y="135"/>
                  </a:lnTo>
                  <a:lnTo>
                    <a:pt x="22" y="139"/>
                  </a:lnTo>
                  <a:lnTo>
                    <a:pt x="27" y="147"/>
                  </a:lnTo>
                  <a:lnTo>
                    <a:pt x="31" y="160"/>
                  </a:lnTo>
                  <a:lnTo>
                    <a:pt x="31" y="101"/>
                  </a:lnTo>
                  <a:lnTo>
                    <a:pt x="29" y="101"/>
                  </a:lnTo>
                  <a:lnTo>
                    <a:pt x="23" y="99"/>
                  </a:lnTo>
                  <a:lnTo>
                    <a:pt x="16" y="97"/>
                  </a:lnTo>
                  <a:lnTo>
                    <a:pt x="8" y="91"/>
                  </a:lnTo>
                  <a:lnTo>
                    <a:pt x="3" y="83"/>
                  </a:lnTo>
                  <a:lnTo>
                    <a:pt x="0" y="70"/>
                  </a:lnTo>
                  <a:lnTo>
                    <a:pt x="3" y="70"/>
                  </a:lnTo>
                  <a:lnTo>
                    <a:pt x="7" y="71"/>
                  </a:lnTo>
                  <a:lnTo>
                    <a:pt x="15" y="74"/>
                  </a:lnTo>
                  <a:lnTo>
                    <a:pt x="22" y="78"/>
                  </a:lnTo>
                  <a:lnTo>
                    <a:pt x="27" y="86"/>
                  </a:lnTo>
                  <a:lnTo>
                    <a:pt x="31" y="97"/>
                  </a:lnTo>
                  <a:lnTo>
                    <a:pt x="31" y="31"/>
                  </a:lnTo>
                  <a:lnTo>
                    <a:pt x="31" y="28"/>
                  </a:lnTo>
                  <a:lnTo>
                    <a:pt x="33" y="23"/>
                  </a:lnTo>
                  <a:lnTo>
                    <a:pt x="35" y="15"/>
                  </a:lnTo>
                  <a:lnTo>
                    <a:pt x="41" y="8"/>
                  </a:lnTo>
                  <a:lnTo>
                    <a:pt x="50" y="2"/>
                  </a:lnTo>
                  <a:lnTo>
                    <a:pt x="62" y="0"/>
                  </a:lnTo>
                  <a:lnTo>
                    <a:pt x="62" y="2"/>
                  </a:lnTo>
                  <a:lnTo>
                    <a:pt x="61" y="8"/>
                  </a:lnTo>
                  <a:lnTo>
                    <a:pt x="58" y="15"/>
                  </a:lnTo>
                  <a:lnTo>
                    <a:pt x="53" y="23"/>
                  </a:lnTo>
                  <a:lnTo>
                    <a:pt x="46" y="28"/>
                  </a:lnTo>
                  <a:lnTo>
                    <a:pt x="35" y="31"/>
                  </a:lnTo>
                  <a:lnTo>
                    <a:pt x="35" y="78"/>
                  </a:lnTo>
                  <a:lnTo>
                    <a:pt x="35" y="75"/>
                  </a:lnTo>
                  <a:lnTo>
                    <a:pt x="37" y="70"/>
                  </a:lnTo>
                  <a:lnTo>
                    <a:pt x="39" y="62"/>
                  </a:lnTo>
                  <a:lnTo>
                    <a:pt x="45" y="55"/>
                  </a:lnTo>
                  <a:lnTo>
                    <a:pt x="54" y="48"/>
                  </a:lnTo>
                  <a:lnTo>
                    <a:pt x="66" y="47"/>
                  </a:lnTo>
                  <a:lnTo>
                    <a:pt x="68" y="48"/>
                  </a:lnTo>
                  <a:lnTo>
                    <a:pt x="68" y="52"/>
                  </a:lnTo>
                  <a:lnTo>
                    <a:pt x="66" y="59"/>
                  </a:lnTo>
                  <a:lnTo>
                    <a:pt x="64" y="66"/>
                  </a:lnTo>
                  <a:lnTo>
                    <a:pt x="58" y="72"/>
                  </a:lnTo>
                  <a:lnTo>
                    <a:pt x="50" y="78"/>
                  </a:lnTo>
                  <a:lnTo>
                    <a:pt x="35" y="82"/>
                  </a:lnTo>
                  <a:lnTo>
                    <a:pt x="35" y="144"/>
                  </a:lnTo>
                  <a:lnTo>
                    <a:pt x="35" y="143"/>
                  </a:lnTo>
                  <a:lnTo>
                    <a:pt x="37" y="139"/>
                  </a:lnTo>
                  <a:lnTo>
                    <a:pt x="38" y="132"/>
                  </a:lnTo>
                  <a:lnTo>
                    <a:pt x="42" y="126"/>
                  </a:lnTo>
                  <a:lnTo>
                    <a:pt x="49" y="122"/>
                  </a:lnTo>
                  <a:lnTo>
                    <a:pt x="58" y="121"/>
                  </a:lnTo>
                  <a:lnTo>
                    <a:pt x="60" y="122"/>
                  </a:lnTo>
                  <a:lnTo>
                    <a:pt x="60" y="126"/>
                  </a:lnTo>
                  <a:lnTo>
                    <a:pt x="58" y="133"/>
                  </a:lnTo>
                  <a:lnTo>
                    <a:pt x="56" y="139"/>
                  </a:lnTo>
                  <a:lnTo>
                    <a:pt x="47" y="144"/>
                  </a:lnTo>
                  <a:lnTo>
                    <a:pt x="35" y="148"/>
                  </a:lnTo>
                  <a:lnTo>
                    <a:pt x="35" y="257"/>
                  </a:lnTo>
                  <a:lnTo>
                    <a:pt x="31" y="25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7" name="Freeform 18"/>
            <p:cNvSpPr>
              <a:spLocks/>
            </p:cNvSpPr>
            <p:nvPr/>
          </p:nvSpPr>
          <p:spPr bwMode="gray">
            <a:xfrm>
              <a:off x="1672" y="164"/>
              <a:ext cx="111" cy="425"/>
            </a:xfrm>
            <a:custGeom>
              <a:avLst/>
              <a:gdLst/>
              <a:ahLst/>
              <a:cxnLst>
                <a:cxn ang="0">
                  <a:pos x="52" y="272"/>
                </a:cxn>
                <a:cxn ang="0">
                  <a:pos x="44" y="270"/>
                </a:cxn>
                <a:cxn ang="0">
                  <a:pos x="26" y="265"/>
                </a:cxn>
                <a:cxn ang="0">
                  <a:pos x="8" y="249"/>
                </a:cxn>
                <a:cxn ang="0">
                  <a:pos x="0" y="219"/>
                </a:cxn>
                <a:cxn ang="0">
                  <a:pos x="8" y="219"/>
                </a:cxn>
                <a:cxn ang="0">
                  <a:pos x="25" y="223"/>
                </a:cxn>
                <a:cxn ang="0">
                  <a:pos x="41" y="235"/>
                </a:cxn>
                <a:cxn ang="0">
                  <a:pos x="52" y="265"/>
                </a:cxn>
                <a:cxn ang="0">
                  <a:pos x="50" y="168"/>
                </a:cxn>
                <a:cxn ang="0">
                  <a:pos x="35" y="165"/>
                </a:cxn>
                <a:cxn ang="0">
                  <a:pos x="17" y="156"/>
                </a:cxn>
                <a:cxn ang="0">
                  <a:pos x="3" y="134"/>
                </a:cxn>
                <a:cxn ang="0">
                  <a:pos x="3" y="116"/>
                </a:cxn>
                <a:cxn ang="0">
                  <a:pos x="19" y="120"/>
                </a:cxn>
                <a:cxn ang="0">
                  <a:pos x="39" y="133"/>
                </a:cxn>
                <a:cxn ang="0">
                  <a:pos x="52" y="161"/>
                </a:cxn>
                <a:cxn ang="0">
                  <a:pos x="53" y="50"/>
                </a:cxn>
                <a:cxn ang="0">
                  <a:pos x="54" y="36"/>
                </a:cxn>
                <a:cxn ang="0">
                  <a:pos x="65" y="17"/>
                </a:cxn>
                <a:cxn ang="0">
                  <a:pos x="87" y="3"/>
                </a:cxn>
                <a:cxn ang="0">
                  <a:pos x="103" y="3"/>
                </a:cxn>
                <a:cxn ang="0">
                  <a:pos x="99" y="21"/>
                </a:cxn>
                <a:cxn ang="0">
                  <a:pos x="84" y="42"/>
                </a:cxn>
                <a:cxn ang="0">
                  <a:pos x="58" y="52"/>
                </a:cxn>
                <a:cxn ang="0">
                  <a:pos x="58" y="127"/>
                </a:cxn>
                <a:cxn ang="0">
                  <a:pos x="61" y="112"/>
                </a:cxn>
                <a:cxn ang="0">
                  <a:pos x="72" y="94"/>
                </a:cxn>
                <a:cxn ang="0">
                  <a:pos x="93" y="80"/>
                </a:cxn>
                <a:cxn ang="0">
                  <a:pos x="111" y="80"/>
                </a:cxn>
                <a:cxn ang="0">
                  <a:pos x="111" y="91"/>
                </a:cxn>
                <a:cxn ang="0">
                  <a:pos x="107" y="108"/>
                </a:cxn>
                <a:cxn ang="0">
                  <a:pos x="91" y="126"/>
                </a:cxn>
                <a:cxn ang="0">
                  <a:pos x="58" y="135"/>
                </a:cxn>
                <a:cxn ang="0">
                  <a:pos x="58" y="236"/>
                </a:cxn>
                <a:cxn ang="0">
                  <a:pos x="61" y="223"/>
                </a:cxn>
                <a:cxn ang="0">
                  <a:pos x="73" y="208"/>
                </a:cxn>
                <a:cxn ang="0">
                  <a:pos x="97" y="200"/>
                </a:cxn>
                <a:cxn ang="0">
                  <a:pos x="99" y="207"/>
                </a:cxn>
                <a:cxn ang="0">
                  <a:pos x="97" y="220"/>
                </a:cxn>
                <a:cxn ang="0">
                  <a:pos x="87" y="235"/>
                </a:cxn>
                <a:cxn ang="0">
                  <a:pos x="58" y="245"/>
                </a:cxn>
                <a:cxn ang="0">
                  <a:pos x="52" y="425"/>
                </a:cxn>
              </a:cxnLst>
              <a:rect l="0" t="0" r="r" b="b"/>
              <a:pathLst>
                <a:path w="111" h="425">
                  <a:moveTo>
                    <a:pt x="52" y="425"/>
                  </a:moveTo>
                  <a:lnTo>
                    <a:pt x="52" y="272"/>
                  </a:lnTo>
                  <a:lnTo>
                    <a:pt x="50" y="270"/>
                  </a:lnTo>
                  <a:lnTo>
                    <a:pt x="44" y="270"/>
                  </a:lnTo>
                  <a:lnTo>
                    <a:pt x="35" y="269"/>
                  </a:lnTo>
                  <a:lnTo>
                    <a:pt x="26" y="265"/>
                  </a:lnTo>
                  <a:lnTo>
                    <a:pt x="17" y="258"/>
                  </a:lnTo>
                  <a:lnTo>
                    <a:pt x="8" y="249"/>
                  </a:lnTo>
                  <a:lnTo>
                    <a:pt x="3" y="236"/>
                  </a:lnTo>
                  <a:lnTo>
                    <a:pt x="0" y="219"/>
                  </a:lnTo>
                  <a:lnTo>
                    <a:pt x="3" y="219"/>
                  </a:lnTo>
                  <a:lnTo>
                    <a:pt x="8" y="219"/>
                  </a:lnTo>
                  <a:lnTo>
                    <a:pt x="15" y="220"/>
                  </a:lnTo>
                  <a:lnTo>
                    <a:pt x="25" y="223"/>
                  </a:lnTo>
                  <a:lnTo>
                    <a:pt x="33" y="227"/>
                  </a:lnTo>
                  <a:lnTo>
                    <a:pt x="41" y="235"/>
                  </a:lnTo>
                  <a:lnTo>
                    <a:pt x="48" y="247"/>
                  </a:lnTo>
                  <a:lnTo>
                    <a:pt x="52" y="265"/>
                  </a:lnTo>
                  <a:lnTo>
                    <a:pt x="52" y="168"/>
                  </a:lnTo>
                  <a:lnTo>
                    <a:pt x="50" y="168"/>
                  </a:lnTo>
                  <a:lnTo>
                    <a:pt x="44" y="168"/>
                  </a:lnTo>
                  <a:lnTo>
                    <a:pt x="35" y="165"/>
                  </a:lnTo>
                  <a:lnTo>
                    <a:pt x="26" y="161"/>
                  </a:lnTo>
                  <a:lnTo>
                    <a:pt x="17" y="156"/>
                  </a:lnTo>
                  <a:lnTo>
                    <a:pt x="8" y="146"/>
                  </a:lnTo>
                  <a:lnTo>
                    <a:pt x="3" y="134"/>
                  </a:lnTo>
                  <a:lnTo>
                    <a:pt x="0" y="116"/>
                  </a:lnTo>
                  <a:lnTo>
                    <a:pt x="3" y="116"/>
                  </a:lnTo>
                  <a:lnTo>
                    <a:pt x="10" y="118"/>
                  </a:lnTo>
                  <a:lnTo>
                    <a:pt x="19" y="120"/>
                  </a:lnTo>
                  <a:lnTo>
                    <a:pt x="29" y="125"/>
                  </a:lnTo>
                  <a:lnTo>
                    <a:pt x="39" y="133"/>
                  </a:lnTo>
                  <a:lnTo>
                    <a:pt x="48" y="145"/>
                  </a:lnTo>
                  <a:lnTo>
                    <a:pt x="52" y="161"/>
                  </a:lnTo>
                  <a:lnTo>
                    <a:pt x="52" y="52"/>
                  </a:lnTo>
                  <a:lnTo>
                    <a:pt x="53" y="50"/>
                  </a:lnTo>
                  <a:lnTo>
                    <a:pt x="53" y="44"/>
                  </a:lnTo>
                  <a:lnTo>
                    <a:pt x="54" y="36"/>
                  </a:lnTo>
                  <a:lnTo>
                    <a:pt x="58" y="26"/>
                  </a:lnTo>
                  <a:lnTo>
                    <a:pt x="65" y="17"/>
                  </a:lnTo>
                  <a:lnTo>
                    <a:pt x="75" y="9"/>
                  </a:lnTo>
                  <a:lnTo>
                    <a:pt x="87" y="3"/>
                  </a:lnTo>
                  <a:lnTo>
                    <a:pt x="104" y="0"/>
                  </a:lnTo>
                  <a:lnTo>
                    <a:pt x="103" y="3"/>
                  </a:lnTo>
                  <a:lnTo>
                    <a:pt x="102" y="11"/>
                  </a:lnTo>
                  <a:lnTo>
                    <a:pt x="99" y="21"/>
                  </a:lnTo>
                  <a:lnTo>
                    <a:pt x="92" y="32"/>
                  </a:lnTo>
                  <a:lnTo>
                    <a:pt x="84" y="42"/>
                  </a:lnTo>
                  <a:lnTo>
                    <a:pt x="73" y="49"/>
                  </a:lnTo>
                  <a:lnTo>
                    <a:pt x="58" y="52"/>
                  </a:lnTo>
                  <a:lnTo>
                    <a:pt x="58" y="130"/>
                  </a:lnTo>
                  <a:lnTo>
                    <a:pt x="58" y="127"/>
                  </a:lnTo>
                  <a:lnTo>
                    <a:pt x="60" y="122"/>
                  </a:lnTo>
                  <a:lnTo>
                    <a:pt x="61" y="112"/>
                  </a:lnTo>
                  <a:lnTo>
                    <a:pt x="65" y="103"/>
                  </a:lnTo>
                  <a:lnTo>
                    <a:pt x="72" y="94"/>
                  </a:lnTo>
                  <a:lnTo>
                    <a:pt x="80" y="85"/>
                  </a:lnTo>
                  <a:lnTo>
                    <a:pt x="93" y="80"/>
                  </a:lnTo>
                  <a:lnTo>
                    <a:pt x="110" y="77"/>
                  </a:lnTo>
                  <a:lnTo>
                    <a:pt x="111" y="80"/>
                  </a:lnTo>
                  <a:lnTo>
                    <a:pt x="111" y="84"/>
                  </a:lnTo>
                  <a:lnTo>
                    <a:pt x="111" y="91"/>
                  </a:lnTo>
                  <a:lnTo>
                    <a:pt x="110" y="100"/>
                  </a:lnTo>
                  <a:lnTo>
                    <a:pt x="107" y="108"/>
                  </a:lnTo>
                  <a:lnTo>
                    <a:pt x="100" y="118"/>
                  </a:lnTo>
                  <a:lnTo>
                    <a:pt x="91" y="126"/>
                  </a:lnTo>
                  <a:lnTo>
                    <a:pt x="77" y="133"/>
                  </a:lnTo>
                  <a:lnTo>
                    <a:pt x="58" y="135"/>
                  </a:lnTo>
                  <a:lnTo>
                    <a:pt x="58" y="239"/>
                  </a:lnTo>
                  <a:lnTo>
                    <a:pt x="58" y="236"/>
                  </a:lnTo>
                  <a:lnTo>
                    <a:pt x="60" y="231"/>
                  </a:lnTo>
                  <a:lnTo>
                    <a:pt x="61" y="223"/>
                  </a:lnTo>
                  <a:lnTo>
                    <a:pt x="66" y="215"/>
                  </a:lnTo>
                  <a:lnTo>
                    <a:pt x="73" y="208"/>
                  </a:lnTo>
                  <a:lnTo>
                    <a:pt x="83" y="203"/>
                  </a:lnTo>
                  <a:lnTo>
                    <a:pt x="97" y="200"/>
                  </a:lnTo>
                  <a:lnTo>
                    <a:pt x="97" y="201"/>
                  </a:lnTo>
                  <a:lnTo>
                    <a:pt x="99" y="207"/>
                  </a:lnTo>
                  <a:lnTo>
                    <a:pt x="99" y="212"/>
                  </a:lnTo>
                  <a:lnTo>
                    <a:pt x="97" y="220"/>
                  </a:lnTo>
                  <a:lnTo>
                    <a:pt x="93" y="228"/>
                  </a:lnTo>
                  <a:lnTo>
                    <a:pt x="87" y="235"/>
                  </a:lnTo>
                  <a:lnTo>
                    <a:pt x="75" y="242"/>
                  </a:lnTo>
                  <a:lnTo>
                    <a:pt x="58" y="245"/>
                  </a:lnTo>
                  <a:lnTo>
                    <a:pt x="58" y="425"/>
                  </a:lnTo>
                  <a:lnTo>
                    <a:pt x="52" y="425"/>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8" name="Freeform 19"/>
            <p:cNvSpPr>
              <a:spLocks/>
            </p:cNvSpPr>
            <p:nvPr/>
          </p:nvSpPr>
          <p:spPr bwMode="gray">
            <a:xfrm>
              <a:off x="2065" y="361"/>
              <a:ext cx="100" cy="228"/>
            </a:xfrm>
            <a:custGeom>
              <a:avLst/>
              <a:gdLst/>
              <a:ahLst/>
              <a:cxnLst>
                <a:cxn ang="0">
                  <a:pos x="52" y="176"/>
                </a:cxn>
                <a:cxn ang="0">
                  <a:pos x="59" y="176"/>
                </a:cxn>
                <a:cxn ang="0">
                  <a:pos x="74" y="169"/>
                </a:cxn>
                <a:cxn ang="0">
                  <a:pos x="86" y="154"/>
                </a:cxn>
                <a:cxn ang="0">
                  <a:pos x="86" y="141"/>
                </a:cxn>
                <a:cxn ang="0">
                  <a:pos x="74" y="143"/>
                </a:cxn>
                <a:cxn ang="0">
                  <a:pos x="58" y="158"/>
                </a:cxn>
                <a:cxn ang="0">
                  <a:pos x="52" y="118"/>
                </a:cxn>
                <a:cxn ang="0">
                  <a:pos x="61" y="116"/>
                </a:cxn>
                <a:cxn ang="0">
                  <a:pos x="78" y="110"/>
                </a:cxn>
                <a:cxn ang="0">
                  <a:pos x="92" y="92"/>
                </a:cxn>
                <a:cxn ang="0">
                  <a:pos x="92" y="77"/>
                </a:cxn>
                <a:cxn ang="0">
                  <a:pos x="81" y="79"/>
                </a:cxn>
                <a:cxn ang="0">
                  <a:pos x="65" y="88"/>
                </a:cxn>
                <a:cxn ang="0">
                  <a:pos x="52" y="115"/>
                </a:cxn>
                <a:cxn ang="0">
                  <a:pos x="55" y="48"/>
                </a:cxn>
                <a:cxn ang="0">
                  <a:pos x="67" y="45"/>
                </a:cxn>
                <a:cxn ang="0">
                  <a:pos x="85" y="37"/>
                </a:cxn>
                <a:cxn ang="0">
                  <a:pos x="97" y="17"/>
                </a:cxn>
                <a:cxn ang="0">
                  <a:pos x="97" y="0"/>
                </a:cxn>
                <a:cxn ang="0">
                  <a:pos x="83" y="3"/>
                </a:cxn>
                <a:cxn ang="0">
                  <a:pos x="65" y="14"/>
                </a:cxn>
                <a:cxn ang="0">
                  <a:pos x="50" y="45"/>
                </a:cxn>
                <a:cxn ang="0">
                  <a:pos x="47" y="35"/>
                </a:cxn>
                <a:cxn ang="0">
                  <a:pos x="38" y="18"/>
                </a:cxn>
                <a:cxn ang="0">
                  <a:pos x="16" y="3"/>
                </a:cxn>
                <a:cxn ang="0">
                  <a:pos x="1" y="3"/>
                </a:cxn>
                <a:cxn ang="0">
                  <a:pos x="5" y="19"/>
                </a:cxn>
                <a:cxn ang="0">
                  <a:pos x="19" y="38"/>
                </a:cxn>
                <a:cxn ang="0">
                  <a:pos x="47" y="48"/>
                </a:cxn>
                <a:cxn ang="0">
                  <a:pos x="47" y="132"/>
                </a:cxn>
                <a:cxn ang="0">
                  <a:pos x="42" y="118"/>
                </a:cxn>
                <a:cxn ang="0">
                  <a:pos x="25" y="103"/>
                </a:cxn>
                <a:cxn ang="0">
                  <a:pos x="12" y="103"/>
                </a:cxn>
                <a:cxn ang="0">
                  <a:pos x="16" y="116"/>
                </a:cxn>
                <a:cxn ang="0">
                  <a:pos x="25" y="132"/>
                </a:cxn>
                <a:cxn ang="0">
                  <a:pos x="47" y="141"/>
                </a:cxn>
                <a:cxn ang="0">
                  <a:pos x="52" y="228"/>
                </a:cxn>
              </a:cxnLst>
              <a:rect l="0" t="0" r="r" b="b"/>
              <a:pathLst>
                <a:path w="100" h="228">
                  <a:moveTo>
                    <a:pt x="52" y="228"/>
                  </a:moveTo>
                  <a:lnTo>
                    <a:pt x="52" y="176"/>
                  </a:lnTo>
                  <a:lnTo>
                    <a:pt x="55" y="176"/>
                  </a:lnTo>
                  <a:lnTo>
                    <a:pt x="59" y="176"/>
                  </a:lnTo>
                  <a:lnTo>
                    <a:pt x="67" y="173"/>
                  </a:lnTo>
                  <a:lnTo>
                    <a:pt x="74" y="169"/>
                  </a:lnTo>
                  <a:lnTo>
                    <a:pt x="81" y="163"/>
                  </a:lnTo>
                  <a:lnTo>
                    <a:pt x="86" y="154"/>
                  </a:lnTo>
                  <a:lnTo>
                    <a:pt x="88" y="141"/>
                  </a:lnTo>
                  <a:lnTo>
                    <a:pt x="86" y="141"/>
                  </a:lnTo>
                  <a:lnTo>
                    <a:pt x="81" y="142"/>
                  </a:lnTo>
                  <a:lnTo>
                    <a:pt x="74" y="143"/>
                  </a:lnTo>
                  <a:lnTo>
                    <a:pt x="66" y="149"/>
                  </a:lnTo>
                  <a:lnTo>
                    <a:pt x="58" y="158"/>
                  </a:lnTo>
                  <a:lnTo>
                    <a:pt x="52" y="173"/>
                  </a:lnTo>
                  <a:lnTo>
                    <a:pt x="52" y="118"/>
                  </a:lnTo>
                  <a:lnTo>
                    <a:pt x="55" y="118"/>
                  </a:lnTo>
                  <a:lnTo>
                    <a:pt x="61" y="116"/>
                  </a:lnTo>
                  <a:lnTo>
                    <a:pt x="69" y="115"/>
                  </a:lnTo>
                  <a:lnTo>
                    <a:pt x="78" y="110"/>
                  </a:lnTo>
                  <a:lnTo>
                    <a:pt x="86" y="103"/>
                  </a:lnTo>
                  <a:lnTo>
                    <a:pt x="92" y="92"/>
                  </a:lnTo>
                  <a:lnTo>
                    <a:pt x="94" y="77"/>
                  </a:lnTo>
                  <a:lnTo>
                    <a:pt x="92" y="77"/>
                  </a:lnTo>
                  <a:lnTo>
                    <a:pt x="88" y="77"/>
                  </a:lnTo>
                  <a:lnTo>
                    <a:pt x="81" y="79"/>
                  </a:lnTo>
                  <a:lnTo>
                    <a:pt x="73" y="81"/>
                  </a:lnTo>
                  <a:lnTo>
                    <a:pt x="65" y="88"/>
                  </a:lnTo>
                  <a:lnTo>
                    <a:pt x="58" y="99"/>
                  </a:lnTo>
                  <a:lnTo>
                    <a:pt x="52" y="115"/>
                  </a:lnTo>
                  <a:lnTo>
                    <a:pt x="52" y="48"/>
                  </a:lnTo>
                  <a:lnTo>
                    <a:pt x="55" y="48"/>
                  </a:lnTo>
                  <a:lnTo>
                    <a:pt x="61" y="48"/>
                  </a:lnTo>
                  <a:lnTo>
                    <a:pt x="67" y="45"/>
                  </a:lnTo>
                  <a:lnTo>
                    <a:pt x="77" y="42"/>
                  </a:lnTo>
                  <a:lnTo>
                    <a:pt x="85" y="37"/>
                  </a:lnTo>
                  <a:lnTo>
                    <a:pt x="92" y="27"/>
                  </a:lnTo>
                  <a:lnTo>
                    <a:pt x="97" y="17"/>
                  </a:lnTo>
                  <a:lnTo>
                    <a:pt x="100" y="0"/>
                  </a:lnTo>
                  <a:lnTo>
                    <a:pt x="97" y="0"/>
                  </a:lnTo>
                  <a:lnTo>
                    <a:pt x="92" y="0"/>
                  </a:lnTo>
                  <a:lnTo>
                    <a:pt x="83" y="3"/>
                  </a:lnTo>
                  <a:lnTo>
                    <a:pt x="74" y="7"/>
                  </a:lnTo>
                  <a:lnTo>
                    <a:pt x="65" y="14"/>
                  </a:lnTo>
                  <a:lnTo>
                    <a:pt x="56" y="27"/>
                  </a:lnTo>
                  <a:lnTo>
                    <a:pt x="50" y="45"/>
                  </a:lnTo>
                  <a:lnTo>
                    <a:pt x="50" y="42"/>
                  </a:lnTo>
                  <a:lnTo>
                    <a:pt x="47" y="35"/>
                  </a:lnTo>
                  <a:lnTo>
                    <a:pt x="43" y="27"/>
                  </a:lnTo>
                  <a:lnTo>
                    <a:pt x="38" y="18"/>
                  </a:lnTo>
                  <a:lnTo>
                    <a:pt x="28" y="10"/>
                  </a:lnTo>
                  <a:lnTo>
                    <a:pt x="16" y="3"/>
                  </a:lnTo>
                  <a:lnTo>
                    <a:pt x="0" y="0"/>
                  </a:lnTo>
                  <a:lnTo>
                    <a:pt x="1" y="3"/>
                  </a:lnTo>
                  <a:lnTo>
                    <a:pt x="3" y="10"/>
                  </a:lnTo>
                  <a:lnTo>
                    <a:pt x="5" y="19"/>
                  </a:lnTo>
                  <a:lnTo>
                    <a:pt x="11" y="29"/>
                  </a:lnTo>
                  <a:lnTo>
                    <a:pt x="19" y="38"/>
                  </a:lnTo>
                  <a:lnTo>
                    <a:pt x="31" y="45"/>
                  </a:lnTo>
                  <a:lnTo>
                    <a:pt x="47" y="48"/>
                  </a:lnTo>
                  <a:lnTo>
                    <a:pt x="47" y="135"/>
                  </a:lnTo>
                  <a:lnTo>
                    <a:pt x="47" y="132"/>
                  </a:lnTo>
                  <a:lnTo>
                    <a:pt x="46" y="126"/>
                  </a:lnTo>
                  <a:lnTo>
                    <a:pt x="42" y="118"/>
                  </a:lnTo>
                  <a:lnTo>
                    <a:pt x="35" y="110"/>
                  </a:lnTo>
                  <a:lnTo>
                    <a:pt x="25" y="103"/>
                  </a:lnTo>
                  <a:lnTo>
                    <a:pt x="12" y="100"/>
                  </a:lnTo>
                  <a:lnTo>
                    <a:pt x="12" y="103"/>
                  </a:lnTo>
                  <a:lnTo>
                    <a:pt x="13" y="108"/>
                  </a:lnTo>
                  <a:lnTo>
                    <a:pt x="16" y="116"/>
                  </a:lnTo>
                  <a:lnTo>
                    <a:pt x="20" y="124"/>
                  </a:lnTo>
                  <a:lnTo>
                    <a:pt x="25" y="132"/>
                  </a:lnTo>
                  <a:lnTo>
                    <a:pt x="35" y="139"/>
                  </a:lnTo>
                  <a:lnTo>
                    <a:pt x="47" y="141"/>
                  </a:lnTo>
                  <a:lnTo>
                    <a:pt x="47" y="228"/>
                  </a:lnTo>
                  <a:lnTo>
                    <a:pt x="52"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9" name="Freeform 20"/>
            <p:cNvSpPr>
              <a:spLocks/>
            </p:cNvSpPr>
            <p:nvPr/>
          </p:nvSpPr>
          <p:spPr bwMode="gray">
            <a:xfrm>
              <a:off x="2921" y="361"/>
              <a:ext cx="100" cy="228"/>
            </a:xfrm>
            <a:custGeom>
              <a:avLst/>
              <a:gdLst/>
              <a:ahLst/>
              <a:cxnLst>
                <a:cxn ang="0">
                  <a:pos x="53" y="176"/>
                </a:cxn>
                <a:cxn ang="0">
                  <a:pos x="60" y="176"/>
                </a:cxn>
                <a:cxn ang="0">
                  <a:pos x="74" y="169"/>
                </a:cxn>
                <a:cxn ang="0">
                  <a:pos x="87" y="154"/>
                </a:cxn>
                <a:cxn ang="0">
                  <a:pos x="87" y="141"/>
                </a:cxn>
                <a:cxn ang="0">
                  <a:pos x="74" y="143"/>
                </a:cxn>
                <a:cxn ang="0">
                  <a:pos x="60" y="158"/>
                </a:cxn>
                <a:cxn ang="0">
                  <a:pos x="53" y="118"/>
                </a:cxn>
                <a:cxn ang="0">
                  <a:pos x="61" y="116"/>
                </a:cxn>
                <a:cxn ang="0">
                  <a:pos x="78" y="110"/>
                </a:cxn>
                <a:cxn ang="0">
                  <a:pos x="92" y="92"/>
                </a:cxn>
                <a:cxn ang="0">
                  <a:pos x="92" y="77"/>
                </a:cxn>
                <a:cxn ang="0">
                  <a:pos x="81" y="79"/>
                </a:cxn>
                <a:cxn ang="0">
                  <a:pos x="65" y="88"/>
                </a:cxn>
                <a:cxn ang="0">
                  <a:pos x="53" y="115"/>
                </a:cxn>
                <a:cxn ang="0">
                  <a:pos x="56" y="48"/>
                </a:cxn>
                <a:cxn ang="0">
                  <a:pos x="68" y="45"/>
                </a:cxn>
                <a:cxn ang="0">
                  <a:pos x="85" y="37"/>
                </a:cxn>
                <a:cxn ang="0">
                  <a:pos x="97" y="17"/>
                </a:cxn>
                <a:cxn ang="0">
                  <a:pos x="97" y="0"/>
                </a:cxn>
                <a:cxn ang="0">
                  <a:pos x="84" y="3"/>
                </a:cxn>
                <a:cxn ang="0">
                  <a:pos x="65" y="14"/>
                </a:cxn>
                <a:cxn ang="0">
                  <a:pos x="50" y="45"/>
                </a:cxn>
                <a:cxn ang="0">
                  <a:pos x="47" y="35"/>
                </a:cxn>
                <a:cxn ang="0">
                  <a:pos x="38" y="18"/>
                </a:cxn>
                <a:cxn ang="0">
                  <a:pos x="16" y="3"/>
                </a:cxn>
                <a:cxn ang="0">
                  <a:pos x="2" y="3"/>
                </a:cxn>
                <a:cxn ang="0">
                  <a:pos x="6" y="19"/>
                </a:cxn>
                <a:cxn ang="0">
                  <a:pos x="19" y="38"/>
                </a:cxn>
                <a:cxn ang="0">
                  <a:pos x="47" y="48"/>
                </a:cxn>
                <a:cxn ang="0">
                  <a:pos x="47" y="132"/>
                </a:cxn>
                <a:cxn ang="0">
                  <a:pos x="42" y="118"/>
                </a:cxn>
                <a:cxn ang="0">
                  <a:pos x="26" y="103"/>
                </a:cxn>
                <a:cxn ang="0">
                  <a:pos x="12" y="103"/>
                </a:cxn>
                <a:cxn ang="0">
                  <a:pos x="16" y="116"/>
                </a:cxn>
                <a:cxn ang="0">
                  <a:pos x="26" y="132"/>
                </a:cxn>
                <a:cxn ang="0">
                  <a:pos x="47" y="141"/>
                </a:cxn>
                <a:cxn ang="0">
                  <a:pos x="53" y="228"/>
                </a:cxn>
              </a:cxnLst>
              <a:rect l="0" t="0" r="r" b="b"/>
              <a:pathLst>
                <a:path w="100" h="228">
                  <a:moveTo>
                    <a:pt x="53" y="228"/>
                  </a:moveTo>
                  <a:lnTo>
                    <a:pt x="53" y="176"/>
                  </a:lnTo>
                  <a:lnTo>
                    <a:pt x="56" y="176"/>
                  </a:lnTo>
                  <a:lnTo>
                    <a:pt x="60" y="176"/>
                  </a:lnTo>
                  <a:lnTo>
                    <a:pt x="68" y="173"/>
                  </a:lnTo>
                  <a:lnTo>
                    <a:pt x="74" y="169"/>
                  </a:lnTo>
                  <a:lnTo>
                    <a:pt x="81" y="163"/>
                  </a:lnTo>
                  <a:lnTo>
                    <a:pt x="87" y="154"/>
                  </a:lnTo>
                  <a:lnTo>
                    <a:pt x="88" y="141"/>
                  </a:lnTo>
                  <a:lnTo>
                    <a:pt x="87" y="141"/>
                  </a:lnTo>
                  <a:lnTo>
                    <a:pt x="81" y="142"/>
                  </a:lnTo>
                  <a:lnTo>
                    <a:pt x="74" y="143"/>
                  </a:lnTo>
                  <a:lnTo>
                    <a:pt x="66" y="149"/>
                  </a:lnTo>
                  <a:lnTo>
                    <a:pt x="60" y="158"/>
                  </a:lnTo>
                  <a:lnTo>
                    <a:pt x="53" y="173"/>
                  </a:lnTo>
                  <a:lnTo>
                    <a:pt x="53" y="118"/>
                  </a:lnTo>
                  <a:lnTo>
                    <a:pt x="56" y="118"/>
                  </a:lnTo>
                  <a:lnTo>
                    <a:pt x="61" y="116"/>
                  </a:lnTo>
                  <a:lnTo>
                    <a:pt x="69" y="115"/>
                  </a:lnTo>
                  <a:lnTo>
                    <a:pt x="78" y="110"/>
                  </a:lnTo>
                  <a:lnTo>
                    <a:pt x="87" y="103"/>
                  </a:lnTo>
                  <a:lnTo>
                    <a:pt x="92" y="92"/>
                  </a:lnTo>
                  <a:lnTo>
                    <a:pt x="95" y="77"/>
                  </a:lnTo>
                  <a:lnTo>
                    <a:pt x="92" y="77"/>
                  </a:lnTo>
                  <a:lnTo>
                    <a:pt x="88" y="77"/>
                  </a:lnTo>
                  <a:lnTo>
                    <a:pt x="81" y="79"/>
                  </a:lnTo>
                  <a:lnTo>
                    <a:pt x="73" y="81"/>
                  </a:lnTo>
                  <a:lnTo>
                    <a:pt x="65" y="88"/>
                  </a:lnTo>
                  <a:lnTo>
                    <a:pt x="58" y="99"/>
                  </a:lnTo>
                  <a:lnTo>
                    <a:pt x="53" y="115"/>
                  </a:lnTo>
                  <a:lnTo>
                    <a:pt x="53" y="48"/>
                  </a:lnTo>
                  <a:lnTo>
                    <a:pt x="56" y="48"/>
                  </a:lnTo>
                  <a:lnTo>
                    <a:pt x="61" y="48"/>
                  </a:lnTo>
                  <a:lnTo>
                    <a:pt x="68" y="45"/>
                  </a:lnTo>
                  <a:lnTo>
                    <a:pt x="77" y="42"/>
                  </a:lnTo>
                  <a:lnTo>
                    <a:pt x="85" y="37"/>
                  </a:lnTo>
                  <a:lnTo>
                    <a:pt x="93" y="27"/>
                  </a:lnTo>
                  <a:lnTo>
                    <a:pt x="97" y="17"/>
                  </a:lnTo>
                  <a:lnTo>
                    <a:pt x="100" y="0"/>
                  </a:lnTo>
                  <a:lnTo>
                    <a:pt x="97" y="0"/>
                  </a:lnTo>
                  <a:lnTo>
                    <a:pt x="92" y="0"/>
                  </a:lnTo>
                  <a:lnTo>
                    <a:pt x="84" y="3"/>
                  </a:lnTo>
                  <a:lnTo>
                    <a:pt x="74" y="7"/>
                  </a:lnTo>
                  <a:lnTo>
                    <a:pt x="65" y="14"/>
                  </a:lnTo>
                  <a:lnTo>
                    <a:pt x="57" y="27"/>
                  </a:lnTo>
                  <a:lnTo>
                    <a:pt x="50" y="45"/>
                  </a:lnTo>
                  <a:lnTo>
                    <a:pt x="50" y="42"/>
                  </a:lnTo>
                  <a:lnTo>
                    <a:pt x="47" y="35"/>
                  </a:lnTo>
                  <a:lnTo>
                    <a:pt x="43" y="27"/>
                  </a:lnTo>
                  <a:lnTo>
                    <a:pt x="38" y="18"/>
                  </a:lnTo>
                  <a:lnTo>
                    <a:pt x="29" y="10"/>
                  </a:lnTo>
                  <a:lnTo>
                    <a:pt x="16" y="3"/>
                  </a:lnTo>
                  <a:lnTo>
                    <a:pt x="0" y="0"/>
                  </a:lnTo>
                  <a:lnTo>
                    <a:pt x="2" y="3"/>
                  </a:lnTo>
                  <a:lnTo>
                    <a:pt x="3" y="10"/>
                  </a:lnTo>
                  <a:lnTo>
                    <a:pt x="6" y="19"/>
                  </a:lnTo>
                  <a:lnTo>
                    <a:pt x="11" y="29"/>
                  </a:lnTo>
                  <a:lnTo>
                    <a:pt x="19" y="38"/>
                  </a:lnTo>
                  <a:lnTo>
                    <a:pt x="31" y="45"/>
                  </a:lnTo>
                  <a:lnTo>
                    <a:pt x="47" y="48"/>
                  </a:lnTo>
                  <a:lnTo>
                    <a:pt x="47" y="135"/>
                  </a:lnTo>
                  <a:lnTo>
                    <a:pt x="47" y="132"/>
                  </a:lnTo>
                  <a:lnTo>
                    <a:pt x="46" y="126"/>
                  </a:lnTo>
                  <a:lnTo>
                    <a:pt x="42" y="118"/>
                  </a:lnTo>
                  <a:lnTo>
                    <a:pt x="35" y="110"/>
                  </a:lnTo>
                  <a:lnTo>
                    <a:pt x="26" y="103"/>
                  </a:lnTo>
                  <a:lnTo>
                    <a:pt x="12" y="100"/>
                  </a:lnTo>
                  <a:lnTo>
                    <a:pt x="12" y="103"/>
                  </a:lnTo>
                  <a:lnTo>
                    <a:pt x="14" y="108"/>
                  </a:lnTo>
                  <a:lnTo>
                    <a:pt x="16" y="116"/>
                  </a:lnTo>
                  <a:lnTo>
                    <a:pt x="20" y="124"/>
                  </a:lnTo>
                  <a:lnTo>
                    <a:pt x="26" y="132"/>
                  </a:lnTo>
                  <a:lnTo>
                    <a:pt x="35" y="139"/>
                  </a:lnTo>
                  <a:lnTo>
                    <a:pt x="47" y="141"/>
                  </a:lnTo>
                  <a:lnTo>
                    <a:pt x="47" y="228"/>
                  </a:lnTo>
                  <a:lnTo>
                    <a:pt x="53"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0" name="Freeform 21"/>
            <p:cNvSpPr>
              <a:spLocks/>
            </p:cNvSpPr>
            <p:nvPr/>
          </p:nvSpPr>
          <p:spPr bwMode="gray">
            <a:xfrm>
              <a:off x="2273" y="187"/>
              <a:ext cx="175" cy="402"/>
            </a:xfrm>
            <a:custGeom>
              <a:avLst/>
              <a:gdLst/>
              <a:ahLst/>
              <a:cxnLst>
                <a:cxn ang="0">
                  <a:pos x="93" y="309"/>
                </a:cxn>
                <a:cxn ang="0">
                  <a:pos x="101" y="309"/>
                </a:cxn>
                <a:cxn ang="0">
                  <a:pos x="118" y="304"/>
                </a:cxn>
                <a:cxn ang="0">
                  <a:pos x="138" y="292"/>
                </a:cxn>
                <a:cxn ang="0">
                  <a:pos x="152" y="266"/>
                </a:cxn>
                <a:cxn ang="0">
                  <a:pos x="152" y="247"/>
                </a:cxn>
                <a:cxn ang="0">
                  <a:pos x="138" y="250"/>
                </a:cxn>
                <a:cxn ang="0">
                  <a:pos x="120" y="259"/>
                </a:cxn>
                <a:cxn ang="0">
                  <a:pos x="99" y="285"/>
                </a:cxn>
                <a:cxn ang="0">
                  <a:pos x="93" y="207"/>
                </a:cxn>
                <a:cxn ang="0">
                  <a:pos x="102" y="205"/>
                </a:cxn>
                <a:cxn ang="0">
                  <a:pos x="122" y="200"/>
                </a:cxn>
                <a:cxn ang="0">
                  <a:pos x="147" y="185"/>
                </a:cxn>
                <a:cxn ang="0">
                  <a:pos x="163" y="155"/>
                </a:cxn>
                <a:cxn ang="0">
                  <a:pos x="163" y="134"/>
                </a:cxn>
                <a:cxn ang="0">
                  <a:pos x="149" y="135"/>
                </a:cxn>
                <a:cxn ang="0">
                  <a:pos x="129" y="142"/>
                </a:cxn>
                <a:cxn ang="0">
                  <a:pos x="107" y="162"/>
                </a:cxn>
                <a:cxn ang="0">
                  <a:pos x="93" y="201"/>
                </a:cxn>
                <a:cxn ang="0">
                  <a:pos x="95" y="83"/>
                </a:cxn>
                <a:cxn ang="0">
                  <a:pos x="110" y="81"/>
                </a:cxn>
                <a:cxn ang="0">
                  <a:pos x="134" y="73"/>
                </a:cxn>
                <a:cxn ang="0">
                  <a:pos x="157" y="54"/>
                </a:cxn>
                <a:cxn ang="0">
                  <a:pos x="174" y="23"/>
                </a:cxn>
                <a:cxn ang="0">
                  <a:pos x="174" y="0"/>
                </a:cxn>
                <a:cxn ang="0">
                  <a:pos x="157" y="2"/>
                </a:cxn>
                <a:cxn ang="0">
                  <a:pos x="133" y="10"/>
                </a:cxn>
                <a:cxn ang="0">
                  <a:pos x="107" y="33"/>
                </a:cxn>
                <a:cxn ang="0">
                  <a:pos x="87" y="77"/>
                </a:cxn>
                <a:cxn ang="0">
                  <a:pos x="85" y="68"/>
                </a:cxn>
                <a:cxn ang="0">
                  <a:pos x="75" y="46"/>
                </a:cxn>
                <a:cxn ang="0">
                  <a:pos x="55" y="21"/>
                </a:cxn>
                <a:cxn ang="0">
                  <a:pos x="22" y="3"/>
                </a:cxn>
                <a:cxn ang="0">
                  <a:pos x="1" y="3"/>
                </a:cxn>
                <a:cxn ang="0">
                  <a:pos x="4" y="18"/>
                </a:cxn>
                <a:cxn ang="0">
                  <a:pos x="12" y="42"/>
                </a:cxn>
                <a:cxn ang="0">
                  <a:pos x="31" y="65"/>
                </a:cxn>
                <a:cxn ang="0">
                  <a:pos x="62" y="81"/>
                </a:cxn>
                <a:cxn ang="0">
                  <a:pos x="82" y="238"/>
                </a:cxn>
                <a:cxn ang="0">
                  <a:pos x="80" y="228"/>
                </a:cxn>
                <a:cxn ang="0">
                  <a:pos x="72" y="207"/>
                </a:cxn>
                <a:cxn ang="0">
                  <a:pos x="55" y="185"/>
                </a:cxn>
                <a:cxn ang="0">
                  <a:pos x="21" y="176"/>
                </a:cxn>
                <a:cxn ang="0">
                  <a:pos x="22" y="185"/>
                </a:cxn>
                <a:cxn ang="0">
                  <a:pos x="28" y="205"/>
                </a:cxn>
                <a:cxn ang="0">
                  <a:pos x="41" y="230"/>
                </a:cxn>
                <a:cxn ang="0">
                  <a:pos x="66" y="246"/>
                </a:cxn>
                <a:cxn ang="0">
                  <a:pos x="82" y="402"/>
                </a:cxn>
              </a:cxnLst>
              <a:rect l="0" t="0" r="r" b="b"/>
              <a:pathLst>
                <a:path w="175" h="402">
                  <a:moveTo>
                    <a:pt x="93" y="402"/>
                  </a:moveTo>
                  <a:lnTo>
                    <a:pt x="93" y="309"/>
                  </a:lnTo>
                  <a:lnTo>
                    <a:pt x="95" y="309"/>
                  </a:lnTo>
                  <a:lnTo>
                    <a:pt x="101" y="309"/>
                  </a:lnTo>
                  <a:lnTo>
                    <a:pt x="109" y="308"/>
                  </a:lnTo>
                  <a:lnTo>
                    <a:pt x="118" y="304"/>
                  </a:lnTo>
                  <a:lnTo>
                    <a:pt x="129" y="298"/>
                  </a:lnTo>
                  <a:lnTo>
                    <a:pt x="138" y="292"/>
                  </a:lnTo>
                  <a:lnTo>
                    <a:pt x="147" y="281"/>
                  </a:lnTo>
                  <a:lnTo>
                    <a:pt x="152" y="266"/>
                  </a:lnTo>
                  <a:lnTo>
                    <a:pt x="155" y="247"/>
                  </a:lnTo>
                  <a:lnTo>
                    <a:pt x="152" y="247"/>
                  </a:lnTo>
                  <a:lnTo>
                    <a:pt x="147" y="249"/>
                  </a:lnTo>
                  <a:lnTo>
                    <a:pt x="138" y="250"/>
                  </a:lnTo>
                  <a:lnTo>
                    <a:pt x="129" y="253"/>
                  </a:lnTo>
                  <a:lnTo>
                    <a:pt x="120" y="259"/>
                  </a:lnTo>
                  <a:lnTo>
                    <a:pt x="109" y="270"/>
                  </a:lnTo>
                  <a:lnTo>
                    <a:pt x="99" y="285"/>
                  </a:lnTo>
                  <a:lnTo>
                    <a:pt x="93" y="304"/>
                  </a:lnTo>
                  <a:lnTo>
                    <a:pt x="93" y="207"/>
                  </a:lnTo>
                  <a:lnTo>
                    <a:pt x="95" y="207"/>
                  </a:lnTo>
                  <a:lnTo>
                    <a:pt x="102" y="205"/>
                  </a:lnTo>
                  <a:lnTo>
                    <a:pt x="111" y="204"/>
                  </a:lnTo>
                  <a:lnTo>
                    <a:pt x="122" y="200"/>
                  </a:lnTo>
                  <a:lnTo>
                    <a:pt x="134" y="195"/>
                  </a:lnTo>
                  <a:lnTo>
                    <a:pt x="147" y="185"/>
                  </a:lnTo>
                  <a:lnTo>
                    <a:pt x="156" y="173"/>
                  </a:lnTo>
                  <a:lnTo>
                    <a:pt x="163" y="155"/>
                  </a:lnTo>
                  <a:lnTo>
                    <a:pt x="165" y="134"/>
                  </a:lnTo>
                  <a:lnTo>
                    <a:pt x="163" y="134"/>
                  </a:lnTo>
                  <a:lnTo>
                    <a:pt x="157" y="134"/>
                  </a:lnTo>
                  <a:lnTo>
                    <a:pt x="149" y="135"/>
                  </a:lnTo>
                  <a:lnTo>
                    <a:pt x="140" y="137"/>
                  </a:lnTo>
                  <a:lnTo>
                    <a:pt x="129" y="142"/>
                  </a:lnTo>
                  <a:lnTo>
                    <a:pt x="118" y="150"/>
                  </a:lnTo>
                  <a:lnTo>
                    <a:pt x="107" y="162"/>
                  </a:lnTo>
                  <a:lnTo>
                    <a:pt x="99" y="178"/>
                  </a:lnTo>
                  <a:lnTo>
                    <a:pt x="93" y="201"/>
                  </a:lnTo>
                  <a:lnTo>
                    <a:pt x="93" y="83"/>
                  </a:lnTo>
                  <a:lnTo>
                    <a:pt x="95" y="83"/>
                  </a:lnTo>
                  <a:lnTo>
                    <a:pt x="101" y="83"/>
                  </a:lnTo>
                  <a:lnTo>
                    <a:pt x="110" y="81"/>
                  </a:lnTo>
                  <a:lnTo>
                    <a:pt x="122" y="77"/>
                  </a:lnTo>
                  <a:lnTo>
                    <a:pt x="134" y="73"/>
                  </a:lnTo>
                  <a:lnTo>
                    <a:pt x="147" y="65"/>
                  </a:lnTo>
                  <a:lnTo>
                    <a:pt x="157" y="54"/>
                  </a:lnTo>
                  <a:lnTo>
                    <a:pt x="167" y="41"/>
                  </a:lnTo>
                  <a:lnTo>
                    <a:pt x="174" y="23"/>
                  </a:lnTo>
                  <a:lnTo>
                    <a:pt x="175" y="0"/>
                  </a:lnTo>
                  <a:lnTo>
                    <a:pt x="174" y="0"/>
                  </a:lnTo>
                  <a:lnTo>
                    <a:pt x="167" y="0"/>
                  </a:lnTo>
                  <a:lnTo>
                    <a:pt x="157" y="2"/>
                  </a:lnTo>
                  <a:lnTo>
                    <a:pt x="145" y="4"/>
                  </a:lnTo>
                  <a:lnTo>
                    <a:pt x="133" y="10"/>
                  </a:lnTo>
                  <a:lnTo>
                    <a:pt x="120" y="19"/>
                  </a:lnTo>
                  <a:lnTo>
                    <a:pt x="107" y="33"/>
                  </a:lnTo>
                  <a:lnTo>
                    <a:pt x="97" y="52"/>
                  </a:lnTo>
                  <a:lnTo>
                    <a:pt x="87" y="77"/>
                  </a:lnTo>
                  <a:lnTo>
                    <a:pt x="87" y="75"/>
                  </a:lnTo>
                  <a:lnTo>
                    <a:pt x="85" y="68"/>
                  </a:lnTo>
                  <a:lnTo>
                    <a:pt x="80" y="58"/>
                  </a:lnTo>
                  <a:lnTo>
                    <a:pt x="75" y="46"/>
                  </a:lnTo>
                  <a:lnTo>
                    <a:pt x="66" y="33"/>
                  </a:lnTo>
                  <a:lnTo>
                    <a:pt x="55" y="21"/>
                  </a:lnTo>
                  <a:lnTo>
                    <a:pt x="40" y="10"/>
                  </a:lnTo>
                  <a:lnTo>
                    <a:pt x="22" y="3"/>
                  </a:lnTo>
                  <a:lnTo>
                    <a:pt x="0" y="0"/>
                  </a:lnTo>
                  <a:lnTo>
                    <a:pt x="1" y="3"/>
                  </a:lnTo>
                  <a:lnTo>
                    <a:pt x="1" y="10"/>
                  </a:lnTo>
                  <a:lnTo>
                    <a:pt x="4" y="18"/>
                  </a:lnTo>
                  <a:lnTo>
                    <a:pt x="6" y="30"/>
                  </a:lnTo>
                  <a:lnTo>
                    <a:pt x="12" y="42"/>
                  </a:lnTo>
                  <a:lnTo>
                    <a:pt x="20" y="54"/>
                  </a:lnTo>
                  <a:lnTo>
                    <a:pt x="31" y="65"/>
                  </a:lnTo>
                  <a:lnTo>
                    <a:pt x="44" y="75"/>
                  </a:lnTo>
                  <a:lnTo>
                    <a:pt x="62" y="81"/>
                  </a:lnTo>
                  <a:lnTo>
                    <a:pt x="82" y="83"/>
                  </a:lnTo>
                  <a:lnTo>
                    <a:pt x="82" y="238"/>
                  </a:lnTo>
                  <a:lnTo>
                    <a:pt x="82" y="235"/>
                  </a:lnTo>
                  <a:lnTo>
                    <a:pt x="80" y="228"/>
                  </a:lnTo>
                  <a:lnTo>
                    <a:pt x="78" y="217"/>
                  </a:lnTo>
                  <a:lnTo>
                    <a:pt x="72" y="207"/>
                  </a:lnTo>
                  <a:lnTo>
                    <a:pt x="66" y="196"/>
                  </a:lnTo>
                  <a:lnTo>
                    <a:pt x="55" y="185"/>
                  </a:lnTo>
                  <a:lnTo>
                    <a:pt x="40" y="178"/>
                  </a:lnTo>
                  <a:lnTo>
                    <a:pt x="21" y="176"/>
                  </a:lnTo>
                  <a:lnTo>
                    <a:pt x="21" y="178"/>
                  </a:lnTo>
                  <a:lnTo>
                    <a:pt x="22" y="185"/>
                  </a:lnTo>
                  <a:lnTo>
                    <a:pt x="24" y="195"/>
                  </a:lnTo>
                  <a:lnTo>
                    <a:pt x="28" y="205"/>
                  </a:lnTo>
                  <a:lnTo>
                    <a:pt x="33" y="217"/>
                  </a:lnTo>
                  <a:lnTo>
                    <a:pt x="41" y="230"/>
                  </a:lnTo>
                  <a:lnTo>
                    <a:pt x="52" y="239"/>
                  </a:lnTo>
                  <a:lnTo>
                    <a:pt x="66" y="246"/>
                  </a:lnTo>
                  <a:lnTo>
                    <a:pt x="82" y="247"/>
                  </a:lnTo>
                  <a:lnTo>
                    <a:pt x="82" y="402"/>
                  </a:lnTo>
                  <a:lnTo>
                    <a:pt x="93" y="40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1" name="Freeform 22"/>
            <p:cNvSpPr>
              <a:spLocks/>
            </p:cNvSpPr>
            <p:nvPr/>
          </p:nvSpPr>
          <p:spPr bwMode="gray">
            <a:xfrm>
              <a:off x="2161" y="216"/>
              <a:ext cx="97" cy="373"/>
            </a:xfrm>
            <a:custGeom>
              <a:avLst/>
              <a:gdLst/>
              <a:ahLst/>
              <a:cxnLst>
                <a:cxn ang="0">
                  <a:pos x="52" y="237"/>
                </a:cxn>
                <a:cxn ang="0">
                  <a:pos x="59" y="237"/>
                </a:cxn>
                <a:cxn ang="0">
                  <a:pos x="74" y="232"/>
                </a:cxn>
                <a:cxn ang="0">
                  <a:pos x="90" y="218"/>
                </a:cxn>
                <a:cxn ang="0">
                  <a:pos x="97" y="193"/>
                </a:cxn>
                <a:cxn ang="0">
                  <a:pos x="89" y="193"/>
                </a:cxn>
                <a:cxn ang="0">
                  <a:pos x="71" y="197"/>
                </a:cxn>
                <a:cxn ang="0">
                  <a:pos x="56" y="215"/>
                </a:cxn>
                <a:cxn ang="0">
                  <a:pos x="52" y="147"/>
                </a:cxn>
                <a:cxn ang="0">
                  <a:pos x="59" y="147"/>
                </a:cxn>
                <a:cxn ang="0">
                  <a:pos x="74" y="141"/>
                </a:cxn>
                <a:cxn ang="0">
                  <a:pos x="90" y="128"/>
                </a:cxn>
                <a:cxn ang="0">
                  <a:pos x="97" y="102"/>
                </a:cxn>
                <a:cxn ang="0">
                  <a:pos x="89" y="102"/>
                </a:cxn>
                <a:cxn ang="0">
                  <a:pos x="71" y="109"/>
                </a:cxn>
                <a:cxn ang="0">
                  <a:pos x="56" y="126"/>
                </a:cxn>
                <a:cxn ang="0">
                  <a:pos x="52" y="46"/>
                </a:cxn>
                <a:cxn ang="0">
                  <a:pos x="51" y="37"/>
                </a:cxn>
                <a:cxn ang="0">
                  <a:pos x="45" y="23"/>
                </a:cxn>
                <a:cxn ang="0">
                  <a:pos x="32" y="6"/>
                </a:cxn>
                <a:cxn ang="0">
                  <a:pos x="6" y="0"/>
                </a:cxn>
                <a:cxn ang="0">
                  <a:pos x="8" y="9"/>
                </a:cxn>
                <a:cxn ang="0">
                  <a:pos x="16" y="27"/>
                </a:cxn>
                <a:cxn ang="0">
                  <a:pos x="33" y="43"/>
                </a:cxn>
                <a:cxn ang="0">
                  <a:pos x="45" y="113"/>
                </a:cxn>
                <a:cxn ang="0">
                  <a:pos x="45" y="106"/>
                </a:cxn>
                <a:cxn ang="0">
                  <a:pos x="40" y="90"/>
                </a:cxn>
                <a:cxn ang="0">
                  <a:pos x="27" y="75"/>
                </a:cxn>
                <a:cxn ang="0">
                  <a:pos x="1" y="67"/>
                </a:cxn>
                <a:cxn ang="0">
                  <a:pos x="0" y="75"/>
                </a:cxn>
                <a:cxn ang="0">
                  <a:pos x="2" y="91"/>
                </a:cxn>
                <a:cxn ang="0">
                  <a:pos x="14" y="109"/>
                </a:cxn>
                <a:cxn ang="0">
                  <a:pos x="45" y="118"/>
                </a:cxn>
                <a:cxn ang="0">
                  <a:pos x="45" y="207"/>
                </a:cxn>
                <a:cxn ang="0">
                  <a:pos x="43" y="195"/>
                </a:cxn>
                <a:cxn ang="0">
                  <a:pos x="33" y="182"/>
                </a:cxn>
                <a:cxn ang="0">
                  <a:pos x="12" y="175"/>
                </a:cxn>
                <a:cxn ang="0">
                  <a:pos x="10" y="182"/>
                </a:cxn>
                <a:cxn ang="0">
                  <a:pos x="13" y="197"/>
                </a:cxn>
                <a:cxn ang="0">
                  <a:pos x="29" y="211"/>
                </a:cxn>
                <a:cxn ang="0">
                  <a:pos x="45" y="373"/>
                </a:cxn>
              </a:cxnLst>
              <a:rect l="0" t="0" r="r" b="b"/>
              <a:pathLst>
                <a:path w="97" h="373">
                  <a:moveTo>
                    <a:pt x="52" y="373"/>
                  </a:moveTo>
                  <a:lnTo>
                    <a:pt x="52" y="237"/>
                  </a:lnTo>
                  <a:lnTo>
                    <a:pt x="54" y="237"/>
                  </a:lnTo>
                  <a:lnTo>
                    <a:pt x="59" y="237"/>
                  </a:lnTo>
                  <a:lnTo>
                    <a:pt x="66" y="236"/>
                  </a:lnTo>
                  <a:lnTo>
                    <a:pt x="74" y="232"/>
                  </a:lnTo>
                  <a:lnTo>
                    <a:pt x="82" y="226"/>
                  </a:lnTo>
                  <a:lnTo>
                    <a:pt x="90" y="218"/>
                  </a:lnTo>
                  <a:lnTo>
                    <a:pt x="95" y="207"/>
                  </a:lnTo>
                  <a:lnTo>
                    <a:pt x="97" y="193"/>
                  </a:lnTo>
                  <a:lnTo>
                    <a:pt x="94" y="193"/>
                  </a:lnTo>
                  <a:lnTo>
                    <a:pt x="89" y="193"/>
                  </a:lnTo>
                  <a:lnTo>
                    <a:pt x="81" y="194"/>
                  </a:lnTo>
                  <a:lnTo>
                    <a:pt x="71" y="197"/>
                  </a:lnTo>
                  <a:lnTo>
                    <a:pt x="63" y="205"/>
                  </a:lnTo>
                  <a:lnTo>
                    <a:pt x="56" y="215"/>
                  </a:lnTo>
                  <a:lnTo>
                    <a:pt x="52" y="232"/>
                  </a:lnTo>
                  <a:lnTo>
                    <a:pt x="52" y="147"/>
                  </a:lnTo>
                  <a:lnTo>
                    <a:pt x="54" y="147"/>
                  </a:lnTo>
                  <a:lnTo>
                    <a:pt x="59" y="147"/>
                  </a:lnTo>
                  <a:lnTo>
                    <a:pt x="66" y="144"/>
                  </a:lnTo>
                  <a:lnTo>
                    <a:pt x="74" y="141"/>
                  </a:lnTo>
                  <a:lnTo>
                    <a:pt x="82" y="136"/>
                  </a:lnTo>
                  <a:lnTo>
                    <a:pt x="90" y="128"/>
                  </a:lnTo>
                  <a:lnTo>
                    <a:pt x="95" y="117"/>
                  </a:lnTo>
                  <a:lnTo>
                    <a:pt x="97" y="102"/>
                  </a:lnTo>
                  <a:lnTo>
                    <a:pt x="94" y="102"/>
                  </a:lnTo>
                  <a:lnTo>
                    <a:pt x="89" y="102"/>
                  </a:lnTo>
                  <a:lnTo>
                    <a:pt x="81" y="105"/>
                  </a:lnTo>
                  <a:lnTo>
                    <a:pt x="71" y="109"/>
                  </a:lnTo>
                  <a:lnTo>
                    <a:pt x="63" y="116"/>
                  </a:lnTo>
                  <a:lnTo>
                    <a:pt x="56" y="126"/>
                  </a:lnTo>
                  <a:lnTo>
                    <a:pt x="52" y="141"/>
                  </a:lnTo>
                  <a:lnTo>
                    <a:pt x="52" y="46"/>
                  </a:lnTo>
                  <a:lnTo>
                    <a:pt x="51" y="43"/>
                  </a:lnTo>
                  <a:lnTo>
                    <a:pt x="51" y="37"/>
                  </a:lnTo>
                  <a:lnTo>
                    <a:pt x="49" y="31"/>
                  </a:lnTo>
                  <a:lnTo>
                    <a:pt x="45" y="23"/>
                  </a:lnTo>
                  <a:lnTo>
                    <a:pt x="40" y="15"/>
                  </a:lnTo>
                  <a:lnTo>
                    <a:pt x="32" y="6"/>
                  </a:lnTo>
                  <a:lnTo>
                    <a:pt x="21" y="2"/>
                  </a:lnTo>
                  <a:lnTo>
                    <a:pt x="6" y="0"/>
                  </a:lnTo>
                  <a:lnTo>
                    <a:pt x="6" y="2"/>
                  </a:lnTo>
                  <a:lnTo>
                    <a:pt x="8" y="9"/>
                  </a:lnTo>
                  <a:lnTo>
                    <a:pt x="12" y="17"/>
                  </a:lnTo>
                  <a:lnTo>
                    <a:pt x="16" y="27"/>
                  </a:lnTo>
                  <a:lnTo>
                    <a:pt x="23" y="36"/>
                  </a:lnTo>
                  <a:lnTo>
                    <a:pt x="33" y="43"/>
                  </a:lnTo>
                  <a:lnTo>
                    <a:pt x="45" y="46"/>
                  </a:lnTo>
                  <a:lnTo>
                    <a:pt x="45" y="113"/>
                  </a:lnTo>
                  <a:lnTo>
                    <a:pt x="45" y="112"/>
                  </a:lnTo>
                  <a:lnTo>
                    <a:pt x="45" y="106"/>
                  </a:lnTo>
                  <a:lnTo>
                    <a:pt x="44" y="98"/>
                  </a:lnTo>
                  <a:lnTo>
                    <a:pt x="40" y="90"/>
                  </a:lnTo>
                  <a:lnTo>
                    <a:pt x="35" y="82"/>
                  </a:lnTo>
                  <a:lnTo>
                    <a:pt x="27" y="75"/>
                  </a:lnTo>
                  <a:lnTo>
                    <a:pt x="16" y="70"/>
                  </a:lnTo>
                  <a:lnTo>
                    <a:pt x="1" y="67"/>
                  </a:lnTo>
                  <a:lnTo>
                    <a:pt x="0" y="70"/>
                  </a:lnTo>
                  <a:lnTo>
                    <a:pt x="0" y="75"/>
                  </a:lnTo>
                  <a:lnTo>
                    <a:pt x="0" y="82"/>
                  </a:lnTo>
                  <a:lnTo>
                    <a:pt x="2" y="91"/>
                  </a:lnTo>
                  <a:lnTo>
                    <a:pt x="6" y="100"/>
                  </a:lnTo>
                  <a:lnTo>
                    <a:pt x="14" y="109"/>
                  </a:lnTo>
                  <a:lnTo>
                    <a:pt x="28" y="114"/>
                  </a:lnTo>
                  <a:lnTo>
                    <a:pt x="45" y="118"/>
                  </a:lnTo>
                  <a:lnTo>
                    <a:pt x="45" y="209"/>
                  </a:lnTo>
                  <a:lnTo>
                    <a:pt x="45" y="207"/>
                  </a:lnTo>
                  <a:lnTo>
                    <a:pt x="45" y="202"/>
                  </a:lnTo>
                  <a:lnTo>
                    <a:pt x="43" y="195"/>
                  </a:lnTo>
                  <a:lnTo>
                    <a:pt x="40" y="188"/>
                  </a:lnTo>
                  <a:lnTo>
                    <a:pt x="33" y="182"/>
                  </a:lnTo>
                  <a:lnTo>
                    <a:pt x="24" y="178"/>
                  </a:lnTo>
                  <a:lnTo>
                    <a:pt x="12" y="175"/>
                  </a:lnTo>
                  <a:lnTo>
                    <a:pt x="12" y="178"/>
                  </a:lnTo>
                  <a:lnTo>
                    <a:pt x="10" y="182"/>
                  </a:lnTo>
                  <a:lnTo>
                    <a:pt x="10" y="188"/>
                  </a:lnTo>
                  <a:lnTo>
                    <a:pt x="13" y="197"/>
                  </a:lnTo>
                  <a:lnTo>
                    <a:pt x="20" y="205"/>
                  </a:lnTo>
                  <a:lnTo>
                    <a:pt x="29" y="211"/>
                  </a:lnTo>
                  <a:lnTo>
                    <a:pt x="45" y="215"/>
                  </a:lnTo>
                  <a:lnTo>
                    <a:pt x="45" y="373"/>
                  </a:lnTo>
                  <a:lnTo>
                    <a:pt x="52"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2" name="Freeform 23"/>
            <p:cNvSpPr>
              <a:spLocks/>
            </p:cNvSpPr>
            <p:nvPr/>
          </p:nvSpPr>
          <p:spPr bwMode="gray">
            <a:xfrm>
              <a:off x="2708" y="216"/>
              <a:ext cx="97" cy="373"/>
            </a:xfrm>
            <a:custGeom>
              <a:avLst/>
              <a:gdLst/>
              <a:ahLst/>
              <a:cxnLst>
                <a:cxn ang="0">
                  <a:pos x="51" y="237"/>
                </a:cxn>
                <a:cxn ang="0">
                  <a:pos x="60" y="237"/>
                </a:cxn>
                <a:cxn ang="0">
                  <a:pos x="74" y="232"/>
                </a:cxn>
                <a:cxn ang="0">
                  <a:pos x="91" y="218"/>
                </a:cxn>
                <a:cxn ang="0">
                  <a:pos x="97" y="193"/>
                </a:cxn>
                <a:cxn ang="0">
                  <a:pos x="89" y="193"/>
                </a:cxn>
                <a:cxn ang="0">
                  <a:pos x="72" y="197"/>
                </a:cxn>
                <a:cxn ang="0">
                  <a:pos x="55" y="215"/>
                </a:cxn>
                <a:cxn ang="0">
                  <a:pos x="51" y="147"/>
                </a:cxn>
                <a:cxn ang="0">
                  <a:pos x="60" y="147"/>
                </a:cxn>
                <a:cxn ang="0">
                  <a:pos x="74" y="141"/>
                </a:cxn>
                <a:cxn ang="0">
                  <a:pos x="91" y="128"/>
                </a:cxn>
                <a:cxn ang="0">
                  <a:pos x="97" y="102"/>
                </a:cxn>
                <a:cxn ang="0">
                  <a:pos x="89" y="102"/>
                </a:cxn>
                <a:cxn ang="0">
                  <a:pos x="72" y="109"/>
                </a:cxn>
                <a:cxn ang="0">
                  <a:pos x="55" y="126"/>
                </a:cxn>
                <a:cxn ang="0">
                  <a:pos x="51" y="46"/>
                </a:cxn>
                <a:cxn ang="0">
                  <a:pos x="51" y="37"/>
                </a:cxn>
                <a:cxn ang="0">
                  <a:pos x="46" y="23"/>
                </a:cxn>
                <a:cxn ang="0">
                  <a:pos x="33" y="6"/>
                </a:cxn>
                <a:cxn ang="0">
                  <a:pos x="7" y="0"/>
                </a:cxn>
                <a:cxn ang="0">
                  <a:pos x="8" y="9"/>
                </a:cxn>
                <a:cxn ang="0">
                  <a:pos x="16" y="27"/>
                </a:cxn>
                <a:cxn ang="0">
                  <a:pos x="34" y="43"/>
                </a:cxn>
                <a:cxn ang="0">
                  <a:pos x="46" y="113"/>
                </a:cxn>
                <a:cxn ang="0">
                  <a:pos x="46" y="106"/>
                </a:cxn>
                <a:cxn ang="0">
                  <a:pos x="41" y="90"/>
                </a:cxn>
                <a:cxn ang="0">
                  <a:pos x="27" y="75"/>
                </a:cxn>
                <a:cxn ang="0">
                  <a:pos x="0" y="67"/>
                </a:cxn>
                <a:cxn ang="0">
                  <a:pos x="0" y="75"/>
                </a:cxn>
                <a:cxn ang="0">
                  <a:pos x="3" y="91"/>
                </a:cxn>
                <a:cxn ang="0">
                  <a:pos x="15" y="109"/>
                </a:cxn>
                <a:cxn ang="0">
                  <a:pos x="46" y="118"/>
                </a:cxn>
                <a:cxn ang="0">
                  <a:pos x="46" y="207"/>
                </a:cxn>
                <a:cxn ang="0">
                  <a:pos x="43" y="195"/>
                </a:cxn>
                <a:cxn ang="0">
                  <a:pos x="34" y="182"/>
                </a:cxn>
                <a:cxn ang="0">
                  <a:pos x="12" y="175"/>
                </a:cxn>
                <a:cxn ang="0">
                  <a:pos x="11" y="182"/>
                </a:cxn>
                <a:cxn ang="0">
                  <a:pos x="14" y="197"/>
                </a:cxn>
                <a:cxn ang="0">
                  <a:pos x="30" y="211"/>
                </a:cxn>
                <a:cxn ang="0">
                  <a:pos x="46" y="373"/>
                </a:cxn>
              </a:cxnLst>
              <a:rect l="0" t="0" r="r" b="b"/>
              <a:pathLst>
                <a:path w="97" h="373">
                  <a:moveTo>
                    <a:pt x="51" y="373"/>
                  </a:moveTo>
                  <a:lnTo>
                    <a:pt x="51" y="237"/>
                  </a:lnTo>
                  <a:lnTo>
                    <a:pt x="54" y="237"/>
                  </a:lnTo>
                  <a:lnTo>
                    <a:pt x="60" y="237"/>
                  </a:lnTo>
                  <a:lnTo>
                    <a:pt x="66" y="236"/>
                  </a:lnTo>
                  <a:lnTo>
                    <a:pt x="74" y="232"/>
                  </a:lnTo>
                  <a:lnTo>
                    <a:pt x="82" y="226"/>
                  </a:lnTo>
                  <a:lnTo>
                    <a:pt x="91" y="218"/>
                  </a:lnTo>
                  <a:lnTo>
                    <a:pt x="95" y="207"/>
                  </a:lnTo>
                  <a:lnTo>
                    <a:pt x="97" y="193"/>
                  </a:lnTo>
                  <a:lnTo>
                    <a:pt x="95" y="193"/>
                  </a:lnTo>
                  <a:lnTo>
                    <a:pt x="89" y="193"/>
                  </a:lnTo>
                  <a:lnTo>
                    <a:pt x="81" y="194"/>
                  </a:lnTo>
                  <a:lnTo>
                    <a:pt x="72" y="197"/>
                  </a:lnTo>
                  <a:lnTo>
                    <a:pt x="64" y="205"/>
                  </a:lnTo>
                  <a:lnTo>
                    <a:pt x="55" y="215"/>
                  </a:lnTo>
                  <a:lnTo>
                    <a:pt x="51" y="232"/>
                  </a:lnTo>
                  <a:lnTo>
                    <a:pt x="51" y="147"/>
                  </a:lnTo>
                  <a:lnTo>
                    <a:pt x="54" y="147"/>
                  </a:lnTo>
                  <a:lnTo>
                    <a:pt x="60" y="147"/>
                  </a:lnTo>
                  <a:lnTo>
                    <a:pt x="66" y="144"/>
                  </a:lnTo>
                  <a:lnTo>
                    <a:pt x="74" y="141"/>
                  </a:lnTo>
                  <a:lnTo>
                    <a:pt x="82" y="136"/>
                  </a:lnTo>
                  <a:lnTo>
                    <a:pt x="91" y="128"/>
                  </a:lnTo>
                  <a:lnTo>
                    <a:pt x="95" y="117"/>
                  </a:lnTo>
                  <a:lnTo>
                    <a:pt x="97" y="102"/>
                  </a:lnTo>
                  <a:lnTo>
                    <a:pt x="95" y="102"/>
                  </a:lnTo>
                  <a:lnTo>
                    <a:pt x="89" y="102"/>
                  </a:lnTo>
                  <a:lnTo>
                    <a:pt x="81" y="105"/>
                  </a:lnTo>
                  <a:lnTo>
                    <a:pt x="72" y="109"/>
                  </a:lnTo>
                  <a:lnTo>
                    <a:pt x="64" y="116"/>
                  </a:lnTo>
                  <a:lnTo>
                    <a:pt x="55" y="126"/>
                  </a:lnTo>
                  <a:lnTo>
                    <a:pt x="51" y="141"/>
                  </a:lnTo>
                  <a:lnTo>
                    <a:pt x="51" y="46"/>
                  </a:lnTo>
                  <a:lnTo>
                    <a:pt x="51" y="43"/>
                  </a:lnTo>
                  <a:lnTo>
                    <a:pt x="51" y="37"/>
                  </a:lnTo>
                  <a:lnTo>
                    <a:pt x="49" y="31"/>
                  </a:lnTo>
                  <a:lnTo>
                    <a:pt x="46" y="23"/>
                  </a:lnTo>
                  <a:lnTo>
                    <a:pt x="41" y="15"/>
                  </a:lnTo>
                  <a:lnTo>
                    <a:pt x="33" y="6"/>
                  </a:lnTo>
                  <a:lnTo>
                    <a:pt x="22" y="2"/>
                  </a:lnTo>
                  <a:lnTo>
                    <a:pt x="7" y="0"/>
                  </a:lnTo>
                  <a:lnTo>
                    <a:pt x="7" y="2"/>
                  </a:lnTo>
                  <a:lnTo>
                    <a:pt x="8" y="9"/>
                  </a:lnTo>
                  <a:lnTo>
                    <a:pt x="11" y="17"/>
                  </a:lnTo>
                  <a:lnTo>
                    <a:pt x="16" y="27"/>
                  </a:lnTo>
                  <a:lnTo>
                    <a:pt x="23" y="36"/>
                  </a:lnTo>
                  <a:lnTo>
                    <a:pt x="34" y="43"/>
                  </a:lnTo>
                  <a:lnTo>
                    <a:pt x="46" y="46"/>
                  </a:lnTo>
                  <a:lnTo>
                    <a:pt x="46" y="113"/>
                  </a:lnTo>
                  <a:lnTo>
                    <a:pt x="46" y="112"/>
                  </a:lnTo>
                  <a:lnTo>
                    <a:pt x="46" y="106"/>
                  </a:lnTo>
                  <a:lnTo>
                    <a:pt x="43" y="98"/>
                  </a:lnTo>
                  <a:lnTo>
                    <a:pt x="41" y="90"/>
                  </a:lnTo>
                  <a:lnTo>
                    <a:pt x="35" y="82"/>
                  </a:lnTo>
                  <a:lnTo>
                    <a:pt x="27" y="75"/>
                  </a:lnTo>
                  <a:lnTo>
                    <a:pt x="16" y="70"/>
                  </a:lnTo>
                  <a:lnTo>
                    <a:pt x="0" y="67"/>
                  </a:lnTo>
                  <a:lnTo>
                    <a:pt x="0" y="70"/>
                  </a:lnTo>
                  <a:lnTo>
                    <a:pt x="0" y="75"/>
                  </a:lnTo>
                  <a:lnTo>
                    <a:pt x="0" y="82"/>
                  </a:lnTo>
                  <a:lnTo>
                    <a:pt x="3" y="91"/>
                  </a:lnTo>
                  <a:lnTo>
                    <a:pt x="7" y="100"/>
                  </a:lnTo>
                  <a:lnTo>
                    <a:pt x="15" y="109"/>
                  </a:lnTo>
                  <a:lnTo>
                    <a:pt x="28" y="114"/>
                  </a:lnTo>
                  <a:lnTo>
                    <a:pt x="46" y="118"/>
                  </a:lnTo>
                  <a:lnTo>
                    <a:pt x="46" y="209"/>
                  </a:lnTo>
                  <a:lnTo>
                    <a:pt x="46" y="207"/>
                  </a:lnTo>
                  <a:lnTo>
                    <a:pt x="45" y="202"/>
                  </a:lnTo>
                  <a:lnTo>
                    <a:pt x="43" y="195"/>
                  </a:lnTo>
                  <a:lnTo>
                    <a:pt x="39" y="188"/>
                  </a:lnTo>
                  <a:lnTo>
                    <a:pt x="34" y="182"/>
                  </a:lnTo>
                  <a:lnTo>
                    <a:pt x="24" y="178"/>
                  </a:lnTo>
                  <a:lnTo>
                    <a:pt x="12" y="175"/>
                  </a:lnTo>
                  <a:lnTo>
                    <a:pt x="12" y="178"/>
                  </a:lnTo>
                  <a:lnTo>
                    <a:pt x="11" y="182"/>
                  </a:lnTo>
                  <a:lnTo>
                    <a:pt x="11" y="188"/>
                  </a:lnTo>
                  <a:lnTo>
                    <a:pt x="14" y="197"/>
                  </a:lnTo>
                  <a:lnTo>
                    <a:pt x="19" y="205"/>
                  </a:lnTo>
                  <a:lnTo>
                    <a:pt x="30" y="211"/>
                  </a:lnTo>
                  <a:lnTo>
                    <a:pt x="46" y="215"/>
                  </a:lnTo>
                  <a:lnTo>
                    <a:pt x="46" y="373"/>
                  </a:lnTo>
                  <a:lnTo>
                    <a:pt x="51"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grpSp>
      <p:sp>
        <p:nvSpPr>
          <p:cNvPr id="2" name="Title 1"/>
          <p:cNvSpPr>
            <a:spLocks noGrp="1"/>
          </p:cNvSpPr>
          <p:nvPr>
            <p:ph type="title"/>
          </p:nvPr>
        </p:nvSpPr>
        <p:spPr/>
        <p:txBody>
          <a:bodyPr/>
          <a:lstStyle/>
          <a:p>
            <a:r>
              <a:rPr lang="en-US" smtClean="0"/>
              <a:t>Click to edit Master title style</a:t>
            </a:r>
            <a:endParaRPr lang="id-ID"/>
          </a:p>
        </p:txBody>
      </p:sp>
      <p:sp>
        <p:nvSpPr>
          <p:cNvPr id="7" name="Content Placeholder 2"/>
          <p:cNvSpPr>
            <a:spLocks noGrp="1"/>
          </p:cNvSpPr>
          <p:nvPr>
            <p:ph idx="1"/>
          </p:nvPr>
        </p:nvSpPr>
        <p:spPr>
          <a:xfrm>
            <a:off x="228600" y="1600206"/>
            <a:ext cx="8686800" cy="4525963"/>
          </a:xfrm>
        </p:spPr>
        <p:txBody>
          <a:bodyPr/>
          <a:lstStyle>
            <a:lvl1pPr>
              <a:buNone/>
              <a:defRPr sz="2800" b="1">
                <a:solidFill>
                  <a:schemeClr val="tx1"/>
                </a:solidFill>
              </a:defRPr>
            </a:lvl1pPr>
            <a:lvl2pPr>
              <a:defRPr sz="2400" b="1"/>
            </a:lvl2pPr>
            <a:lvl3pPr>
              <a:defRPr sz="2000" b="1"/>
            </a:lvl3pPr>
            <a:lvl4pPr>
              <a:defRPr sz="1800" b="1"/>
            </a:lvl4pPr>
            <a:lvl5pPr>
              <a:defRPr sz="1800" b="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Date Placeholder 2"/>
          <p:cNvSpPr>
            <a:spLocks noGrp="1"/>
          </p:cNvSpPr>
          <p:nvPr>
            <p:ph type="dt" sz="half" idx="10"/>
          </p:nvPr>
        </p:nvSpPr>
        <p:spPr/>
        <p:txBody>
          <a:bodyPr/>
          <a:lstStyle>
            <a:lvl1pPr>
              <a:defRPr smtClean="0"/>
            </a:lvl1pPr>
          </a:lstStyle>
          <a:p>
            <a:pPr>
              <a:defRPr/>
            </a:pPr>
            <a:fld id="{970A65B3-0BCE-4C36-BB66-76522D864B08}" type="datetime1">
              <a:rPr lang="id-ID" altLang="id-ID"/>
              <a:pPr>
                <a:defRPr/>
              </a:pPr>
              <a:t>21/10/2015</a:t>
            </a:fld>
            <a:endParaRPr lang="id-ID" altLang="id-ID"/>
          </a:p>
        </p:txBody>
      </p:sp>
      <p:sp>
        <p:nvSpPr>
          <p:cNvPr id="24" name="Footer Placeholder 3"/>
          <p:cNvSpPr>
            <a:spLocks noGrp="1"/>
          </p:cNvSpPr>
          <p:nvPr>
            <p:ph type="ftr" sz="quarter" idx="11"/>
          </p:nvPr>
        </p:nvSpPr>
        <p:spPr/>
        <p:txBody>
          <a:bodyPr/>
          <a:lstStyle>
            <a:lvl1pPr>
              <a:defRPr/>
            </a:lvl1pPr>
          </a:lstStyle>
          <a:p>
            <a:pPr>
              <a:defRPr/>
            </a:pPr>
            <a:endParaRPr lang="id-ID"/>
          </a:p>
        </p:txBody>
      </p:sp>
      <p:sp>
        <p:nvSpPr>
          <p:cNvPr id="25" name="Slide Number Placeholder 4"/>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FFFFFF"/>
                </a:solidFill>
                <a:cs typeface="Arial" pitchFamily="34" charset="0"/>
              </a:defRPr>
            </a:lvl1pPr>
          </a:lstStyle>
          <a:p>
            <a:pPr>
              <a:defRPr/>
            </a:pPr>
            <a:fld id="{E251559E-76B2-400E-81CE-94D2C4344441}" type="slidenum">
              <a:rPr lang="id-ID" altLang="id-ID"/>
              <a:pPr>
                <a:defRPr/>
              </a:pPr>
              <a:t>‹#›</a:t>
            </a:fld>
            <a:endParaRPr lang="id-ID" altLang="id-ID"/>
          </a:p>
        </p:txBody>
      </p:sp>
    </p:spTree>
    <p:extLst>
      <p:ext uri="{BB962C8B-B14F-4D97-AF65-F5344CB8AC3E}">
        <p14:creationId xmlns:p14="http://schemas.microsoft.com/office/powerpoint/2010/main" val="4202029695"/>
      </p:ext>
    </p:extLst>
  </p:cSld>
  <p:clrMapOvr>
    <a:masterClrMapping/>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624931"/>
            <a:ext cx="7772400" cy="1362075"/>
          </a:xfrm>
        </p:spPr>
        <p:txBody>
          <a:bodyPr anchor="t"/>
          <a:lstStyle>
            <a:lvl1pPr algn="l">
              <a:defRPr sz="4000" b="1" i="1" cap="all"/>
            </a:lvl1pPr>
          </a:lstStyle>
          <a:p>
            <a:r>
              <a:rPr lang="en-US" smtClean="0"/>
              <a:t>Click to edit Master title style</a:t>
            </a:r>
            <a:endParaRPr lang="id-ID"/>
          </a:p>
        </p:txBody>
      </p:sp>
      <p:sp>
        <p:nvSpPr>
          <p:cNvPr id="3" name="Text Placeholder 2"/>
          <p:cNvSpPr>
            <a:spLocks noGrp="1"/>
          </p:cNvSpPr>
          <p:nvPr>
            <p:ph type="body" idx="1"/>
          </p:nvPr>
        </p:nvSpPr>
        <p:spPr>
          <a:xfrm>
            <a:off x="722313" y="112474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vl1pPr>
          </a:lstStyle>
          <a:p>
            <a:pPr>
              <a:defRPr/>
            </a:pPr>
            <a:fld id="{A5BA7117-FAE0-4AEB-993E-BCA5F371FF8C}" type="datetime1">
              <a:rPr lang="id-ID" altLang="id-ID"/>
              <a:pPr>
                <a:defRPr/>
              </a:pPr>
              <a:t>21/10/2015</a:t>
            </a:fld>
            <a:endParaRPr lang="id-ID" altLang="id-ID"/>
          </a:p>
        </p:txBody>
      </p:sp>
      <p:sp>
        <p:nvSpPr>
          <p:cNvPr id="5" name="Footer Placeholder 4"/>
          <p:cNvSpPr>
            <a:spLocks noGrp="1"/>
          </p:cNvSpPr>
          <p:nvPr>
            <p:ph type="ftr" sz="quarter" idx="11"/>
          </p:nvPr>
        </p:nvSpPr>
        <p:spPr/>
        <p:txBody>
          <a:bodyPr/>
          <a:lstStyle>
            <a:lvl1pPr>
              <a:defRPr/>
            </a:lvl1pPr>
          </a:lstStyle>
          <a:p>
            <a:pPr>
              <a:defRPr/>
            </a:pPr>
            <a:endParaRPr lang="id-ID"/>
          </a:p>
        </p:txBody>
      </p:sp>
      <p:sp>
        <p:nvSpPr>
          <p:cNvPr id="6" name="Slide Number Placeholder 5"/>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A99BDEF2-0F37-49CC-BEE5-4971660F9F57}" type="slidenum">
              <a:rPr lang="id-ID" altLang="id-ID"/>
              <a:pPr>
                <a:defRPr/>
              </a:pPr>
              <a:t>‹#›</a:t>
            </a:fld>
            <a:endParaRPr lang="id-ID" altLang="id-ID"/>
          </a:p>
        </p:txBody>
      </p:sp>
    </p:spTree>
    <p:extLst>
      <p:ext uri="{BB962C8B-B14F-4D97-AF65-F5344CB8AC3E}">
        <p14:creationId xmlns:p14="http://schemas.microsoft.com/office/powerpoint/2010/main" val="29603828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lvl1pPr>
              <a:defRPr smtClean="0"/>
            </a:lvl1pPr>
          </a:lstStyle>
          <a:p>
            <a:pPr>
              <a:defRPr/>
            </a:pPr>
            <a:fld id="{9431810F-381A-4B73-8415-FBB09F9F101D}" type="datetime1">
              <a:rPr lang="id-ID" altLang="id-ID"/>
              <a:pPr>
                <a:defRPr/>
              </a:pPr>
              <a:t>21/10/2015</a:t>
            </a:fld>
            <a:endParaRPr lang="id-ID" altLang="id-ID"/>
          </a:p>
        </p:txBody>
      </p:sp>
      <p:sp>
        <p:nvSpPr>
          <p:cNvPr id="6" name="Footer Placeholder 5"/>
          <p:cNvSpPr>
            <a:spLocks noGrp="1"/>
          </p:cNvSpPr>
          <p:nvPr>
            <p:ph type="ftr" sz="quarter" idx="11"/>
          </p:nvPr>
        </p:nvSpPr>
        <p:spPr/>
        <p:txBody>
          <a:bodyPr/>
          <a:lstStyle>
            <a:lvl1pPr>
              <a:defRPr/>
            </a:lvl1pPr>
          </a:lstStyle>
          <a:p>
            <a:pPr>
              <a:defRPr/>
            </a:pPr>
            <a:endParaRPr lang="id-ID"/>
          </a:p>
        </p:txBody>
      </p:sp>
      <p:sp>
        <p:nvSpPr>
          <p:cNvPr id="7" name="Slide Number Placeholder 6"/>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61E6B12C-0C54-4B2D-8A81-D0201A88F315}" type="slidenum">
              <a:rPr lang="id-ID" altLang="id-ID"/>
              <a:pPr>
                <a:defRPr/>
              </a:pPr>
              <a:t>‹#›</a:t>
            </a:fld>
            <a:endParaRPr lang="id-ID" altLang="id-ID"/>
          </a:p>
        </p:txBody>
      </p:sp>
    </p:spTree>
    <p:extLst>
      <p:ext uri="{BB962C8B-B14F-4D97-AF65-F5344CB8AC3E}">
        <p14:creationId xmlns:p14="http://schemas.microsoft.com/office/powerpoint/2010/main" val="33807873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lvl1pPr>
              <a:defRPr smtClean="0"/>
            </a:lvl1pPr>
          </a:lstStyle>
          <a:p>
            <a:pPr>
              <a:defRPr/>
            </a:pPr>
            <a:fld id="{94C944A5-5A3E-4924-BBBA-742CF765F7D6}" type="datetime1">
              <a:rPr lang="id-ID" altLang="id-ID"/>
              <a:pPr>
                <a:defRPr/>
              </a:pPr>
              <a:t>21/10/2015</a:t>
            </a:fld>
            <a:endParaRPr lang="id-ID" altLang="id-ID"/>
          </a:p>
        </p:txBody>
      </p:sp>
      <p:sp>
        <p:nvSpPr>
          <p:cNvPr id="8" name="Footer Placeholder 7"/>
          <p:cNvSpPr>
            <a:spLocks noGrp="1"/>
          </p:cNvSpPr>
          <p:nvPr>
            <p:ph type="ftr" sz="quarter" idx="11"/>
          </p:nvPr>
        </p:nvSpPr>
        <p:spPr/>
        <p:txBody>
          <a:bodyPr/>
          <a:lstStyle>
            <a:lvl1pPr>
              <a:defRPr/>
            </a:lvl1pPr>
          </a:lstStyle>
          <a:p>
            <a:pPr>
              <a:defRPr/>
            </a:pPr>
            <a:endParaRPr lang="id-ID"/>
          </a:p>
        </p:txBody>
      </p:sp>
      <p:sp>
        <p:nvSpPr>
          <p:cNvPr id="9" name="Slide Number Placeholder 8"/>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6E930843-1EFD-4CA2-95BE-6F70BF22E23A}" type="slidenum">
              <a:rPr lang="id-ID" altLang="id-ID"/>
              <a:pPr>
                <a:defRPr/>
              </a:pPr>
              <a:t>‹#›</a:t>
            </a:fld>
            <a:endParaRPr lang="id-ID" altLang="id-ID"/>
          </a:p>
        </p:txBody>
      </p:sp>
    </p:spTree>
    <p:extLst>
      <p:ext uri="{BB962C8B-B14F-4D97-AF65-F5344CB8AC3E}">
        <p14:creationId xmlns:p14="http://schemas.microsoft.com/office/powerpoint/2010/main" val="3493647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id-ID" dirty="0"/>
          </a:p>
        </p:txBody>
      </p:sp>
      <p:sp>
        <p:nvSpPr>
          <p:cNvPr id="3" name="Date Placeholder 2"/>
          <p:cNvSpPr>
            <a:spLocks noGrp="1"/>
          </p:cNvSpPr>
          <p:nvPr>
            <p:ph type="dt" sz="half" idx="10"/>
          </p:nvPr>
        </p:nvSpPr>
        <p:spPr/>
        <p:txBody>
          <a:bodyPr/>
          <a:lstStyle>
            <a:lvl1pPr>
              <a:defRPr smtClean="0"/>
            </a:lvl1pPr>
          </a:lstStyle>
          <a:p>
            <a:pPr>
              <a:defRPr/>
            </a:pPr>
            <a:fld id="{47BACC76-48BB-4CA4-B915-E63C6F820E22}" type="datetime1">
              <a:rPr lang="id-ID" altLang="id-ID"/>
              <a:pPr>
                <a:defRPr/>
              </a:pPr>
              <a:t>21/10/2015</a:t>
            </a:fld>
            <a:endParaRPr lang="id-ID" altLang="id-ID"/>
          </a:p>
        </p:txBody>
      </p:sp>
      <p:sp>
        <p:nvSpPr>
          <p:cNvPr id="4" name="Footer Placeholder 3"/>
          <p:cNvSpPr>
            <a:spLocks noGrp="1"/>
          </p:cNvSpPr>
          <p:nvPr>
            <p:ph type="ftr" sz="quarter" idx="11"/>
          </p:nvPr>
        </p:nvSpPr>
        <p:spPr/>
        <p:txBody>
          <a:bodyPr/>
          <a:lstStyle>
            <a:lvl1pPr>
              <a:defRPr/>
            </a:lvl1pPr>
          </a:lstStyle>
          <a:p>
            <a:pPr>
              <a:defRPr/>
            </a:pPr>
            <a:endParaRPr lang="id-ID"/>
          </a:p>
        </p:txBody>
      </p:sp>
      <p:sp>
        <p:nvSpPr>
          <p:cNvPr id="5" name="Slide Number Placeholder 4"/>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D78E37F2-B0AF-4C2B-A63D-5C4841DDB873}" type="slidenum">
              <a:rPr lang="id-ID" altLang="id-ID"/>
              <a:pPr>
                <a:defRPr/>
              </a:pPr>
              <a:t>‹#›</a:t>
            </a:fld>
            <a:endParaRPr lang="id-ID" altLang="id-ID"/>
          </a:p>
        </p:txBody>
      </p:sp>
    </p:spTree>
    <p:extLst>
      <p:ext uri="{BB962C8B-B14F-4D97-AF65-F5344CB8AC3E}">
        <p14:creationId xmlns:p14="http://schemas.microsoft.com/office/powerpoint/2010/main" val="33742970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1"/>
          <p:cNvSpPr>
            <a:spLocks noGrp="1"/>
          </p:cNvSpPr>
          <p:nvPr>
            <p:ph type="title"/>
          </p:nvPr>
        </p:nvSpPr>
        <p:spPr>
          <a:xfrm>
            <a:off x="-36512" y="-27384"/>
            <a:ext cx="8229600" cy="432048"/>
          </a:xfrm>
        </p:spPr>
        <p:txBody>
          <a:bodyPr/>
          <a:lstStyle/>
          <a:p>
            <a:r>
              <a:rPr lang="en-US" dirty="0" smtClean="0"/>
              <a:t>Click to edit Master title style</a:t>
            </a:r>
            <a:endParaRPr lang="id-ID" dirty="0"/>
          </a:p>
        </p:txBody>
      </p:sp>
      <p:sp>
        <p:nvSpPr>
          <p:cNvPr id="3" name="Date Placeholder 1"/>
          <p:cNvSpPr>
            <a:spLocks noGrp="1"/>
          </p:cNvSpPr>
          <p:nvPr>
            <p:ph type="dt" sz="half" idx="10"/>
          </p:nvPr>
        </p:nvSpPr>
        <p:spPr/>
        <p:txBody>
          <a:bodyPr/>
          <a:lstStyle>
            <a:lvl1pPr>
              <a:defRPr smtClean="0"/>
            </a:lvl1pPr>
          </a:lstStyle>
          <a:p>
            <a:pPr>
              <a:defRPr/>
            </a:pPr>
            <a:fld id="{EC002329-1D86-45C2-83A8-C8E7FE442B6C}" type="datetime1">
              <a:rPr lang="id-ID" altLang="id-ID"/>
              <a:pPr>
                <a:defRPr/>
              </a:pPr>
              <a:t>21/10/2015</a:t>
            </a:fld>
            <a:endParaRPr lang="id-ID" altLang="id-ID"/>
          </a:p>
        </p:txBody>
      </p:sp>
      <p:sp>
        <p:nvSpPr>
          <p:cNvPr id="4" name="Footer Placeholder 2"/>
          <p:cNvSpPr>
            <a:spLocks noGrp="1"/>
          </p:cNvSpPr>
          <p:nvPr>
            <p:ph type="ftr" sz="quarter" idx="11"/>
          </p:nvPr>
        </p:nvSpPr>
        <p:spPr/>
        <p:txBody>
          <a:bodyPr/>
          <a:lstStyle>
            <a:lvl1pPr>
              <a:defRPr/>
            </a:lvl1pPr>
          </a:lstStyle>
          <a:p>
            <a:pPr>
              <a:defRPr/>
            </a:pPr>
            <a:endParaRPr lang="id-ID"/>
          </a:p>
        </p:txBody>
      </p:sp>
      <p:sp>
        <p:nvSpPr>
          <p:cNvPr id="5" name="Slide Number Placeholder 5"/>
          <p:cNvSpPr>
            <a:spLocks noGrp="1"/>
          </p:cNvSpPr>
          <p:nvPr>
            <p:ph type="sldNum" sz="quarter" idx="12"/>
          </p:nvPr>
        </p:nvSpPr>
        <p:spPr>
          <a:xfrm>
            <a:off x="8637588" y="-4763"/>
            <a:ext cx="46990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85C9CE4A-8570-4967-81B9-2883F5AB495F}" type="slidenum">
              <a:rPr lang="id-ID" altLang="id-ID"/>
              <a:pPr>
                <a:defRPr/>
              </a:pPr>
              <a:t>‹#›</a:t>
            </a:fld>
            <a:endParaRPr lang="id-ID" altLang="id-ID"/>
          </a:p>
        </p:txBody>
      </p:sp>
    </p:spTree>
    <p:extLst>
      <p:ext uri="{BB962C8B-B14F-4D97-AF65-F5344CB8AC3E}">
        <p14:creationId xmlns:p14="http://schemas.microsoft.com/office/powerpoint/2010/main" val="314086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fld id="{53486287-B46F-434C-8690-1283350AB6DD}" type="datetime1">
              <a:rPr lang="id-ID" altLang="id-ID"/>
              <a:pPr>
                <a:defRPr/>
              </a:pPr>
              <a:t>21/10/2015</a:t>
            </a:fld>
            <a:endParaRPr lang="id-ID" altLang="id-ID"/>
          </a:p>
        </p:txBody>
      </p:sp>
      <p:sp>
        <p:nvSpPr>
          <p:cNvPr id="6" name="Footer Placeholder 5"/>
          <p:cNvSpPr>
            <a:spLocks noGrp="1"/>
          </p:cNvSpPr>
          <p:nvPr>
            <p:ph type="ftr" sz="quarter" idx="11"/>
          </p:nvPr>
        </p:nvSpPr>
        <p:spPr/>
        <p:txBody>
          <a:bodyPr/>
          <a:lstStyle>
            <a:lvl1pPr>
              <a:defRPr/>
            </a:lvl1pPr>
          </a:lstStyle>
          <a:p>
            <a:pPr>
              <a:defRPr/>
            </a:pPr>
            <a:endParaRPr lang="id-ID"/>
          </a:p>
        </p:txBody>
      </p:sp>
      <p:sp>
        <p:nvSpPr>
          <p:cNvPr id="7" name="Slide Number Placeholder 6"/>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681CFB55-D05F-4614-9978-5922A8B1C7D6}" type="slidenum">
              <a:rPr lang="id-ID" altLang="id-ID"/>
              <a:pPr>
                <a:defRPr/>
              </a:pPr>
              <a:t>‹#›</a:t>
            </a:fld>
            <a:endParaRPr lang="id-ID" altLang="id-ID"/>
          </a:p>
        </p:txBody>
      </p:sp>
    </p:spTree>
    <p:extLst>
      <p:ext uri="{BB962C8B-B14F-4D97-AF65-F5344CB8AC3E}">
        <p14:creationId xmlns:p14="http://schemas.microsoft.com/office/powerpoint/2010/main" val="26951091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46DD1888-15FE-4B97-BD1B-8FFCEEBA2CCC}" type="slidenum">
              <a:rPr lang="en-US" altLang="id-ID"/>
              <a:pPr>
                <a:defRPr/>
              </a:pPr>
              <a:t>‹#›</a:t>
            </a:fld>
            <a:endParaRPr lang="en-US" altLang="id-ID"/>
          </a:p>
        </p:txBody>
      </p:sp>
    </p:spTree>
    <p:extLst>
      <p:ext uri="{BB962C8B-B14F-4D97-AF65-F5344CB8AC3E}">
        <p14:creationId xmlns:p14="http://schemas.microsoft.com/office/powerpoint/2010/main" val="27565742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id-ID"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fld id="{A52CF23D-0BC1-4867-AE27-EE739A8BC0BA}" type="datetime1">
              <a:rPr lang="id-ID" altLang="id-ID"/>
              <a:pPr>
                <a:defRPr/>
              </a:pPr>
              <a:t>21/10/2015</a:t>
            </a:fld>
            <a:endParaRPr lang="id-ID" altLang="id-ID"/>
          </a:p>
        </p:txBody>
      </p:sp>
      <p:sp>
        <p:nvSpPr>
          <p:cNvPr id="6" name="Footer Placeholder 5"/>
          <p:cNvSpPr>
            <a:spLocks noGrp="1"/>
          </p:cNvSpPr>
          <p:nvPr>
            <p:ph type="ftr" sz="quarter" idx="11"/>
          </p:nvPr>
        </p:nvSpPr>
        <p:spPr/>
        <p:txBody>
          <a:bodyPr/>
          <a:lstStyle>
            <a:lvl1pPr>
              <a:defRPr/>
            </a:lvl1pPr>
          </a:lstStyle>
          <a:p>
            <a:pPr>
              <a:defRPr/>
            </a:pPr>
            <a:endParaRPr lang="id-ID"/>
          </a:p>
        </p:txBody>
      </p:sp>
      <p:sp>
        <p:nvSpPr>
          <p:cNvPr id="7" name="Slide Number Placeholder 6"/>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2D297388-1D1C-40EA-9612-60CEB36A726F}" type="slidenum">
              <a:rPr lang="id-ID" altLang="id-ID"/>
              <a:pPr>
                <a:defRPr/>
              </a:pPr>
              <a:t>‹#›</a:t>
            </a:fld>
            <a:endParaRPr lang="id-ID" altLang="id-ID"/>
          </a:p>
        </p:txBody>
      </p:sp>
    </p:spTree>
    <p:extLst>
      <p:ext uri="{BB962C8B-B14F-4D97-AF65-F5344CB8AC3E}">
        <p14:creationId xmlns:p14="http://schemas.microsoft.com/office/powerpoint/2010/main" val="28476512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lvl1pPr>
              <a:defRPr smtClean="0"/>
            </a:lvl1pPr>
          </a:lstStyle>
          <a:p>
            <a:pPr>
              <a:defRPr/>
            </a:pPr>
            <a:fld id="{E6059E02-A462-4080-B596-63EFE4D7C046}" type="datetime1">
              <a:rPr lang="id-ID" altLang="id-ID"/>
              <a:pPr>
                <a:defRPr/>
              </a:pPr>
              <a:t>21/10/2015</a:t>
            </a:fld>
            <a:endParaRPr lang="id-ID" altLang="id-ID"/>
          </a:p>
        </p:txBody>
      </p:sp>
      <p:sp>
        <p:nvSpPr>
          <p:cNvPr id="5" name="Footer Placeholder 4"/>
          <p:cNvSpPr>
            <a:spLocks noGrp="1"/>
          </p:cNvSpPr>
          <p:nvPr>
            <p:ph type="ftr" sz="quarter" idx="11"/>
          </p:nvPr>
        </p:nvSpPr>
        <p:spPr/>
        <p:txBody>
          <a:bodyPr/>
          <a:lstStyle>
            <a:lvl1pPr>
              <a:defRPr/>
            </a:lvl1pPr>
          </a:lstStyle>
          <a:p>
            <a:pPr>
              <a:defRPr/>
            </a:pPr>
            <a:endParaRPr lang="id-ID"/>
          </a:p>
        </p:txBody>
      </p:sp>
      <p:sp>
        <p:nvSpPr>
          <p:cNvPr id="6" name="Slide Number Placeholder 5"/>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2BB487ED-41EF-4B3C-A8D8-1260879D0BBA}" type="slidenum">
              <a:rPr lang="id-ID" altLang="id-ID"/>
              <a:pPr>
                <a:defRPr/>
              </a:pPr>
              <a:t>‹#›</a:t>
            </a:fld>
            <a:endParaRPr lang="id-ID" altLang="id-ID"/>
          </a:p>
        </p:txBody>
      </p:sp>
    </p:spTree>
    <p:extLst>
      <p:ext uri="{BB962C8B-B14F-4D97-AF65-F5344CB8AC3E}">
        <p14:creationId xmlns:p14="http://schemas.microsoft.com/office/powerpoint/2010/main" val="15524721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lvl1pPr>
              <a:defRPr smtClean="0"/>
            </a:lvl1pPr>
          </a:lstStyle>
          <a:p>
            <a:pPr>
              <a:defRPr/>
            </a:pPr>
            <a:fld id="{732B0B5D-03F2-4645-AB52-D8CEAF7A807A}" type="datetime1">
              <a:rPr lang="id-ID" altLang="id-ID"/>
              <a:pPr>
                <a:defRPr/>
              </a:pPr>
              <a:t>21/10/2015</a:t>
            </a:fld>
            <a:endParaRPr lang="id-ID" altLang="id-ID"/>
          </a:p>
        </p:txBody>
      </p:sp>
      <p:sp>
        <p:nvSpPr>
          <p:cNvPr id="5" name="Footer Placeholder 4"/>
          <p:cNvSpPr>
            <a:spLocks noGrp="1"/>
          </p:cNvSpPr>
          <p:nvPr>
            <p:ph type="ftr" sz="quarter" idx="11"/>
          </p:nvPr>
        </p:nvSpPr>
        <p:spPr/>
        <p:txBody>
          <a:bodyPr/>
          <a:lstStyle>
            <a:lvl1pPr>
              <a:defRPr/>
            </a:lvl1pPr>
          </a:lstStyle>
          <a:p>
            <a:pPr>
              <a:defRPr/>
            </a:pPr>
            <a:endParaRPr lang="id-ID"/>
          </a:p>
        </p:txBody>
      </p:sp>
      <p:sp>
        <p:nvSpPr>
          <p:cNvPr id="6" name="Slide Number Placeholder 5"/>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3D093C96-DD62-47B6-8E9E-FF22CCAA1E5E}" type="slidenum">
              <a:rPr lang="id-ID" altLang="id-ID"/>
              <a:pPr>
                <a:defRPr/>
              </a:pPr>
              <a:t>‹#›</a:t>
            </a:fld>
            <a:endParaRPr lang="id-ID" altLang="id-ID"/>
          </a:p>
        </p:txBody>
      </p:sp>
    </p:spTree>
    <p:extLst>
      <p:ext uri="{BB962C8B-B14F-4D97-AF65-F5344CB8AC3E}">
        <p14:creationId xmlns:p14="http://schemas.microsoft.com/office/powerpoint/2010/main" val="37557103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smtClean="0"/>
            </a:lvl1pPr>
          </a:lstStyle>
          <a:p>
            <a:pPr>
              <a:defRPr/>
            </a:pPr>
            <a:fld id="{56662EE2-1FAC-40A3-A0B8-A7E17785ADB9}" type="datetime1">
              <a:rPr lang="id-ID" altLang="id-ID"/>
              <a:pPr>
                <a:defRPr/>
              </a:pPr>
              <a:t>21/10/2015</a:t>
            </a:fld>
            <a:endParaRPr lang="en-US" altLang="id-ID"/>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9F6D7EEA-0397-4D17-8BA5-FFB5A28A920C}" type="slidenum">
              <a:rPr lang="en-US" altLang="id-ID"/>
              <a:pPr>
                <a:defRPr/>
              </a:pPr>
              <a:t>‹#›</a:t>
            </a:fld>
            <a:endParaRPr lang="en-US" altLang="id-ID"/>
          </a:p>
        </p:txBody>
      </p:sp>
    </p:spTree>
    <p:extLst>
      <p:ext uri="{BB962C8B-B14F-4D97-AF65-F5344CB8AC3E}">
        <p14:creationId xmlns:p14="http://schemas.microsoft.com/office/powerpoint/2010/main" val="3690458257"/>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600206"/>
            <a:ext cx="8229600" cy="4525963"/>
          </a:xfrm>
        </p:spPr>
        <p:txBody>
          <a:bodyPr/>
          <a:lstStyle>
            <a:lvl1pPr>
              <a:buNone/>
              <a:defRPr b="0">
                <a:solidFill>
                  <a:schemeClr val="tx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0"/>
          </p:nvPr>
        </p:nvSpPr>
        <p:spPr>
          <a:xfrm>
            <a:off x="228600" y="533400"/>
            <a:ext cx="8686800" cy="914400"/>
          </a:xfrm>
        </p:spPr>
        <p:txBody>
          <a:bodyPr/>
          <a:lstStyle>
            <a:lvl1pPr>
              <a:buNone/>
              <a:defRPr sz="2000" b="1" i="1">
                <a:solidFill>
                  <a:srgbClr val="C00000"/>
                </a:solidFill>
              </a:defRPr>
            </a:lvl1pPr>
          </a:lstStyle>
          <a:p>
            <a:pPr lvl="0"/>
            <a:r>
              <a:rPr lang="en-US" smtClean="0"/>
              <a:t>Click to edit Master text styles</a:t>
            </a:r>
          </a:p>
        </p:txBody>
      </p:sp>
    </p:spTree>
    <p:extLst>
      <p:ext uri="{BB962C8B-B14F-4D97-AF65-F5344CB8AC3E}">
        <p14:creationId xmlns:p14="http://schemas.microsoft.com/office/powerpoint/2010/main" val="3292133862"/>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600206"/>
            <a:ext cx="8229600" cy="4525963"/>
          </a:xfrm>
        </p:spPr>
        <p:txBody>
          <a:bodyPr/>
          <a:lstStyle>
            <a:lvl1pPr>
              <a:buNone/>
              <a:defRPr b="0">
                <a:solidFill>
                  <a:schemeClr val="tx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0"/>
          </p:nvPr>
        </p:nvSpPr>
        <p:spPr>
          <a:xfrm>
            <a:off x="228600" y="533400"/>
            <a:ext cx="8686800" cy="914400"/>
          </a:xfrm>
        </p:spPr>
        <p:txBody>
          <a:bodyPr/>
          <a:lstStyle>
            <a:lvl1pPr>
              <a:buNone/>
              <a:defRPr b="1" i="1">
                <a:solidFill>
                  <a:srgbClr val="C00000"/>
                </a:solidFill>
              </a:defRPr>
            </a:lvl1pPr>
          </a:lstStyle>
          <a:p>
            <a:pPr lvl="0"/>
            <a:r>
              <a:rPr lang="en-US" smtClean="0"/>
              <a:t>Click to edit Master text styles</a:t>
            </a:r>
          </a:p>
        </p:txBody>
      </p:sp>
    </p:spTree>
    <p:extLst>
      <p:ext uri="{BB962C8B-B14F-4D97-AF65-F5344CB8AC3E}">
        <p14:creationId xmlns:p14="http://schemas.microsoft.com/office/powerpoint/2010/main" val="3591549918"/>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Date Placeholder 2"/>
          <p:cNvSpPr>
            <a:spLocks noGrp="1"/>
          </p:cNvSpPr>
          <p:nvPr>
            <p:ph type="dt" sz="half" idx="10"/>
          </p:nvPr>
        </p:nvSpPr>
        <p:spPr/>
        <p:txBody>
          <a:bodyPr/>
          <a:lstStyle>
            <a:lvl1pPr>
              <a:defRPr smtClean="0"/>
            </a:lvl1pPr>
          </a:lstStyle>
          <a:p>
            <a:pPr>
              <a:defRPr/>
            </a:pPr>
            <a:fld id="{06A43BFA-11A6-430C-B322-D0D1BC8C2D21}" type="datetime1">
              <a:rPr lang="id-ID" altLang="id-ID"/>
              <a:pPr>
                <a:defRPr/>
              </a:pPr>
              <a:t>21/10/2015</a:t>
            </a:fld>
            <a:endParaRPr lang="en-US" altLang="id-ID"/>
          </a:p>
        </p:txBody>
      </p:sp>
      <p:sp>
        <p:nvSpPr>
          <p:cNvPr id="3" name="Footer Placeholder 3"/>
          <p:cNvSpPr>
            <a:spLocks noGrp="1"/>
          </p:cNvSpPr>
          <p:nvPr>
            <p:ph type="ftr" sz="quarter" idx="11"/>
          </p:nvPr>
        </p:nvSpPr>
        <p:spPr/>
        <p:txBody>
          <a:bodyPr/>
          <a:lstStyle>
            <a:lvl1pPr>
              <a:defRPr/>
            </a:lvl1pPr>
          </a:lstStyle>
          <a:p>
            <a:pPr>
              <a:defRPr/>
            </a:pPr>
            <a:endParaRPr lang="en-US"/>
          </a:p>
        </p:txBody>
      </p:sp>
      <p:sp>
        <p:nvSpPr>
          <p:cNvPr id="4" name="Slide Number Placeholder 4"/>
          <p:cNvSpPr>
            <a:spLocks noGrp="1"/>
          </p:cNvSpPr>
          <p:nvPr>
            <p:ph type="sldNum" sz="quarter" idx="12"/>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981CDE39-599E-4E81-B4B7-8FEC91956132}" type="slidenum">
              <a:rPr lang="en-US" altLang="id-ID"/>
              <a:pPr>
                <a:defRPr/>
              </a:pPr>
              <a:t>‹#›</a:t>
            </a:fld>
            <a:endParaRPr lang="en-US" altLang="id-ID"/>
          </a:p>
        </p:txBody>
      </p:sp>
    </p:spTree>
    <p:extLst>
      <p:ext uri="{BB962C8B-B14F-4D97-AF65-F5344CB8AC3E}">
        <p14:creationId xmlns:p14="http://schemas.microsoft.com/office/powerpoint/2010/main" val="1343930595"/>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457200"/>
          </a:xfrm>
        </p:spPr>
        <p:txBody>
          <a:bodyPr>
            <a:noAutofit/>
          </a:bodyPr>
          <a:lstStyle>
            <a:lvl1pPr algn="l">
              <a:defRPr sz="2800" b="1">
                <a:solidFill>
                  <a:schemeClr val="bg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228600" y="1600206"/>
            <a:ext cx="8686800" cy="4525963"/>
          </a:xfrm>
        </p:spPr>
        <p:txBody>
          <a:bodyPr/>
          <a:lstStyle>
            <a:lvl1pPr>
              <a:buNone/>
              <a:defRPr sz="2800" b="0">
                <a:solidFill>
                  <a:schemeClr val="tx1"/>
                </a:solidFill>
              </a:defRPr>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10"/>
          </p:nvPr>
        </p:nvSpPr>
        <p:spPr>
          <a:xfrm>
            <a:off x="228600" y="762000"/>
            <a:ext cx="8686800" cy="457200"/>
          </a:xfrm>
        </p:spPr>
        <p:txBody>
          <a:bodyPr/>
          <a:lstStyle>
            <a:lvl1pPr>
              <a:buNone/>
              <a:defRPr sz="1800" i="1"/>
            </a:lvl1pPr>
          </a:lstStyle>
          <a:p>
            <a:pPr lvl="0"/>
            <a:r>
              <a:rPr lang="en-US" dirty="0" smtClean="0"/>
              <a:t>Click to edit Master text styles</a:t>
            </a:r>
          </a:p>
        </p:txBody>
      </p:sp>
    </p:spTree>
    <p:extLst>
      <p:ext uri="{BB962C8B-B14F-4D97-AF65-F5344CB8AC3E}">
        <p14:creationId xmlns:p14="http://schemas.microsoft.com/office/powerpoint/2010/main" val="29752083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smtClean="0">
                <a:solidFill>
                  <a:srgbClr val="000000"/>
                </a:solidFill>
              </a:defRPr>
            </a:lvl1pPr>
          </a:lstStyle>
          <a:p>
            <a:pPr>
              <a:defRPr/>
            </a:pPr>
            <a:fld id="{13564145-C857-4C56-95B9-9372E77F10F4}" type="datetime1">
              <a:rPr lang="en-US" altLang="id-ID"/>
              <a:pPr>
                <a:defRPr/>
              </a:pPr>
              <a:t>10/21/2015</a:t>
            </a:fld>
            <a:endParaRPr lang="en-US" altLang="id-ID"/>
          </a:p>
        </p:txBody>
      </p:sp>
      <p:sp>
        <p:nvSpPr>
          <p:cNvPr id="5" name="Footer Placeholder 4"/>
          <p:cNvSpPr>
            <a:spLocks noGrp="1"/>
          </p:cNvSpPr>
          <p:nvPr>
            <p:ph type="ftr" sz="quarter" idx="11"/>
          </p:nvPr>
        </p:nvSpPr>
        <p:spPr/>
        <p:txBody>
          <a:bodyPr/>
          <a:lstStyle>
            <a:lvl1pPr fontAlgn="auto">
              <a:spcBef>
                <a:spcPts val="0"/>
              </a:spcBef>
              <a:spcAft>
                <a:spcPts val="0"/>
              </a:spcAft>
              <a:defRPr>
                <a:solidFill>
                  <a:prstClr val="black"/>
                </a:solidFill>
                <a:latin typeface="+mn-lt"/>
                <a:cs typeface="Arial" pitchFamily="34" charset="0"/>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solidFill>
                  <a:prstClr val="black"/>
                </a:solidFill>
                <a:latin typeface="+mn-lt"/>
                <a:ea typeface="+mn-ea"/>
                <a:cs typeface="Arial" pitchFamily="34" charset="0"/>
              </a:defRPr>
            </a:lvl1pPr>
          </a:lstStyle>
          <a:p>
            <a:pPr>
              <a:defRPr/>
            </a:pPr>
            <a:r>
              <a:rPr lang="en-US"/>
              <a:t>kna</a:t>
            </a:r>
          </a:p>
        </p:txBody>
      </p:sp>
    </p:spTree>
    <p:extLst>
      <p:ext uri="{BB962C8B-B14F-4D97-AF65-F5344CB8AC3E}">
        <p14:creationId xmlns:p14="http://schemas.microsoft.com/office/powerpoint/2010/main" val="20239698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8"/>
          <p:cNvSpPr>
            <a:spLocks noChangeArrowheads="1"/>
          </p:cNvSpPr>
          <p:nvPr userDrawn="1"/>
        </p:nvSpPr>
        <p:spPr bwMode="auto">
          <a:xfrm>
            <a:off x="149225" y="6543675"/>
            <a:ext cx="8994775" cy="314325"/>
          </a:xfrm>
          <a:prstGeom prst="rect">
            <a:avLst/>
          </a:prstGeom>
          <a:solidFill>
            <a:srgbClr val="00357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endParaRPr lang="id-ID" altLang="id-ID" smtClean="0">
              <a:solidFill>
                <a:srgbClr val="000000"/>
              </a:solidFill>
              <a:latin typeface="Georgia" pitchFamily="18" charset="0"/>
            </a:endParaRPr>
          </a:p>
        </p:txBody>
      </p:sp>
      <p:grpSp>
        <p:nvGrpSpPr>
          <p:cNvPr id="3" name="Group 9"/>
          <p:cNvGrpSpPr>
            <a:grpSpLocks/>
          </p:cNvGrpSpPr>
          <p:nvPr userDrawn="1"/>
        </p:nvGrpSpPr>
        <p:grpSpPr bwMode="auto">
          <a:xfrm>
            <a:off x="-17463" y="6543675"/>
            <a:ext cx="1006476" cy="314325"/>
            <a:chOff x="-47297" y="6542993"/>
            <a:chExt cx="1003300" cy="315119"/>
          </a:xfrm>
        </p:grpSpPr>
        <p:sp>
          <p:nvSpPr>
            <p:cNvPr id="4" name="Rectangle 10"/>
            <p:cNvSpPr>
              <a:spLocks noChangeArrowheads="1"/>
            </p:cNvSpPr>
            <p:nvPr userDrawn="1"/>
          </p:nvSpPr>
          <p:spPr bwMode="auto">
            <a:xfrm>
              <a:off x="-47297" y="6542993"/>
              <a:ext cx="1003300" cy="315119"/>
            </a:xfrm>
            <a:prstGeom prst="rect">
              <a:avLst/>
            </a:prstGeom>
            <a:solidFill>
              <a:srgbClr val="801D28"/>
            </a:solidFill>
            <a:ln>
              <a:noFill/>
            </a:ln>
            <a:extLst>
              <a:ext uri="{91240B29-F687-4F45-9708-019B960494DF}">
                <a14:hiddenLine xmlns:a14="http://schemas.microsoft.com/office/drawing/2010/main" w="11429">
                  <a:solidFill>
                    <a:srgbClr val="000000"/>
                  </a:solidFill>
                  <a:prstDash val="sysDash"/>
                  <a:miter lim="800000"/>
                  <a:headEnd/>
                  <a:tailEnd/>
                </a14:hiddenLine>
              </a:ext>
            </a:extLst>
          </p:spPr>
          <p:txBody>
            <a:bodyPr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endParaRPr lang="id-ID" altLang="id-ID" sz="1800" smtClean="0">
                <a:solidFill>
                  <a:srgbClr val="FFFFFF"/>
                </a:solidFill>
                <a:latin typeface="Georgia" pitchFamily="18" charset="0"/>
              </a:endParaRPr>
            </a:p>
          </p:txBody>
        </p:sp>
        <p:pic>
          <p:nvPicPr>
            <p:cNvPr id="5"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7041" y="6631095"/>
              <a:ext cx="203675" cy="150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userDrawn="1"/>
          </p:nvSpPr>
          <p:spPr>
            <a:xfrm>
              <a:off x="107788" y="6613019"/>
              <a:ext cx="843467" cy="198939"/>
            </a:xfrm>
            <a:prstGeom prst="rect">
              <a:avLst/>
            </a:prstGeom>
            <a:noFill/>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id-ID" sz="700" b="1" smtClean="0">
                  <a:solidFill>
                    <a:srgbClr val="FFFFFF"/>
                  </a:solidFill>
                  <a:effectLst>
                    <a:outerShdw blurRad="38100" dist="38100" dir="2700000" algn="tl">
                      <a:srgbClr val="C0C0C0"/>
                    </a:outerShdw>
                  </a:effectLst>
                  <a:latin typeface="Arial" pitchFamily="34" charset="0"/>
                  <a:cs typeface="Arial" pitchFamily="34" charset="0"/>
                </a:rPr>
                <a:t>Bank Indonesia</a:t>
              </a:r>
            </a:p>
          </p:txBody>
        </p:sp>
      </p:grpSp>
    </p:spTree>
    <p:extLst>
      <p:ext uri="{BB962C8B-B14F-4D97-AF65-F5344CB8AC3E}">
        <p14:creationId xmlns:p14="http://schemas.microsoft.com/office/powerpoint/2010/main" val="3543362211"/>
      </p:ext>
    </p:extLst>
  </p:cSld>
  <p:clrMapOvr>
    <a:masterClrMapping/>
  </p:clrMapOvr>
  <p:transition/>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8BCC52B8-6F42-433E-911F-08C1CE7D08BF}" type="slidenum">
              <a:rPr lang="en-US" altLang="id-ID"/>
              <a:pPr>
                <a:defRPr/>
              </a:pPr>
              <a:t>‹#›</a:t>
            </a:fld>
            <a:endParaRPr lang="en-US" altLang="id-ID"/>
          </a:p>
        </p:txBody>
      </p:sp>
    </p:spTree>
    <p:extLst>
      <p:ext uri="{BB962C8B-B14F-4D97-AF65-F5344CB8AC3E}">
        <p14:creationId xmlns:p14="http://schemas.microsoft.com/office/powerpoint/2010/main" val="20908431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457200"/>
          </a:xfrm>
        </p:spPr>
        <p:txBody>
          <a:bodyPr>
            <a:noAutofit/>
          </a:bodyPr>
          <a:lstStyle>
            <a:lvl1pPr algn="l">
              <a:defRPr sz="2800" b="1">
                <a:solidFill>
                  <a:schemeClr val="bg1"/>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228600" y="1600206"/>
            <a:ext cx="8686800" cy="4525963"/>
          </a:xfrm>
        </p:spPr>
        <p:txBody>
          <a:bodyPr/>
          <a:lstStyle>
            <a:lvl1pPr>
              <a:buNone/>
              <a:defRPr sz="2800" b="0">
                <a:solidFill>
                  <a:schemeClr val="tx1"/>
                </a:solidFill>
              </a:defRPr>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10"/>
          </p:nvPr>
        </p:nvSpPr>
        <p:spPr>
          <a:xfrm>
            <a:off x="228600" y="762000"/>
            <a:ext cx="8686800" cy="457200"/>
          </a:xfrm>
        </p:spPr>
        <p:txBody>
          <a:bodyPr/>
          <a:lstStyle>
            <a:lvl1pPr>
              <a:buNone/>
              <a:defRPr sz="1800" i="1"/>
            </a:lvl1pPr>
          </a:lstStyle>
          <a:p>
            <a:pPr lvl="0"/>
            <a:r>
              <a:rPr lang="en-US" dirty="0" smtClean="0"/>
              <a:t>Click to edit Master text styles</a:t>
            </a:r>
          </a:p>
        </p:txBody>
      </p:sp>
    </p:spTree>
    <p:extLst>
      <p:ext uri="{BB962C8B-B14F-4D97-AF65-F5344CB8AC3E}">
        <p14:creationId xmlns:p14="http://schemas.microsoft.com/office/powerpoint/2010/main" val="10526923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fld id="{58832114-7A81-451F-B13D-EAA469372665}" type="datetime1">
              <a:rPr lang="en-US" altLang="id-ID"/>
              <a:pPr>
                <a:defRPr/>
              </a:pPr>
              <a:t>10/21/2015</a:t>
            </a:fld>
            <a:endParaRPr lang="en-US" altLang="id-ID"/>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E540B676-34DD-4930-BE01-5EBD555A3339}" type="slidenum">
              <a:rPr lang="en-US" altLang="id-ID"/>
              <a:pPr>
                <a:defRPr/>
              </a:pPr>
              <a:t>‹#›</a:t>
            </a:fld>
            <a:endParaRPr lang="en-US" altLang="id-ID"/>
          </a:p>
        </p:txBody>
      </p:sp>
    </p:spTree>
    <p:extLst>
      <p:ext uri="{BB962C8B-B14F-4D97-AF65-F5344CB8AC3E}">
        <p14:creationId xmlns:p14="http://schemas.microsoft.com/office/powerpoint/2010/main" val="3256804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0116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pic>
        <p:nvPicPr>
          <p:cNvPr id="5" name="Picture 4" descr="H:\Δ Apik Δ\GMBR dwnload\BTA.jpg"/>
          <p:cNvPicPr/>
          <p:nvPr userDrawn="1"/>
        </p:nvPicPr>
        <p:blipFill>
          <a:blip r:embed="rId2" cstate="print">
            <a:duotone>
              <a:schemeClr val="accent1">
                <a:shade val="45000"/>
                <a:satMod val="135000"/>
              </a:schemeClr>
              <a:prstClr val="white"/>
            </a:duotone>
            <a:extLst/>
          </a:blip>
          <a:srcRect/>
          <a:stretch>
            <a:fillRect/>
          </a:stretch>
        </p:blipFill>
        <p:spPr bwMode="auto">
          <a:xfrm>
            <a:off x="-13252" y="-15766"/>
            <a:ext cx="9157252" cy="6858000"/>
          </a:xfrm>
          <a:prstGeom prst="rect">
            <a:avLst/>
          </a:prstGeom>
          <a:noFill/>
          <a:ln w="9525">
            <a:noFill/>
            <a:miter lim="800000"/>
            <a:headEnd/>
            <a:tailEnd/>
          </a:ln>
        </p:spPr>
      </p:pic>
      <p:grpSp>
        <p:nvGrpSpPr>
          <p:cNvPr id="6" name="Group 5"/>
          <p:cNvGrpSpPr>
            <a:grpSpLocks/>
          </p:cNvGrpSpPr>
          <p:nvPr userDrawn="1"/>
        </p:nvGrpSpPr>
        <p:grpSpPr bwMode="auto">
          <a:xfrm>
            <a:off x="6461234" y="5871303"/>
            <a:ext cx="2559094" cy="868459"/>
            <a:chOff x="1566" y="164"/>
            <a:chExt cx="1455" cy="425"/>
          </a:xfrm>
          <a:solidFill>
            <a:schemeClr val="bg1">
              <a:lumMod val="65000"/>
            </a:schemeClr>
          </a:solidFill>
        </p:grpSpPr>
        <p:sp>
          <p:nvSpPr>
            <p:cNvPr id="7" name="Freeform 6"/>
            <p:cNvSpPr>
              <a:spLocks/>
            </p:cNvSpPr>
            <p:nvPr/>
          </p:nvSpPr>
          <p:spPr bwMode="gray">
            <a:xfrm>
              <a:off x="1892" y="468"/>
              <a:ext cx="39" cy="121"/>
            </a:xfrm>
            <a:custGeom>
              <a:avLst/>
              <a:gdLst/>
              <a:ahLst/>
              <a:cxnLst>
                <a:cxn ang="0">
                  <a:pos x="37" y="36"/>
                </a:cxn>
                <a:cxn ang="0">
                  <a:pos x="35" y="36"/>
                </a:cxn>
                <a:cxn ang="0">
                  <a:pos x="30" y="36"/>
                </a:cxn>
                <a:cxn ang="0">
                  <a:pos x="22" y="34"/>
                </a:cxn>
                <a:cxn ang="0">
                  <a:pos x="15" y="30"/>
                </a:cxn>
                <a:cxn ang="0">
                  <a:pos x="7" y="23"/>
                </a:cxn>
                <a:cxn ang="0">
                  <a:pos x="3" y="13"/>
                </a:cxn>
                <a:cxn ang="0">
                  <a:pos x="0" y="0"/>
                </a:cxn>
                <a:cxn ang="0">
                  <a:pos x="3" y="0"/>
                </a:cxn>
                <a:cxn ang="0">
                  <a:pos x="7" y="1"/>
                </a:cxn>
                <a:cxn ang="0">
                  <a:pos x="15" y="3"/>
                </a:cxn>
                <a:cxn ang="0">
                  <a:pos x="23" y="5"/>
                </a:cxn>
                <a:cxn ang="0">
                  <a:pos x="30" y="11"/>
                </a:cxn>
                <a:cxn ang="0">
                  <a:pos x="37" y="20"/>
                </a:cxn>
                <a:cxn ang="0">
                  <a:pos x="39" y="34"/>
                </a:cxn>
                <a:cxn ang="0">
                  <a:pos x="39" y="121"/>
                </a:cxn>
                <a:cxn ang="0">
                  <a:pos x="37" y="121"/>
                </a:cxn>
                <a:cxn ang="0">
                  <a:pos x="37" y="36"/>
                </a:cxn>
              </a:cxnLst>
              <a:rect l="0" t="0" r="r" b="b"/>
              <a:pathLst>
                <a:path w="39" h="121">
                  <a:moveTo>
                    <a:pt x="37" y="36"/>
                  </a:moveTo>
                  <a:lnTo>
                    <a:pt x="35" y="36"/>
                  </a:lnTo>
                  <a:lnTo>
                    <a:pt x="30" y="36"/>
                  </a:lnTo>
                  <a:lnTo>
                    <a:pt x="22" y="34"/>
                  </a:lnTo>
                  <a:lnTo>
                    <a:pt x="15" y="30"/>
                  </a:lnTo>
                  <a:lnTo>
                    <a:pt x="7" y="23"/>
                  </a:lnTo>
                  <a:lnTo>
                    <a:pt x="3" y="13"/>
                  </a:lnTo>
                  <a:lnTo>
                    <a:pt x="0" y="0"/>
                  </a:lnTo>
                  <a:lnTo>
                    <a:pt x="3" y="0"/>
                  </a:lnTo>
                  <a:lnTo>
                    <a:pt x="7" y="1"/>
                  </a:lnTo>
                  <a:lnTo>
                    <a:pt x="15" y="3"/>
                  </a:lnTo>
                  <a:lnTo>
                    <a:pt x="23" y="5"/>
                  </a:lnTo>
                  <a:lnTo>
                    <a:pt x="30" y="11"/>
                  </a:lnTo>
                  <a:lnTo>
                    <a:pt x="37" y="20"/>
                  </a:lnTo>
                  <a:lnTo>
                    <a:pt x="39" y="34"/>
                  </a:lnTo>
                  <a:lnTo>
                    <a:pt x="39" y="121"/>
                  </a:lnTo>
                  <a:lnTo>
                    <a:pt x="37" y="121"/>
                  </a:lnTo>
                  <a:lnTo>
                    <a:pt x="37" y="36"/>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8" name="Freeform 7"/>
            <p:cNvSpPr>
              <a:spLocks/>
            </p:cNvSpPr>
            <p:nvPr/>
          </p:nvSpPr>
          <p:spPr bwMode="gray">
            <a:xfrm>
              <a:off x="2271" y="450"/>
              <a:ext cx="45" cy="139"/>
            </a:xfrm>
            <a:custGeom>
              <a:avLst/>
              <a:gdLst/>
              <a:ahLst/>
              <a:cxnLst>
                <a:cxn ang="0">
                  <a:pos x="3" y="42"/>
                </a:cxn>
                <a:cxn ang="0">
                  <a:pos x="6" y="42"/>
                </a:cxn>
                <a:cxn ang="0">
                  <a:pos x="12" y="42"/>
                </a:cxn>
                <a:cxn ang="0">
                  <a:pos x="20" y="39"/>
                </a:cxn>
                <a:cxn ang="0">
                  <a:pos x="29" y="35"/>
                </a:cxn>
                <a:cxn ang="0">
                  <a:pos x="37" y="27"/>
                </a:cxn>
                <a:cxn ang="0">
                  <a:pos x="43" y="17"/>
                </a:cxn>
                <a:cxn ang="0">
                  <a:pos x="45" y="2"/>
                </a:cxn>
                <a:cxn ang="0">
                  <a:pos x="43" y="0"/>
                </a:cxn>
                <a:cxn ang="0">
                  <a:pos x="37" y="2"/>
                </a:cxn>
                <a:cxn ang="0">
                  <a:pos x="29" y="3"/>
                </a:cxn>
                <a:cxn ang="0">
                  <a:pos x="19" y="7"/>
                </a:cxn>
                <a:cxn ang="0">
                  <a:pos x="11" y="14"/>
                </a:cxn>
                <a:cxn ang="0">
                  <a:pos x="4" y="23"/>
                </a:cxn>
                <a:cxn ang="0">
                  <a:pos x="0" y="39"/>
                </a:cxn>
                <a:cxn ang="0">
                  <a:pos x="0" y="139"/>
                </a:cxn>
                <a:cxn ang="0">
                  <a:pos x="3" y="139"/>
                </a:cxn>
                <a:cxn ang="0">
                  <a:pos x="3" y="42"/>
                </a:cxn>
              </a:cxnLst>
              <a:rect l="0" t="0" r="r" b="b"/>
              <a:pathLst>
                <a:path w="45" h="139">
                  <a:moveTo>
                    <a:pt x="3" y="42"/>
                  </a:moveTo>
                  <a:lnTo>
                    <a:pt x="6" y="42"/>
                  </a:lnTo>
                  <a:lnTo>
                    <a:pt x="12" y="42"/>
                  </a:lnTo>
                  <a:lnTo>
                    <a:pt x="20" y="39"/>
                  </a:lnTo>
                  <a:lnTo>
                    <a:pt x="29" y="35"/>
                  </a:lnTo>
                  <a:lnTo>
                    <a:pt x="37" y="27"/>
                  </a:lnTo>
                  <a:lnTo>
                    <a:pt x="43" y="17"/>
                  </a:lnTo>
                  <a:lnTo>
                    <a:pt x="45" y="2"/>
                  </a:lnTo>
                  <a:lnTo>
                    <a:pt x="43" y="0"/>
                  </a:lnTo>
                  <a:lnTo>
                    <a:pt x="37" y="2"/>
                  </a:lnTo>
                  <a:lnTo>
                    <a:pt x="29" y="3"/>
                  </a:lnTo>
                  <a:lnTo>
                    <a:pt x="19" y="7"/>
                  </a:lnTo>
                  <a:lnTo>
                    <a:pt x="11" y="14"/>
                  </a:lnTo>
                  <a:lnTo>
                    <a:pt x="4" y="23"/>
                  </a:lnTo>
                  <a:lnTo>
                    <a:pt x="0" y="39"/>
                  </a:lnTo>
                  <a:lnTo>
                    <a:pt x="0" y="139"/>
                  </a:lnTo>
                  <a:lnTo>
                    <a:pt x="3" y="139"/>
                  </a:lnTo>
                  <a:lnTo>
                    <a:pt x="3" y="4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9" name="Freeform 8"/>
            <p:cNvSpPr>
              <a:spLocks/>
            </p:cNvSpPr>
            <p:nvPr/>
          </p:nvSpPr>
          <p:spPr bwMode="gray">
            <a:xfrm>
              <a:off x="1765" y="378"/>
              <a:ext cx="146" cy="211"/>
            </a:xfrm>
            <a:custGeom>
              <a:avLst/>
              <a:gdLst/>
              <a:ahLst/>
              <a:cxnLst>
                <a:cxn ang="0">
                  <a:pos x="68" y="67"/>
                </a:cxn>
                <a:cxn ang="0">
                  <a:pos x="67" y="67"/>
                </a:cxn>
                <a:cxn ang="0">
                  <a:pos x="60" y="66"/>
                </a:cxn>
                <a:cxn ang="0">
                  <a:pos x="50" y="64"/>
                </a:cxn>
                <a:cxn ang="0">
                  <a:pos x="41" y="62"/>
                </a:cxn>
                <a:cxn ang="0">
                  <a:pos x="29" y="55"/>
                </a:cxn>
                <a:cxn ang="0">
                  <a:pos x="18" y="47"/>
                </a:cxn>
                <a:cxn ang="0">
                  <a:pos x="10" y="35"/>
                </a:cxn>
                <a:cxn ang="0">
                  <a:pos x="3" y="20"/>
                </a:cxn>
                <a:cxn ang="0">
                  <a:pos x="0" y="0"/>
                </a:cxn>
                <a:cxn ang="0">
                  <a:pos x="3" y="0"/>
                </a:cxn>
                <a:cxn ang="0">
                  <a:pos x="10" y="0"/>
                </a:cxn>
                <a:cxn ang="0">
                  <a:pos x="19" y="0"/>
                </a:cxn>
                <a:cxn ang="0">
                  <a:pos x="30" y="2"/>
                </a:cxn>
                <a:cxn ang="0">
                  <a:pos x="41" y="6"/>
                </a:cxn>
                <a:cxn ang="0">
                  <a:pos x="53" y="14"/>
                </a:cxn>
                <a:cxn ang="0">
                  <a:pos x="62" y="25"/>
                </a:cxn>
                <a:cxn ang="0">
                  <a:pos x="69" y="41"/>
                </a:cxn>
                <a:cxn ang="0">
                  <a:pos x="73" y="62"/>
                </a:cxn>
                <a:cxn ang="0">
                  <a:pos x="73" y="60"/>
                </a:cxn>
                <a:cxn ang="0">
                  <a:pos x="73" y="55"/>
                </a:cxn>
                <a:cxn ang="0">
                  <a:pos x="75" y="45"/>
                </a:cxn>
                <a:cxn ang="0">
                  <a:pos x="79" y="36"/>
                </a:cxn>
                <a:cxn ang="0">
                  <a:pos x="84" y="25"/>
                </a:cxn>
                <a:cxn ang="0">
                  <a:pos x="92" y="16"/>
                </a:cxn>
                <a:cxn ang="0">
                  <a:pos x="106" y="8"/>
                </a:cxn>
                <a:cxn ang="0">
                  <a:pos x="123" y="2"/>
                </a:cxn>
                <a:cxn ang="0">
                  <a:pos x="146" y="0"/>
                </a:cxn>
                <a:cxn ang="0">
                  <a:pos x="145" y="2"/>
                </a:cxn>
                <a:cxn ang="0">
                  <a:pos x="145" y="8"/>
                </a:cxn>
                <a:cxn ang="0">
                  <a:pos x="143" y="17"/>
                </a:cxn>
                <a:cxn ang="0">
                  <a:pos x="139" y="28"/>
                </a:cxn>
                <a:cxn ang="0">
                  <a:pos x="134" y="39"/>
                </a:cxn>
                <a:cxn ang="0">
                  <a:pos x="126" y="49"/>
                </a:cxn>
                <a:cxn ang="0">
                  <a:pos x="114" y="59"/>
                </a:cxn>
                <a:cxn ang="0">
                  <a:pos x="98" y="64"/>
                </a:cxn>
                <a:cxn ang="0">
                  <a:pos x="79" y="67"/>
                </a:cxn>
                <a:cxn ang="0">
                  <a:pos x="79" y="211"/>
                </a:cxn>
                <a:cxn ang="0">
                  <a:pos x="68" y="211"/>
                </a:cxn>
                <a:cxn ang="0">
                  <a:pos x="68" y="67"/>
                </a:cxn>
              </a:cxnLst>
              <a:rect l="0" t="0" r="r" b="b"/>
              <a:pathLst>
                <a:path w="146" h="211">
                  <a:moveTo>
                    <a:pt x="68" y="67"/>
                  </a:moveTo>
                  <a:lnTo>
                    <a:pt x="67" y="67"/>
                  </a:lnTo>
                  <a:lnTo>
                    <a:pt x="60" y="66"/>
                  </a:lnTo>
                  <a:lnTo>
                    <a:pt x="50" y="64"/>
                  </a:lnTo>
                  <a:lnTo>
                    <a:pt x="41" y="62"/>
                  </a:lnTo>
                  <a:lnTo>
                    <a:pt x="29" y="55"/>
                  </a:lnTo>
                  <a:lnTo>
                    <a:pt x="18" y="47"/>
                  </a:lnTo>
                  <a:lnTo>
                    <a:pt x="10" y="35"/>
                  </a:lnTo>
                  <a:lnTo>
                    <a:pt x="3" y="20"/>
                  </a:lnTo>
                  <a:lnTo>
                    <a:pt x="0" y="0"/>
                  </a:lnTo>
                  <a:lnTo>
                    <a:pt x="3" y="0"/>
                  </a:lnTo>
                  <a:lnTo>
                    <a:pt x="10" y="0"/>
                  </a:lnTo>
                  <a:lnTo>
                    <a:pt x="19" y="0"/>
                  </a:lnTo>
                  <a:lnTo>
                    <a:pt x="30" y="2"/>
                  </a:lnTo>
                  <a:lnTo>
                    <a:pt x="41" y="6"/>
                  </a:lnTo>
                  <a:lnTo>
                    <a:pt x="53" y="14"/>
                  </a:lnTo>
                  <a:lnTo>
                    <a:pt x="62" y="25"/>
                  </a:lnTo>
                  <a:lnTo>
                    <a:pt x="69" y="41"/>
                  </a:lnTo>
                  <a:lnTo>
                    <a:pt x="73" y="62"/>
                  </a:lnTo>
                  <a:lnTo>
                    <a:pt x="73" y="60"/>
                  </a:lnTo>
                  <a:lnTo>
                    <a:pt x="73" y="55"/>
                  </a:lnTo>
                  <a:lnTo>
                    <a:pt x="75" y="45"/>
                  </a:lnTo>
                  <a:lnTo>
                    <a:pt x="79" y="36"/>
                  </a:lnTo>
                  <a:lnTo>
                    <a:pt x="84" y="25"/>
                  </a:lnTo>
                  <a:lnTo>
                    <a:pt x="92" y="16"/>
                  </a:lnTo>
                  <a:lnTo>
                    <a:pt x="106" y="8"/>
                  </a:lnTo>
                  <a:lnTo>
                    <a:pt x="123" y="2"/>
                  </a:lnTo>
                  <a:lnTo>
                    <a:pt x="146" y="0"/>
                  </a:lnTo>
                  <a:lnTo>
                    <a:pt x="145" y="2"/>
                  </a:lnTo>
                  <a:lnTo>
                    <a:pt x="145" y="8"/>
                  </a:lnTo>
                  <a:lnTo>
                    <a:pt x="143" y="17"/>
                  </a:lnTo>
                  <a:lnTo>
                    <a:pt x="139" y="28"/>
                  </a:lnTo>
                  <a:lnTo>
                    <a:pt x="134" y="39"/>
                  </a:lnTo>
                  <a:lnTo>
                    <a:pt x="126" y="49"/>
                  </a:lnTo>
                  <a:lnTo>
                    <a:pt x="114" y="59"/>
                  </a:lnTo>
                  <a:lnTo>
                    <a:pt x="98" y="64"/>
                  </a:lnTo>
                  <a:lnTo>
                    <a:pt x="79" y="67"/>
                  </a:lnTo>
                  <a:lnTo>
                    <a:pt x="79" y="211"/>
                  </a:lnTo>
                  <a:lnTo>
                    <a:pt x="68" y="211"/>
                  </a:lnTo>
                  <a:lnTo>
                    <a:pt x="68"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0" name="Freeform 9"/>
            <p:cNvSpPr>
              <a:spLocks/>
            </p:cNvSpPr>
            <p:nvPr/>
          </p:nvSpPr>
          <p:spPr bwMode="gray">
            <a:xfrm>
              <a:off x="2792" y="378"/>
              <a:ext cx="144" cy="211"/>
            </a:xfrm>
            <a:custGeom>
              <a:avLst/>
              <a:gdLst/>
              <a:ahLst/>
              <a:cxnLst>
                <a:cxn ang="0">
                  <a:pos x="67" y="67"/>
                </a:cxn>
                <a:cxn ang="0">
                  <a:pos x="66" y="67"/>
                </a:cxn>
                <a:cxn ang="0">
                  <a:pos x="59" y="66"/>
                </a:cxn>
                <a:cxn ang="0">
                  <a:pos x="50" y="64"/>
                </a:cxn>
                <a:cxn ang="0">
                  <a:pos x="39" y="62"/>
                </a:cxn>
                <a:cxn ang="0">
                  <a:pos x="28" y="55"/>
                </a:cxn>
                <a:cxn ang="0">
                  <a:pos x="17" y="47"/>
                </a:cxn>
                <a:cxn ang="0">
                  <a:pos x="9" y="35"/>
                </a:cxn>
                <a:cxn ang="0">
                  <a:pos x="2" y="20"/>
                </a:cxn>
                <a:cxn ang="0">
                  <a:pos x="0" y="0"/>
                </a:cxn>
                <a:cxn ang="0">
                  <a:pos x="2" y="0"/>
                </a:cxn>
                <a:cxn ang="0">
                  <a:pos x="9" y="0"/>
                </a:cxn>
                <a:cxn ang="0">
                  <a:pos x="17" y="0"/>
                </a:cxn>
                <a:cxn ang="0">
                  <a:pos x="28" y="2"/>
                </a:cxn>
                <a:cxn ang="0">
                  <a:pos x="40" y="6"/>
                </a:cxn>
                <a:cxn ang="0">
                  <a:pos x="51" y="14"/>
                </a:cxn>
                <a:cxn ang="0">
                  <a:pos x="62" y="25"/>
                </a:cxn>
                <a:cxn ang="0">
                  <a:pos x="69" y="41"/>
                </a:cxn>
                <a:cxn ang="0">
                  <a:pos x="73" y="62"/>
                </a:cxn>
                <a:cxn ang="0">
                  <a:pos x="73" y="60"/>
                </a:cxn>
                <a:cxn ang="0">
                  <a:pos x="73" y="55"/>
                </a:cxn>
                <a:cxn ang="0">
                  <a:pos x="74" y="45"/>
                </a:cxn>
                <a:cxn ang="0">
                  <a:pos x="77" y="36"/>
                </a:cxn>
                <a:cxn ang="0">
                  <a:pos x="82" y="25"/>
                </a:cxn>
                <a:cxn ang="0">
                  <a:pos x="91" y="16"/>
                </a:cxn>
                <a:cxn ang="0">
                  <a:pos x="105" y="8"/>
                </a:cxn>
                <a:cxn ang="0">
                  <a:pos x="121" y="2"/>
                </a:cxn>
                <a:cxn ang="0">
                  <a:pos x="144" y="0"/>
                </a:cxn>
                <a:cxn ang="0">
                  <a:pos x="144" y="2"/>
                </a:cxn>
                <a:cxn ang="0">
                  <a:pos x="144" y="8"/>
                </a:cxn>
                <a:cxn ang="0">
                  <a:pos x="141" y="17"/>
                </a:cxn>
                <a:cxn ang="0">
                  <a:pos x="139" y="28"/>
                </a:cxn>
                <a:cxn ang="0">
                  <a:pos x="133" y="39"/>
                </a:cxn>
                <a:cxn ang="0">
                  <a:pos x="125" y="49"/>
                </a:cxn>
                <a:cxn ang="0">
                  <a:pos x="113" y="59"/>
                </a:cxn>
                <a:cxn ang="0">
                  <a:pos x="97" y="64"/>
                </a:cxn>
                <a:cxn ang="0">
                  <a:pos x="77" y="67"/>
                </a:cxn>
                <a:cxn ang="0">
                  <a:pos x="77" y="211"/>
                </a:cxn>
                <a:cxn ang="0">
                  <a:pos x="67" y="211"/>
                </a:cxn>
                <a:cxn ang="0">
                  <a:pos x="67" y="67"/>
                </a:cxn>
              </a:cxnLst>
              <a:rect l="0" t="0" r="r" b="b"/>
              <a:pathLst>
                <a:path w="144" h="211">
                  <a:moveTo>
                    <a:pt x="67" y="67"/>
                  </a:moveTo>
                  <a:lnTo>
                    <a:pt x="66" y="67"/>
                  </a:lnTo>
                  <a:lnTo>
                    <a:pt x="59" y="66"/>
                  </a:lnTo>
                  <a:lnTo>
                    <a:pt x="50" y="64"/>
                  </a:lnTo>
                  <a:lnTo>
                    <a:pt x="39" y="62"/>
                  </a:lnTo>
                  <a:lnTo>
                    <a:pt x="28" y="55"/>
                  </a:lnTo>
                  <a:lnTo>
                    <a:pt x="17" y="47"/>
                  </a:lnTo>
                  <a:lnTo>
                    <a:pt x="9" y="35"/>
                  </a:lnTo>
                  <a:lnTo>
                    <a:pt x="2" y="20"/>
                  </a:lnTo>
                  <a:lnTo>
                    <a:pt x="0" y="0"/>
                  </a:lnTo>
                  <a:lnTo>
                    <a:pt x="2" y="0"/>
                  </a:lnTo>
                  <a:lnTo>
                    <a:pt x="9" y="0"/>
                  </a:lnTo>
                  <a:lnTo>
                    <a:pt x="17" y="0"/>
                  </a:lnTo>
                  <a:lnTo>
                    <a:pt x="28" y="2"/>
                  </a:lnTo>
                  <a:lnTo>
                    <a:pt x="40" y="6"/>
                  </a:lnTo>
                  <a:lnTo>
                    <a:pt x="51" y="14"/>
                  </a:lnTo>
                  <a:lnTo>
                    <a:pt x="62" y="25"/>
                  </a:lnTo>
                  <a:lnTo>
                    <a:pt x="69" y="41"/>
                  </a:lnTo>
                  <a:lnTo>
                    <a:pt x="73" y="62"/>
                  </a:lnTo>
                  <a:lnTo>
                    <a:pt x="73" y="60"/>
                  </a:lnTo>
                  <a:lnTo>
                    <a:pt x="73" y="55"/>
                  </a:lnTo>
                  <a:lnTo>
                    <a:pt x="74" y="45"/>
                  </a:lnTo>
                  <a:lnTo>
                    <a:pt x="77" y="36"/>
                  </a:lnTo>
                  <a:lnTo>
                    <a:pt x="82" y="25"/>
                  </a:lnTo>
                  <a:lnTo>
                    <a:pt x="91" y="16"/>
                  </a:lnTo>
                  <a:lnTo>
                    <a:pt x="105" y="8"/>
                  </a:lnTo>
                  <a:lnTo>
                    <a:pt x="121" y="2"/>
                  </a:lnTo>
                  <a:lnTo>
                    <a:pt x="144" y="0"/>
                  </a:lnTo>
                  <a:lnTo>
                    <a:pt x="144" y="2"/>
                  </a:lnTo>
                  <a:lnTo>
                    <a:pt x="144" y="8"/>
                  </a:lnTo>
                  <a:lnTo>
                    <a:pt x="141" y="17"/>
                  </a:lnTo>
                  <a:lnTo>
                    <a:pt x="139" y="28"/>
                  </a:lnTo>
                  <a:lnTo>
                    <a:pt x="133" y="39"/>
                  </a:lnTo>
                  <a:lnTo>
                    <a:pt x="125" y="49"/>
                  </a:lnTo>
                  <a:lnTo>
                    <a:pt x="113" y="59"/>
                  </a:lnTo>
                  <a:lnTo>
                    <a:pt x="97" y="64"/>
                  </a:lnTo>
                  <a:lnTo>
                    <a:pt x="77" y="67"/>
                  </a:lnTo>
                  <a:lnTo>
                    <a:pt x="77" y="211"/>
                  </a:lnTo>
                  <a:lnTo>
                    <a:pt x="67" y="211"/>
                  </a:lnTo>
                  <a:lnTo>
                    <a:pt x="67" y="6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1" name="Freeform 10"/>
            <p:cNvSpPr>
              <a:spLocks/>
            </p:cNvSpPr>
            <p:nvPr/>
          </p:nvSpPr>
          <p:spPr bwMode="gray">
            <a:xfrm>
              <a:off x="2631" y="457"/>
              <a:ext cx="89" cy="132"/>
            </a:xfrm>
            <a:custGeom>
              <a:avLst/>
              <a:gdLst/>
              <a:ahLst/>
              <a:cxnLst>
                <a:cxn ang="0">
                  <a:pos x="42" y="43"/>
                </a:cxn>
                <a:cxn ang="0">
                  <a:pos x="39" y="42"/>
                </a:cxn>
                <a:cxn ang="0">
                  <a:pos x="33" y="42"/>
                </a:cxn>
                <a:cxn ang="0">
                  <a:pos x="25" y="39"/>
                </a:cxn>
                <a:cxn ang="0">
                  <a:pos x="16" y="35"/>
                </a:cxn>
                <a:cxn ang="0">
                  <a:pos x="8" y="27"/>
                </a:cxn>
                <a:cxn ang="0">
                  <a:pos x="2" y="16"/>
                </a:cxn>
                <a:cxn ang="0">
                  <a:pos x="0" y="0"/>
                </a:cxn>
                <a:cxn ang="0">
                  <a:pos x="2" y="0"/>
                </a:cxn>
                <a:cxn ang="0">
                  <a:pos x="6" y="0"/>
                </a:cxn>
                <a:cxn ang="0">
                  <a:pos x="12" y="1"/>
                </a:cxn>
                <a:cxn ang="0">
                  <a:pos x="21" y="3"/>
                </a:cxn>
                <a:cxn ang="0">
                  <a:pos x="29" y="8"/>
                </a:cxn>
                <a:cxn ang="0">
                  <a:pos x="37" y="15"/>
                </a:cxn>
                <a:cxn ang="0">
                  <a:pos x="42" y="26"/>
                </a:cxn>
                <a:cxn ang="0">
                  <a:pos x="45" y="39"/>
                </a:cxn>
                <a:cxn ang="0">
                  <a:pos x="45" y="38"/>
                </a:cxn>
                <a:cxn ang="0">
                  <a:pos x="45" y="34"/>
                </a:cxn>
                <a:cxn ang="0">
                  <a:pos x="46" y="27"/>
                </a:cxn>
                <a:cxn ang="0">
                  <a:pos x="49" y="20"/>
                </a:cxn>
                <a:cxn ang="0">
                  <a:pos x="54" y="14"/>
                </a:cxn>
                <a:cxn ang="0">
                  <a:pos x="62" y="7"/>
                </a:cxn>
                <a:cxn ang="0">
                  <a:pos x="73" y="3"/>
                </a:cxn>
                <a:cxn ang="0">
                  <a:pos x="89" y="0"/>
                </a:cxn>
                <a:cxn ang="0">
                  <a:pos x="89" y="3"/>
                </a:cxn>
                <a:cxn ang="0">
                  <a:pos x="88" y="10"/>
                </a:cxn>
                <a:cxn ang="0">
                  <a:pos x="87" y="18"/>
                </a:cxn>
                <a:cxn ang="0">
                  <a:pos x="81" y="26"/>
                </a:cxn>
                <a:cxn ang="0">
                  <a:pos x="74" y="34"/>
                </a:cxn>
                <a:cxn ang="0">
                  <a:pos x="64" y="41"/>
                </a:cxn>
                <a:cxn ang="0">
                  <a:pos x="47" y="43"/>
                </a:cxn>
                <a:cxn ang="0">
                  <a:pos x="47" y="132"/>
                </a:cxn>
                <a:cxn ang="0">
                  <a:pos x="42" y="132"/>
                </a:cxn>
                <a:cxn ang="0">
                  <a:pos x="42" y="43"/>
                </a:cxn>
              </a:cxnLst>
              <a:rect l="0" t="0" r="r" b="b"/>
              <a:pathLst>
                <a:path w="89" h="132">
                  <a:moveTo>
                    <a:pt x="42" y="43"/>
                  </a:moveTo>
                  <a:lnTo>
                    <a:pt x="39" y="42"/>
                  </a:lnTo>
                  <a:lnTo>
                    <a:pt x="33" y="42"/>
                  </a:lnTo>
                  <a:lnTo>
                    <a:pt x="25" y="39"/>
                  </a:lnTo>
                  <a:lnTo>
                    <a:pt x="16" y="35"/>
                  </a:lnTo>
                  <a:lnTo>
                    <a:pt x="8" y="27"/>
                  </a:lnTo>
                  <a:lnTo>
                    <a:pt x="2" y="16"/>
                  </a:lnTo>
                  <a:lnTo>
                    <a:pt x="0" y="0"/>
                  </a:lnTo>
                  <a:lnTo>
                    <a:pt x="2" y="0"/>
                  </a:lnTo>
                  <a:lnTo>
                    <a:pt x="6" y="0"/>
                  </a:lnTo>
                  <a:lnTo>
                    <a:pt x="12" y="1"/>
                  </a:lnTo>
                  <a:lnTo>
                    <a:pt x="21" y="3"/>
                  </a:lnTo>
                  <a:lnTo>
                    <a:pt x="29" y="8"/>
                  </a:lnTo>
                  <a:lnTo>
                    <a:pt x="37" y="15"/>
                  </a:lnTo>
                  <a:lnTo>
                    <a:pt x="42" y="26"/>
                  </a:lnTo>
                  <a:lnTo>
                    <a:pt x="45" y="39"/>
                  </a:lnTo>
                  <a:lnTo>
                    <a:pt x="45" y="38"/>
                  </a:lnTo>
                  <a:lnTo>
                    <a:pt x="45" y="34"/>
                  </a:lnTo>
                  <a:lnTo>
                    <a:pt x="46" y="27"/>
                  </a:lnTo>
                  <a:lnTo>
                    <a:pt x="49" y="20"/>
                  </a:lnTo>
                  <a:lnTo>
                    <a:pt x="54" y="14"/>
                  </a:lnTo>
                  <a:lnTo>
                    <a:pt x="62" y="7"/>
                  </a:lnTo>
                  <a:lnTo>
                    <a:pt x="73" y="3"/>
                  </a:lnTo>
                  <a:lnTo>
                    <a:pt x="89" y="0"/>
                  </a:lnTo>
                  <a:lnTo>
                    <a:pt x="89" y="3"/>
                  </a:lnTo>
                  <a:lnTo>
                    <a:pt x="88" y="10"/>
                  </a:lnTo>
                  <a:lnTo>
                    <a:pt x="87" y="18"/>
                  </a:lnTo>
                  <a:lnTo>
                    <a:pt x="81" y="26"/>
                  </a:lnTo>
                  <a:lnTo>
                    <a:pt x="74" y="34"/>
                  </a:lnTo>
                  <a:lnTo>
                    <a:pt x="64" y="41"/>
                  </a:lnTo>
                  <a:lnTo>
                    <a:pt x="47" y="43"/>
                  </a:lnTo>
                  <a:lnTo>
                    <a:pt x="47" y="132"/>
                  </a:lnTo>
                  <a:lnTo>
                    <a:pt x="42" y="132"/>
                  </a:lnTo>
                  <a:lnTo>
                    <a:pt x="42"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2" name="Freeform 11"/>
            <p:cNvSpPr>
              <a:spLocks/>
            </p:cNvSpPr>
            <p:nvPr/>
          </p:nvSpPr>
          <p:spPr bwMode="gray">
            <a:xfrm>
              <a:off x="2430" y="403"/>
              <a:ext cx="88" cy="186"/>
            </a:xfrm>
            <a:custGeom>
              <a:avLst/>
              <a:gdLst/>
              <a:ahLst/>
              <a:cxnLst>
                <a:cxn ang="0">
                  <a:pos x="43" y="43"/>
                </a:cxn>
                <a:cxn ang="0">
                  <a:pos x="41" y="43"/>
                </a:cxn>
                <a:cxn ang="0">
                  <a:pos x="35" y="43"/>
                </a:cxn>
                <a:cxn ang="0">
                  <a:pos x="27" y="41"/>
                </a:cxn>
                <a:cxn ang="0">
                  <a:pos x="18" y="35"/>
                </a:cxn>
                <a:cxn ang="0">
                  <a:pos x="8" y="28"/>
                </a:cxn>
                <a:cxn ang="0">
                  <a:pos x="3" y="16"/>
                </a:cxn>
                <a:cxn ang="0">
                  <a:pos x="0" y="0"/>
                </a:cxn>
                <a:cxn ang="0">
                  <a:pos x="3" y="0"/>
                </a:cxn>
                <a:cxn ang="0">
                  <a:pos x="8" y="0"/>
                </a:cxn>
                <a:cxn ang="0">
                  <a:pos x="17" y="1"/>
                </a:cxn>
                <a:cxn ang="0">
                  <a:pos x="26" y="6"/>
                </a:cxn>
                <a:cxn ang="0">
                  <a:pos x="35" y="12"/>
                </a:cxn>
                <a:cxn ang="0">
                  <a:pos x="42" y="24"/>
                </a:cxn>
                <a:cxn ang="0">
                  <a:pos x="48" y="41"/>
                </a:cxn>
                <a:cxn ang="0">
                  <a:pos x="48" y="90"/>
                </a:cxn>
                <a:cxn ang="0">
                  <a:pos x="48" y="88"/>
                </a:cxn>
                <a:cxn ang="0">
                  <a:pos x="48" y="82"/>
                </a:cxn>
                <a:cxn ang="0">
                  <a:pos x="50" y="74"/>
                </a:cxn>
                <a:cxn ang="0">
                  <a:pos x="54" y="66"/>
                </a:cxn>
                <a:cxn ang="0">
                  <a:pos x="61" y="58"/>
                </a:cxn>
                <a:cxn ang="0">
                  <a:pos x="72" y="53"/>
                </a:cxn>
                <a:cxn ang="0">
                  <a:pos x="87" y="50"/>
                </a:cxn>
                <a:cxn ang="0">
                  <a:pos x="88" y="51"/>
                </a:cxn>
                <a:cxn ang="0">
                  <a:pos x="88" y="57"/>
                </a:cxn>
                <a:cxn ang="0">
                  <a:pos x="87" y="64"/>
                </a:cxn>
                <a:cxn ang="0">
                  <a:pos x="84" y="72"/>
                </a:cxn>
                <a:cxn ang="0">
                  <a:pos x="80" y="80"/>
                </a:cxn>
                <a:cxn ang="0">
                  <a:pos x="73" y="86"/>
                </a:cxn>
                <a:cxn ang="0">
                  <a:pos x="62" y="92"/>
                </a:cxn>
                <a:cxn ang="0">
                  <a:pos x="48" y="93"/>
                </a:cxn>
                <a:cxn ang="0">
                  <a:pos x="48" y="186"/>
                </a:cxn>
                <a:cxn ang="0">
                  <a:pos x="43" y="186"/>
                </a:cxn>
                <a:cxn ang="0">
                  <a:pos x="43" y="143"/>
                </a:cxn>
                <a:cxn ang="0">
                  <a:pos x="42" y="143"/>
                </a:cxn>
                <a:cxn ang="0">
                  <a:pos x="37" y="142"/>
                </a:cxn>
                <a:cxn ang="0">
                  <a:pos x="29" y="140"/>
                </a:cxn>
                <a:cxn ang="0">
                  <a:pos x="22" y="136"/>
                </a:cxn>
                <a:cxn ang="0">
                  <a:pos x="14" y="130"/>
                </a:cxn>
                <a:cxn ang="0">
                  <a:pos x="8" y="120"/>
                </a:cxn>
                <a:cxn ang="0">
                  <a:pos x="7" y="105"/>
                </a:cxn>
                <a:cxn ang="0">
                  <a:pos x="8" y="105"/>
                </a:cxn>
                <a:cxn ang="0">
                  <a:pos x="12" y="107"/>
                </a:cxn>
                <a:cxn ang="0">
                  <a:pos x="19" y="108"/>
                </a:cxn>
                <a:cxn ang="0">
                  <a:pos x="26" y="111"/>
                </a:cxn>
                <a:cxn ang="0">
                  <a:pos x="34" y="117"/>
                </a:cxn>
                <a:cxn ang="0">
                  <a:pos x="39" y="127"/>
                </a:cxn>
                <a:cxn ang="0">
                  <a:pos x="43" y="140"/>
                </a:cxn>
                <a:cxn ang="0">
                  <a:pos x="43" y="43"/>
                </a:cxn>
              </a:cxnLst>
              <a:rect l="0" t="0" r="r" b="b"/>
              <a:pathLst>
                <a:path w="88" h="186">
                  <a:moveTo>
                    <a:pt x="43" y="43"/>
                  </a:moveTo>
                  <a:lnTo>
                    <a:pt x="41" y="43"/>
                  </a:lnTo>
                  <a:lnTo>
                    <a:pt x="35" y="43"/>
                  </a:lnTo>
                  <a:lnTo>
                    <a:pt x="27" y="41"/>
                  </a:lnTo>
                  <a:lnTo>
                    <a:pt x="18" y="35"/>
                  </a:lnTo>
                  <a:lnTo>
                    <a:pt x="8" y="28"/>
                  </a:lnTo>
                  <a:lnTo>
                    <a:pt x="3" y="16"/>
                  </a:lnTo>
                  <a:lnTo>
                    <a:pt x="0" y="0"/>
                  </a:lnTo>
                  <a:lnTo>
                    <a:pt x="3" y="0"/>
                  </a:lnTo>
                  <a:lnTo>
                    <a:pt x="8" y="0"/>
                  </a:lnTo>
                  <a:lnTo>
                    <a:pt x="17" y="1"/>
                  </a:lnTo>
                  <a:lnTo>
                    <a:pt x="26" y="6"/>
                  </a:lnTo>
                  <a:lnTo>
                    <a:pt x="35" y="12"/>
                  </a:lnTo>
                  <a:lnTo>
                    <a:pt x="42" y="24"/>
                  </a:lnTo>
                  <a:lnTo>
                    <a:pt x="48" y="41"/>
                  </a:lnTo>
                  <a:lnTo>
                    <a:pt x="48" y="90"/>
                  </a:lnTo>
                  <a:lnTo>
                    <a:pt x="48" y="88"/>
                  </a:lnTo>
                  <a:lnTo>
                    <a:pt x="48" y="82"/>
                  </a:lnTo>
                  <a:lnTo>
                    <a:pt x="50" y="74"/>
                  </a:lnTo>
                  <a:lnTo>
                    <a:pt x="54" y="66"/>
                  </a:lnTo>
                  <a:lnTo>
                    <a:pt x="61" y="58"/>
                  </a:lnTo>
                  <a:lnTo>
                    <a:pt x="72" y="53"/>
                  </a:lnTo>
                  <a:lnTo>
                    <a:pt x="87" y="50"/>
                  </a:lnTo>
                  <a:lnTo>
                    <a:pt x="88" y="51"/>
                  </a:lnTo>
                  <a:lnTo>
                    <a:pt x="88" y="57"/>
                  </a:lnTo>
                  <a:lnTo>
                    <a:pt x="87" y="64"/>
                  </a:lnTo>
                  <a:lnTo>
                    <a:pt x="84" y="72"/>
                  </a:lnTo>
                  <a:lnTo>
                    <a:pt x="80" y="80"/>
                  </a:lnTo>
                  <a:lnTo>
                    <a:pt x="73" y="86"/>
                  </a:lnTo>
                  <a:lnTo>
                    <a:pt x="62" y="92"/>
                  </a:lnTo>
                  <a:lnTo>
                    <a:pt x="48" y="93"/>
                  </a:lnTo>
                  <a:lnTo>
                    <a:pt x="48" y="186"/>
                  </a:lnTo>
                  <a:lnTo>
                    <a:pt x="43" y="186"/>
                  </a:lnTo>
                  <a:lnTo>
                    <a:pt x="43" y="143"/>
                  </a:lnTo>
                  <a:lnTo>
                    <a:pt x="42" y="143"/>
                  </a:lnTo>
                  <a:lnTo>
                    <a:pt x="37" y="142"/>
                  </a:lnTo>
                  <a:lnTo>
                    <a:pt x="29" y="140"/>
                  </a:lnTo>
                  <a:lnTo>
                    <a:pt x="22" y="136"/>
                  </a:lnTo>
                  <a:lnTo>
                    <a:pt x="14" y="130"/>
                  </a:lnTo>
                  <a:lnTo>
                    <a:pt x="8" y="120"/>
                  </a:lnTo>
                  <a:lnTo>
                    <a:pt x="7" y="105"/>
                  </a:lnTo>
                  <a:lnTo>
                    <a:pt x="8" y="105"/>
                  </a:lnTo>
                  <a:lnTo>
                    <a:pt x="12" y="107"/>
                  </a:lnTo>
                  <a:lnTo>
                    <a:pt x="19" y="108"/>
                  </a:lnTo>
                  <a:lnTo>
                    <a:pt x="26" y="111"/>
                  </a:lnTo>
                  <a:lnTo>
                    <a:pt x="34" y="117"/>
                  </a:lnTo>
                  <a:lnTo>
                    <a:pt x="39" y="127"/>
                  </a:lnTo>
                  <a:lnTo>
                    <a:pt x="43" y="140"/>
                  </a:lnTo>
                  <a:lnTo>
                    <a:pt x="43" y="4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3" name="Freeform 12"/>
            <p:cNvSpPr>
              <a:spLocks/>
            </p:cNvSpPr>
            <p:nvPr/>
          </p:nvSpPr>
          <p:spPr bwMode="gray">
            <a:xfrm>
              <a:off x="1914" y="233"/>
              <a:ext cx="166" cy="356"/>
            </a:xfrm>
            <a:custGeom>
              <a:avLst/>
              <a:gdLst/>
              <a:ahLst/>
              <a:cxnLst>
                <a:cxn ang="0">
                  <a:pos x="85" y="84"/>
                </a:cxn>
                <a:cxn ang="0">
                  <a:pos x="101" y="81"/>
                </a:cxn>
                <a:cxn ang="0">
                  <a:pos x="124" y="73"/>
                </a:cxn>
                <a:cxn ang="0">
                  <a:pos x="148" y="56"/>
                </a:cxn>
                <a:cxn ang="0">
                  <a:pos x="163" y="23"/>
                </a:cxn>
                <a:cxn ang="0">
                  <a:pos x="163" y="0"/>
                </a:cxn>
                <a:cxn ang="0">
                  <a:pos x="148" y="0"/>
                </a:cxn>
                <a:cxn ang="0">
                  <a:pos x="125" y="6"/>
                </a:cxn>
                <a:cxn ang="0">
                  <a:pos x="101" y="22"/>
                </a:cxn>
                <a:cxn ang="0">
                  <a:pos x="82" y="54"/>
                </a:cxn>
                <a:cxn ang="0">
                  <a:pos x="77" y="173"/>
                </a:cxn>
                <a:cxn ang="0">
                  <a:pos x="77" y="165"/>
                </a:cxn>
                <a:cxn ang="0">
                  <a:pos x="71" y="146"/>
                </a:cxn>
                <a:cxn ang="0">
                  <a:pos x="60" y="123"/>
                </a:cxn>
                <a:cxn ang="0">
                  <a:pos x="38" y="104"/>
                </a:cxn>
                <a:cxn ang="0">
                  <a:pos x="0" y="96"/>
                </a:cxn>
                <a:cxn ang="0">
                  <a:pos x="0" y="103"/>
                </a:cxn>
                <a:cxn ang="0">
                  <a:pos x="0" y="120"/>
                </a:cxn>
                <a:cxn ang="0">
                  <a:pos x="8" y="143"/>
                </a:cxn>
                <a:cxn ang="0">
                  <a:pos x="24" y="163"/>
                </a:cxn>
                <a:cxn ang="0">
                  <a:pos x="55" y="177"/>
                </a:cxn>
                <a:cxn ang="0">
                  <a:pos x="77" y="356"/>
                </a:cxn>
                <a:cxn ang="0">
                  <a:pos x="82" y="274"/>
                </a:cxn>
                <a:cxn ang="0">
                  <a:pos x="91" y="273"/>
                </a:cxn>
                <a:cxn ang="0">
                  <a:pos x="112" y="267"/>
                </a:cxn>
                <a:cxn ang="0">
                  <a:pos x="135" y="252"/>
                </a:cxn>
                <a:cxn ang="0">
                  <a:pos x="151" y="224"/>
                </a:cxn>
                <a:cxn ang="0">
                  <a:pos x="152" y="203"/>
                </a:cxn>
                <a:cxn ang="0">
                  <a:pos x="137" y="204"/>
                </a:cxn>
                <a:cxn ang="0">
                  <a:pos x="117" y="211"/>
                </a:cxn>
                <a:cxn ang="0">
                  <a:pos x="97" y="231"/>
                </a:cxn>
                <a:cxn ang="0">
                  <a:pos x="82" y="267"/>
                </a:cxn>
              </a:cxnLst>
              <a:rect l="0" t="0" r="r" b="b"/>
              <a:pathLst>
                <a:path w="166" h="356">
                  <a:moveTo>
                    <a:pt x="82" y="84"/>
                  </a:moveTo>
                  <a:lnTo>
                    <a:pt x="85" y="84"/>
                  </a:lnTo>
                  <a:lnTo>
                    <a:pt x="91" y="84"/>
                  </a:lnTo>
                  <a:lnTo>
                    <a:pt x="101" y="81"/>
                  </a:lnTo>
                  <a:lnTo>
                    <a:pt x="112" y="78"/>
                  </a:lnTo>
                  <a:lnTo>
                    <a:pt x="124" y="73"/>
                  </a:lnTo>
                  <a:lnTo>
                    <a:pt x="136" y="66"/>
                  </a:lnTo>
                  <a:lnTo>
                    <a:pt x="148" y="56"/>
                  </a:lnTo>
                  <a:lnTo>
                    <a:pt x="156" y="42"/>
                  </a:lnTo>
                  <a:lnTo>
                    <a:pt x="163" y="23"/>
                  </a:lnTo>
                  <a:lnTo>
                    <a:pt x="166" y="2"/>
                  </a:lnTo>
                  <a:lnTo>
                    <a:pt x="163" y="0"/>
                  </a:lnTo>
                  <a:lnTo>
                    <a:pt x="158" y="0"/>
                  </a:lnTo>
                  <a:lnTo>
                    <a:pt x="148" y="0"/>
                  </a:lnTo>
                  <a:lnTo>
                    <a:pt x="137" y="3"/>
                  </a:lnTo>
                  <a:lnTo>
                    <a:pt x="125" y="6"/>
                  </a:lnTo>
                  <a:lnTo>
                    <a:pt x="113" y="12"/>
                  </a:lnTo>
                  <a:lnTo>
                    <a:pt x="101" y="22"/>
                  </a:lnTo>
                  <a:lnTo>
                    <a:pt x="90" y="35"/>
                  </a:lnTo>
                  <a:lnTo>
                    <a:pt x="82" y="54"/>
                  </a:lnTo>
                  <a:lnTo>
                    <a:pt x="77" y="78"/>
                  </a:lnTo>
                  <a:lnTo>
                    <a:pt x="77" y="173"/>
                  </a:lnTo>
                  <a:lnTo>
                    <a:pt x="77" y="170"/>
                  </a:lnTo>
                  <a:lnTo>
                    <a:pt x="77" y="165"/>
                  </a:lnTo>
                  <a:lnTo>
                    <a:pt x="74" y="157"/>
                  </a:lnTo>
                  <a:lnTo>
                    <a:pt x="71" y="146"/>
                  </a:lnTo>
                  <a:lnTo>
                    <a:pt x="67" y="134"/>
                  </a:lnTo>
                  <a:lnTo>
                    <a:pt x="60" y="123"/>
                  </a:lnTo>
                  <a:lnTo>
                    <a:pt x="50" y="112"/>
                  </a:lnTo>
                  <a:lnTo>
                    <a:pt x="38" y="104"/>
                  </a:lnTo>
                  <a:lnTo>
                    <a:pt x="20" y="97"/>
                  </a:lnTo>
                  <a:lnTo>
                    <a:pt x="0" y="96"/>
                  </a:lnTo>
                  <a:lnTo>
                    <a:pt x="0" y="97"/>
                  </a:lnTo>
                  <a:lnTo>
                    <a:pt x="0" y="103"/>
                  </a:lnTo>
                  <a:lnTo>
                    <a:pt x="0" y="111"/>
                  </a:lnTo>
                  <a:lnTo>
                    <a:pt x="0" y="120"/>
                  </a:lnTo>
                  <a:lnTo>
                    <a:pt x="2" y="131"/>
                  </a:lnTo>
                  <a:lnTo>
                    <a:pt x="8" y="143"/>
                  </a:lnTo>
                  <a:lnTo>
                    <a:pt x="15" y="154"/>
                  </a:lnTo>
                  <a:lnTo>
                    <a:pt x="24" y="163"/>
                  </a:lnTo>
                  <a:lnTo>
                    <a:pt x="38" y="171"/>
                  </a:lnTo>
                  <a:lnTo>
                    <a:pt x="55" y="177"/>
                  </a:lnTo>
                  <a:lnTo>
                    <a:pt x="77" y="178"/>
                  </a:lnTo>
                  <a:lnTo>
                    <a:pt x="77" y="356"/>
                  </a:lnTo>
                  <a:lnTo>
                    <a:pt x="82" y="356"/>
                  </a:lnTo>
                  <a:lnTo>
                    <a:pt x="82" y="274"/>
                  </a:lnTo>
                  <a:lnTo>
                    <a:pt x="85" y="273"/>
                  </a:lnTo>
                  <a:lnTo>
                    <a:pt x="91" y="273"/>
                  </a:lnTo>
                  <a:lnTo>
                    <a:pt x="101" y="271"/>
                  </a:lnTo>
                  <a:lnTo>
                    <a:pt x="112" y="267"/>
                  </a:lnTo>
                  <a:lnTo>
                    <a:pt x="124" y="262"/>
                  </a:lnTo>
                  <a:lnTo>
                    <a:pt x="135" y="252"/>
                  </a:lnTo>
                  <a:lnTo>
                    <a:pt x="144" y="240"/>
                  </a:lnTo>
                  <a:lnTo>
                    <a:pt x="151" y="224"/>
                  </a:lnTo>
                  <a:lnTo>
                    <a:pt x="154" y="203"/>
                  </a:lnTo>
                  <a:lnTo>
                    <a:pt x="152" y="203"/>
                  </a:lnTo>
                  <a:lnTo>
                    <a:pt x="145" y="203"/>
                  </a:lnTo>
                  <a:lnTo>
                    <a:pt x="137" y="204"/>
                  </a:lnTo>
                  <a:lnTo>
                    <a:pt x="128" y="207"/>
                  </a:lnTo>
                  <a:lnTo>
                    <a:pt x="117" y="211"/>
                  </a:lnTo>
                  <a:lnTo>
                    <a:pt x="106" y="219"/>
                  </a:lnTo>
                  <a:lnTo>
                    <a:pt x="97" y="231"/>
                  </a:lnTo>
                  <a:lnTo>
                    <a:pt x="89" y="247"/>
                  </a:lnTo>
                  <a:lnTo>
                    <a:pt x="82" y="267"/>
                  </a:lnTo>
                  <a:lnTo>
                    <a:pt x="82" y="84"/>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4" name="Freeform 13"/>
            <p:cNvSpPr>
              <a:spLocks/>
            </p:cNvSpPr>
            <p:nvPr/>
          </p:nvSpPr>
          <p:spPr bwMode="gray">
            <a:xfrm>
              <a:off x="2514" y="379"/>
              <a:ext cx="92" cy="210"/>
            </a:xfrm>
            <a:custGeom>
              <a:avLst/>
              <a:gdLst/>
              <a:ahLst/>
              <a:cxnLst>
                <a:cxn ang="0">
                  <a:pos x="43" y="162"/>
                </a:cxn>
                <a:cxn ang="0">
                  <a:pos x="36" y="160"/>
                </a:cxn>
                <a:cxn ang="0">
                  <a:pos x="23" y="155"/>
                </a:cxn>
                <a:cxn ang="0">
                  <a:pos x="12" y="141"/>
                </a:cxn>
                <a:cxn ang="0">
                  <a:pos x="12" y="129"/>
                </a:cxn>
                <a:cxn ang="0">
                  <a:pos x="23" y="132"/>
                </a:cxn>
                <a:cxn ang="0">
                  <a:pos x="38" y="145"/>
                </a:cxn>
                <a:cxn ang="0">
                  <a:pos x="43" y="108"/>
                </a:cxn>
                <a:cxn ang="0">
                  <a:pos x="35" y="106"/>
                </a:cxn>
                <a:cxn ang="0">
                  <a:pos x="20" y="101"/>
                </a:cxn>
                <a:cxn ang="0">
                  <a:pos x="7" y="83"/>
                </a:cxn>
                <a:cxn ang="0">
                  <a:pos x="7" y="70"/>
                </a:cxn>
                <a:cxn ang="0">
                  <a:pos x="17" y="71"/>
                </a:cxn>
                <a:cxn ang="0">
                  <a:pos x="31" y="81"/>
                </a:cxn>
                <a:cxn ang="0">
                  <a:pos x="43" y="105"/>
                </a:cxn>
                <a:cxn ang="0">
                  <a:pos x="40" y="43"/>
                </a:cxn>
                <a:cxn ang="0">
                  <a:pos x="26" y="39"/>
                </a:cxn>
                <a:cxn ang="0">
                  <a:pos x="8" y="27"/>
                </a:cxn>
                <a:cxn ang="0">
                  <a:pos x="0" y="0"/>
                </a:cxn>
                <a:cxn ang="0">
                  <a:pos x="7" y="0"/>
                </a:cxn>
                <a:cxn ang="0">
                  <a:pos x="23" y="5"/>
                </a:cxn>
                <a:cxn ang="0">
                  <a:pos x="39" y="23"/>
                </a:cxn>
                <a:cxn ang="0">
                  <a:pos x="46" y="38"/>
                </a:cxn>
                <a:cxn ang="0">
                  <a:pos x="51" y="24"/>
                </a:cxn>
                <a:cxn ang="0">
                  <a:pos x="66" y="8"/>
                </a:cxn>
                <a:cxn ang="0">
                  <a:pos x="92" y="0"/>
                </a:cxn>
                <a:cxn ang="0">
                  <a:pos x="90" y="8"/>
                </a:cxn>
                <a:cxn ang="0">
                  <a:pos x="82" y="25"/>
                </a:cxn>
                <a:cxn ang="0">
                  <a:pos x="63" y="40"/>
                </a:cxn>
                <a:cxn ang="0">
                  <a:pos x="49" y="124"/>
                </a:cxn>
                <a:cxn ang="0">
                  <a:pos x="50" y="116"/>
                </a:cxn>
                <a:cxn ang="0">
                  <a:pos x="59" y="100"/>
                </a:cxn>
                <a:cxn ang="0">
                  <a:pos x="81" y="92"/>
                </a:cxn>
                <a:cxn ang="0">
                  <a:pos x="80" y="98"/>
                </a:cxn>
                <a:cxn ang="0">
                  <a:pos x="73" y="114"/>
                </a:cxn>
                <a:cxn ang="0">
                  <a:pos x="59" y="127"/>
                </a:cxn>
                <a:cxn ang="0">
                  <a:pos x="49" y="210"/>
                </a:cxn>
              </a:cxnLst>
              <a:rect l="0" t="0" r="r" b="b"/>
              <a:pathLst>
                <a:path w="92" h="210">
                  <a:moveTo>
                    <a:pt x="43" y="210"/>
                  </a:moveTo>
                  <a:lnTo>
                    <a:pt x="43" y="162"/>
                  </a:lnTo>
                  <a:lnTo>
                    <a:pt x="40" y="162"/>
                  </a:lnTo>
                  <a:lnTo>
                    <a:pt x="36" y="160"/>
                  </a:lnTo>
                  <a:lnTo>
                    <a:pt x="30" y="159"/>
                  </a:lnTo>
                  <a:lnTo>
                    <a:pt x="23" y="155"/>
                  </a:lnTo>
                  <a:lnTo>
                    <a:pt x="16" y="150"/>
                  </a:lnTo>
                  <a:lnTo>
                    <a:pt x="12" y="141"/>
                  </a:lnTo>
                  <a:lnTo>
                    <a:pt x="11" y="129"/>
                  </a:lnTo>
                  <a:lnTo>
                    <a:pt x="12" y="129"/>
                  </a:lnTo>
                  <a:lnTo>
                    <a:pt x="16" y="129"/>
                  </a:lnTo>
                  <a:lnTo>
                    <a:pt x="23" y="132"/>
                  </a:lnTo>
                  <a:lnTo>
                    <a:pt x="31" y="137"/>
                  </a:lnTo>
                  <a:lnTo>
                    <a:pt x="38" y="145"/>
                  </a:lnTo>
                  <a:lnTo>
                    <a:pt x="43" y="159"/>
                  </a:lnTo>
                  <a:lnTo>
                    <a:pt x="43" y="108"/>
                  </a:lnTo>
                  <a:lnTo>
                    <a:pt x="40" y="108"/>
                  </a:lnTo>
                  <a:lnTo>
                    <a:pt x="35" y="106"/>
                  </a:lnTo>
                  <a:lnTo>
                    <a:pt x="28" y="105"/>
                  </a:lnTo>
                  <a:lnTo>
                    <a:pt x="20" y="101"/>
                  </a:lnTo>
                  <a:lnTo>
                    <a:pt x="12" y="94"/>
                  </a:lnTo>
                  <a:lnTo>
                    <a:pt x="7" y="83"/>
                  </a:lnTo>
                  <a:lnTo>
                    <a:pt x="5" y="70"/>
                  </a:lnTo>
                  <a:lnTo>
                    <a:pt x="7" y="70"/>
                  </a:lnTo>
                  <a:lnTo>
                    <a:pt x="11" y="70"/>
                  </a:lnTo>
                  <a:lnTo>
                    <a:pt x="17" y="71"/>
                  </a:lnTo>
                  <a:lnTo>
                    <a:pt x="24" y="74"/>
                  </a:lnTo>
                  <a:lnTo>
                    <a:pt x="31" y="81"/>
                  </a:lnTo>
                  <a:lnTo>
                    <a:pt x="38" y="90"/>
                  </a:lnTo>
                  <a:lnTo>
                    <a:pt x="43" y="105"/>
                  </a:lnTo>
                  <a:lnTo>
                    <a:pt x="43" y="43"/>
                  </a:lnTo>
                  <a:lnTo>
                    <a:pt x="40" y="43"/>
                  </a:lnTo>
                  <a:lnTo>
                    <a:pt x="34" y="42"/>
                  </a:lnTo>
                  <a:lnTo>
                    <a:pt x="26" y="39"/>
                  </a:lnTo>
                  <a:lnTo>
                    <a:pt x="16" y="35"/>
                  </a:lnTo>
                  <a:lnTo>
                    <a:pt x="8" y="27"/>
                  </a:lnTo>
                  <a:lnTo>
                    <a:pt x="1" y="16"/>
                  </a:lnTo>
                  <a:lnTo>
                    <a:pt x="0" y="0"/>
                  </a:lnTo>
                  <a:lnTo>
                    <a:pt x="1" y="0"/>
                  </a:lnTo>
                  <a:lnTo>
                    <a:pt x="7" y="0"/>
                  </a:lnTo>
                  <a:lnTo>
                    <a:pt x="13" y="1"/>
                  </a:lnTo>
                  <a:lnTo>
                    <a:pt x="23" y="5"/>
                  </a:lnTo>
                  <a:lnTo>
                    <a:pt x="31" y="12"/>
                  </a:lnTo>
                  <a:lnTo>
                    <a:pt x="39" y="23"/>
                  </a:lnTo>
                  <a:lnTo>
                    <a:pt x="46" y="40"/>
                  </a:lnTo>
                  <a:lnTo>
                    <a:pt x="46" y="38"/>
                  </a:lnTo>
                  <a:lnTo>
                    <a:pt x="49" y="32"/>
                  </a:lnTo>
                  <a:lnTo>
                    <a:pt x="51" y="24"/>
                  </a:lnTo>
                  <a:lnTo>
                    <a:pt x="58" y="15"/>
                  </a:lnTo>
                  <a:lnTo>
                    <a:pt x="66" y="8"/>
                  </a:lnTo>
                  <a:lnTo>
                    <a:pt x="77" y="1"/>
                  </a:lnTo>
                  <a:lnTo>
                    <a:pt x="92" y="0"/>
                  </a:lnTo>
                  <a:lnTo>
                    <a:pt x="92" y="1"/>
                  </a:lnTo>
                  <a:lnTo>
                    <a:pt x="90" y="8"/>
                  </a:lnTo>
                  <a:lnTo>
                    <a:pt x="88" y="16"/>
                  </a:lnTo>
                  <a:lnTo>
                    <a:pt x="82" y="25"/>
                  </a:lnTo>
                  <a:lnTo>
                    <a:pt x="74" y="34"/>
                  </a:lnTo>
                  <a:lnTo>
                    <a:pt x="63" y="40"/>
                  </a:lnTo>
                  <a:lnTo>
                    <a:pt x="49" y="43"/>
                  </a:lnTo>
                  <a:lnTo>
                    <a:pt x="49" y="124"/>
                  </a:lnTo>
                  <a:lnTo>
                    <a:pt x="49" y="121"/>
                  </a:lnTo>
                  <a:lnTo>
                    <a:pt x="50" y="116"/>
                  </a:lnTo>
                  <a:lnTo>
                    <a:pt x="53" y="108"/>
                  </a:lnTo>
                  <a:lnTo>
                    <a:pt x="59" y="100"/>
                  </a:lnTo>
                  <a:lnTo>
                    <a:pt x="67" y="94"/>
                  </a:lnTo>
                  <a:lnTo>
                    <a:pt x="81" y="92"/>
                  </a:lnTo>
                  <a:lnTo>
                    <a:pt x="81" y="93"/>
                  </a:lnTo>
                  <a:lnTo>
                    <a:pt x="80" y="98"/>
                  </a:lnTo>
                  <a:lnTo>
                    <a:pt x="77" y="106"/>
                  </a:lnTo>
                  <a:lnTo>
                    <a:pt x="73" y="114"/>
                  </a:lnTo>
                  <a:lnTo>
                    <a:pt x="67" y="121"/>
                  </a:lnTo>
                  <a:lnTo>
                    <a:pt x="59" y="127"/>
                  </a:lnTo>
                  <a:lnTo>
                    <a:pt x="49" y="129"/>
                  </a:lnTo>
                  <a:lnTo>
                    <a:pt x="49" y="210"/>
                  </a:lnTo>
                  <a:lnTo>
                    <a:pt x="43" y="210"/>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5" name="Freeform 14"/>
            <p:cNvSpPr>
              <a:spLocks/>
            </p:cNvSpPr>
            <p:nvPr/>
          </p:nvSpPr>
          <p:spPr bwMode="gray">
            <a:xfrm>
              <a:off x="1566" y="297"/>
              <a:ext cx="128" cy="292"/>
            </a:xfrm>
            <a:custGeom>
              <a:avLst/>
              <a:gdLst/>
              <a:ahLst/>
              <a:cxnLst>
                <a:cxn ang="0">
                  <a:pos x="61" y="225"/>
                </a:cxn>
                <a:cxn ang="0">
                  <a:pos x="54" y="225"/>
                </a:cxn>
                <a:cxn ang="0">
                  <a:pos x="38" y="219"/>
                </a:cxn>
                <a:cxn ang="0">
                  <a:pos x="23" y="206"/>
                </a:cxn>
                <a:cxn ang="0">
                  <a:pos x="15" y="180"/>
                </a:cxn>
                <a:cxn ang="0">
                  <a:pos x="23" y="180"/>
                </a:cxn>
                <a:cxn ang="0">
                  <a:pos x="38" y="186"/>
                </a:cxn>
                <a:cxn ang="0">
                  <a:pos x="54" y="205"/>
                </a:cxn>
                <a:cxn ang="0">
                  <a:pos x="61" y="151"/>
                </a:cxn>
                <a:cxn ang="0">
                  <a:pos x="52" y="149"/>
                </a:cxn>
                <a:cxn ang="0">
                  <a:pos x="34" y="144"/>
                </a:cxn>
                <a:cxn ang="0">
                  <a:pos x="16" y="128"/>
                </a:cxn>
                <a:cxn ang="0">
                  <a:pos x="8" y="98"/>
                </a:cxn>
                <a:cxn ang="0">
                  <a:pos x="15" y="97"/>
                </a:cxn>
                <a:cxn ang="0">
                  <a:pos x="29" y="101"/>
                </a:cxn>
                <a:cxn ang="0">
                  <a:pos x="47" y="116"/>
                </a:cxn>
                <a:cxn ang="0">
                  <a:pos x="61" y="147"/>
                </a:cxn>
                <a:cxn ang="0">
                  <a:pos x="58" y="60"/>
                </a:cxn>
                <a:cxn ang="0">
                  <a:pos x="44" y="58"/>
                </a:cxn>
                <a:cxn ang="0">
                  <a:pos x="25" y="50"/>
                </a:cxn>
                <a:cxn ang="0">
                  <a:pos x="8" y="32"/>
                </a:cxn>
                <a:cxn ang="0">
                  <a:pos x="0" y="0"/>
                </a:cxn>
                <a:cxn ang="0">
                  <a:pos x="8" y="0"/>
                </a:cxn>
                <a:cxn ang="0">
                  <a:pos x="27" y="5"/>
                </a:cxn>
                <a:cxn ang="0">
                  <a:pos x="48" y="21"/>
                </a:cxn>
                <a:cxn ang="0">
                  <a:pos x="65" y="56"/>
                </a:cxn>
                <a:cxn ang="0">
                  <a:pos x="66" y="48"/>
                </a:cxn>
                <a:cxn ang="0">
                  <a:pos x="77" y="28"/>
                </a:cxn>
                <a:cxn ang="0">
                  <a:pos x="96" y="9"/>
                </a:cxn>
                <a:cxn ang="0">
                  <a:pos x="128" y="0"/>
                </a:cxn>
                <a:cxn ang="0">
                  <a:pos x="127" y="9"/>
                </a:cxn>
                <a:cxn ang="0">
                  <a:pos x="119" y="31"/>
                </a:cxn>
                <a:cxn ang="0">
                  <a:pos x="101" y="51"/>
                </a:cxn>
                <a:cxn ang="0">
                  <a:pos x="67" y="60"/>
                </a:cxn>
                <a:cxn ang="0">
                  <a:pos x="69" y="170"/>
                </a:cxn>
                <a:cxn ang="0">
                  <a:pos x="73" y="155"/>
                </a:cxn>
                <a:cxn ang="0">
                  <a:pos x="86" y="136"/>
                </a:cxn>
                <a:cxn ang="0">
                  <a:pos x="113" y="128"/>
                </a:cxn>
                <a:cxn ang="0">
                  <a:pos x="112" y="136"/>
                </a:cxn>
                <a:cxn ang="0">
                  <a:pos x="105" y="153"/>
                </a:cxn>
                <a:cxn ang="0">
                  <a:pos x="92" y="172"/>
                </a:cxn>
                <a:cxn ang="0">
                  <a:pos x="67" y="180"/>
                </a:cxn>
                <a:cxn ang="0">
                  <a:pos x="61" y="292"/>
                </a:cxn>
              </a:cxnLst>
              <a:rect l="0" t="0" r="r" b="b"/>
              <a:pathLst>
                <a:path w="128" h="292">
                  <a:moveTo>
                    <a:pt x="61" y="292"/>
                  </a:moveTo>
                  <a:lnTo>
                    <a:pt x="61" y="225"/>
                  </a:lnTo>
                  <a:lnTo>
                    <a:pt x="58" y="225"/>
                  </a:lnTo>
                  <a:lnTo>
                    <a:pt x="54" y="225"/>
                  </a:lnTo>
                  <a:lnTo>
                    <a:pt x="46" y="222"/>
                  </a:lnTo>
                  <a:lnTo>
                    <a:pt x="38" y="219"/>
                  </a:lnTo>
                  <a:lnTo>
                    <a:pt x="29" y="214"/>
                  </a:lnTo>
                  <a:lnTo>
                    <a:pt x="23" y="206"/>
                  </a:lnTo>
                  <a:lnTo>
                    <a:pt x="17" y="195"/>
                  </a:lnTo>
                  <a:lnTo>
                    <a:pt x="15" y="180"/>
                  </a:lnTo>
                  <a:lnTo>
                    <a:pt x="17" y="180"/>
                  </a:lnTo>
                  <a:lnTo>
                    <a:pt x="23" y="180"/>
                  </a:lnTo>
                  <a:lnTo>
                    <a:pt x="29" y="182"/>
                  </a:lnTo>
                  <a:lnTo>
                    <a:pt x="38" y="186"/>
                  </a:lnTo>
                  <a:lnTo>
                    <a:pt x="47" y="194"/>
                  </a:lnTo>
                  <a:lnTo>
                    <a:pt x="54" y="205"/>
                  </a:lnTo>
                  <a:lnTo>
                    <a:pt x="61" y="221"/>
                  </a:lnTo>
                  <a:lnTo>
                    <a:pt x="61" y="151"/>
                  </a:lnTo>
                  <a:lnTo>
                    <a:pt x="58" y="149"/>
                  </a:lnTo>
                  <a:lnTo>
                    <a:pt x="52" y="149"/>
                  </a:lnTo>
                  <a:lnTo>
                    <a:pt x="44" y="147"/>
                  </a:lnTo>
                  <a:lnTo>
                    <a:pt x="34" y="144"/>
                  </a:lnTo>
                  <a:lnTo>
                    <a:pt x="24" y="137"/>
                  </a:lnTo>
                  <a:lnTo>
                    <a:pt x="16" y="128"/>
                  </a:lnTo>
                  <a:lnTo>
                    <a:pt x="11" y="114"/>
                  </a:lnTo>
                  <a:lnTo>
                    <a:pt x="8" y="98"/>
                  </a:lnTo>
                  <a:lnTo>
                    <a:pt x="9" y="97"/>
                  </a:lnTo>
                  <a:lnTo>
                    <a:pt x="15" y="97"/>
                  </a:lnTo>
                  <a:lnTo>
                    <a:pt x="21" y="98"/>
                  </a:lnTo>
                  <a:lnTo>
                    <a:pt x="29" y="101"/>
                  </a:lnTo>
                  <a:lnTo>
                    <a:pt x="39" y="106"/>
                  </a:lnTo>
                  <a:lnTo>
                    <a:pt x="47" y="116"/>
                  </a:lnTo>
                  <a:lnTo>
                    <a:pt x="55" y="128"/>
                  </a:lnTo>
                  <a:lnTo>
                    <a:pt x="61" y="147"/>
                  </a:lnTo>
                  <a:lnTo>
                    <a:pt x="61" y="60"/>
                  </a:lnTo>
                  <a:lnTo>
                    <a:pt x="58" y="60"/>
                  </a:lnTo>
                  <a:lnTo>
                    <a:pt x="52" y="59"/>
                  </a:lnTo>
                  <a:lnTo>
                    <a:pt x="44" y="58"/>
                  </a:lnTo>
                  <a:lnTo>
                    <a:pt x="35" y="55"/>
                  </a:lnTo>
                  <a:lnTo>
                    <a:pt x="25" y="50"/>
                  </a:lnTo>
                  <a:lnTo>
                    <a:pt x="16" y="43"/>
                  </a:lnTo>
                  <a:lnTo>
                    <a:pt x="8" y="32"/>
                  </a:lnTo>
                  <a:lnTo>
                    <a:pt x="3" y="19"/>
                  </a:lnTo>
                  <a:lnTo>
                    <a:pt x="0" y="0"/>
                  </a:lnTo>
                  <a:lnTo>
                    <a:pt x="3" y="0"/>
                  </a:lnTo>
                  <a:lnTo>
                    <a:pt x="8" y="0"/>
                  </a:lnTo>
                  <a:lnTo>
                    <a:pt x="16" y="1"/>
                  </a:lnTo>
                  <a:lnTo>
                    <a:pt x="27" y="5"/>
                  </a:lnTo>
                  <a:lnTo>
                    <a:pt x="38" y="10"/>
                  </a:lnTo>
                  <a:lnTo>
                    <a:pt x="48" y="21"/>
                  </a:lnTo>
                  <a:lnTo>
                    <a:pt x="56" y="36"/>
                  </a:lnTo>
                  <a:lnTo>
                    <a:pt x="65" y="56"/>
                  </a:lnTo>
                  <a:lnTo>
                    <a:pt x="65" y="54"/>
                  </a:lnTo>
                  <a:lnTo>
                    <a:pt x="66" y="48"/>
                  </a:lnTo>
                  <a:lnTo>
                    <a:pt x="70" y="39"/>
                  </a:lnTo>
                  <a:lnTo>
                    <a:pt x="77" y="28"/>
                  </a:lnTo>
                  <a:lnTo>
                    <a:pt x="85" y="19"/>
                  </a:lnTo>
                  <a:lnTo>
                    <a:pt x="96" y="9"/>
                  </a:lnTo>
                  <a:lnTo>
                    <a:pt x="110" y="2"/>
                  </a:lnTo>
                  <a:lnTo>
                    <a:pt x="128" y="0"/>
                  </a:lnTo>
                  <a:lnTo>
                    <a:pt x="128" y="2"/>
                  </a:lnTo>
                  <a:lnTo>
                    <a:pt x="127" y="9"/>
                  </a:lnTo>
                  <a:lnTo>
                    <a:pt x="124" y="19"/>
                  </a:lnTo>
                  <a:lnTo>
                    <a:pt x="119" y="31"/>
                  </a:lnTo>
                  <a:lnTo>
                    <a:pt x="112" y="41"/>
                  </a:lnTo>
                  <a:lnTo>
                    <a:pt x="101" y="51"/>
                  </a:lnTo>
                  <a:lnTo>
                    <a:pt x="86" y="58"/>
                  </a:lnTo>
                  <a:lnTo>
                    <a:pt x="67" y="60"/>
                  </a:lnTo>
                  <a:lnTo>
                    <a:pt x="67" y="172"/>
                  </a:lnTo>
                  <a:lnTo>
                    <a:pt x="69" y="170"/>
                  </a:lnTo>
                  <a:lnTo>
                    <a:pt x="70" y="164"/>
                  </a:lnTo>
                  <a:lnTo>
                    <a:pt x="73" y="155"/>
                  </a:lnTo>
                  <a:lnTo>
                    <a:pt x="78" y="145"/>
                  </a:lnTo>
                  <a:lnTo>
                    <a:pt x="86" y="136"/>
                  </a:lnTo>
                  <a:lnTo>
                    <a:pt x="97" y="130"/>
                  </a:lnTo>
                  <a:lnTo>
                    <a:pt x="113" y="128"/>
                  </a:lnTo>
                  <a:lnTo>
                    <a:pt x="113" y="130"/>
                  </a:lnTo>
                  <a:lnTo>
                    <a:pt x="112" y="136"/>
                  </a:lnTo>
                  <a:lnTo>
                    <a:pt x="109" y="144"/>
                  </a:lnTo>
                  <a:lnTo>
                    <a:pt x="105" y="153"/>
                  </a:lnTo>
                  <a:lnTo>
                    <a:pt x="100" y="163"/>
                  </a:lnTo>
                  <a:lnTo>
                    <a:pt x="92" y="172"/>
                  </a:lnTo>
                  <a:lnTo>
                    <a:pt x="82" y="178"/>
                  </a:lnTo>
                  <a:lnTo>
                    <a:pt x="67" y="180"/>
                  </a:lnTo>
                  <a:lnTo>
                    <a:pt x="67" y="292"/>
                  </a:lnTo>
                  <a:lnTo>
                    <a:pt x="61" y="29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6" name="Freeform 15"/>
            <p:cNvSpPr>
              <a:spLocks/>
            </p:cNvSpPr>
            <p:nvPr/>
          </p:nvSpPr>
          <p:spPr bwMode="gray">
            <a:xfrm>
              <a:off x="2596" y="332"/>
              <a:ext cx="68" cy="257"/>
            </a:xfrm>
            <a:custGeom>
              <a:avLst/>
              <a:gdLst/>
              <a:ahLst/>
              <a:cxnLst>
                <a:cxn ang="0">
                  <a:pos x="31" y="164"/>
                </a:cxn>
                <a:cxn ang="0">
                  <a:pos x="23" y="163"/>
                </a:cxn>
                <a:cxn ang="0">
                  <a:pos x="8" y="155"/>
                </a:cxn>
                <a:cxn ang="0">
                  <a:pos x="0" y="132"/>
                </a:cxn>
                <a:cxn ang="0">
                  <a:pos x="7" y="132"/>
                </a:cxn>
                <a:cxn ang="0">
                  <a:pos x="22" y="139"/>
                </a:cxn>
                <a:cxn ang="0">
                  <a:pos x="31" y="160"/>
                </a:cxn>
                <a:cxn ang="0">
                  <a:pos x="29" y="101"/>
                </a:cxn>
                <a:cxn ang="0">
                  <a:pos x="16" y="97"/>
                </a:cxn>
                <a:cxn ang="0">
                  <a:pos x="3" y="83"/>
                </a:cxn>
                <a:cxn ang="0">
                  <a:pos x="3" y="70"/>
                </a:cxn>
                <a:cxn ang="0">
                  <a:pos x="15" y="74"/>
                </a:cxn>
                <a:cxn ang="0">
                  <a:pos x="27" y="86"/>
                </a:cxn>
                <a:cxn ang="0">
                  <a:pos x="31" y="31"/>
                </a:cxn>
                <a:cxn ang="0">
                  <a:pos x="33" y="23"/>
                </a:cxn>
                <a:cxn ang="0">
                  <a:pos x="41" y="8"/>
                </a:cxn>
                <a:cxn ang="0">
                  <a:pos x="62" y="0"/>
                </a:cxn>
                <a:cxn ang="0">
                  <a:pos x="61" y="8"/>
                </a:cxn>
                <a:cxn ang="0">
                  <a:pos x="53" y="23"/>
                </a:cxn>
                <a:cxn ang="0">
                  <a:pos x="35" y="31"/>
                </a:cxn>
                <a:cxn ang="0">
                  <a:pos x="35" y="75"/>
                </a:cxn>
                <a:cxn ang="0">
                  <a:pos x="39" y="62"/>
                </a:cxn>
                <a:cxn ang="0">
                  <a:pos x="54" y="48"/>
                </a:cxn>
                <a:cxn ang="0">
                  <a:pos x="68" y="48"/>
                </a:cxn>
                <a:cxn ang="0">
                  <a:pos x="66" y="59"/>
                </a:cxn>
                <a:cxn ang="0">
                  <a:pos x="58" y="72"/>
                </a:cxn>
                <a:cxn ang="0">
                  <a:pos x="35" y="82"/>
                </a:cxn>
                <a:cxn ang="0">
                  <a:pos x="35" y="143"/>
                </a:cxn>
                <a:cxn ang="0">
                  <a:pos x="38" y="132"/>
                </a:cxn>
                <a:cxn ang="0">
                  <a:pos x="49" y="122"/>
                </a:cxn>
                <a:cxn ang="0">
                  <a:pos x="60" y="122"/>
                </a:cxn>
                <a:cxn ang="0">
                  <a:pos x="58" y="133"/>
                </a:cxn>
                <a:cxn ang="0">
                  <a:pos x="47" y="144"/>
                </a:cxn>
                <a:cxn ang="0">
                  <a:pos x="35" y="257"/>
                </a:cxn>
              </a:cxnLst>
              <a:rect l="0" t="0" r="r" b="b"/>
              <a:pathLst>
                <a:path w="68" h="257">
                  <a:moveTo>
                    <a:pt x="31" y="257"/>
                  </a:moveTo>
                  <a:lnTo>
                    <a:pt x="31" y="164"/>
                  </a:lnTo>
                  <a:lnTo>
                    <a:pt x="29" y="163"/>
                  </a:lnTo>
                  <a:lnTo>
                    <a:pt x="23" y="163"/>
                  </a:lnTo>
                  <a:lnTo>
                    <a:pt x="16" y="160"/>
                  </a:lnTo>
                  <a:lnTo>
                    <a:pt x="8" y="155"/>
                  </a:lnTo>
                  <a:lnTo>
                    <a:pt x="3" y="145"/>
                  </a:lnTo>
                  <a:lnTo>
                    <a:pt x="0" y="132"/>
                  </a:lnTo>
                  <a:lnTo>
                    <a:pt x="3" y="132"/>
                  </a:lnTo>
                  <a:lnTo>
                    <a:pt x="7" y="132"/>
                  </a:lnTo>
                  <a:lnTo>
                    <a:pt x="15" y="135"/>
                  </a:lnTo>
                  <a:lnTo>
                    <a:pt x="22" y="139"/>
                  </a:lnTo>
                  <a:lnTo>
                    <a:pt x="27" y="147"/>
                  </a:lnTo>
                  <a:lnTo>
                    <a:pt x="31" y="160"/>
                  </a:lnTo>
                  <a:lnTo>
                    <a:pt x="31" y="101"/>
                  </a:lnTo>
                  <a:lnTo>
                    <a:pt x="29" y="101"/>
                  </a:lnTo>
                  <a:lnTo>
                    <a:pt x="23" y="99"/>
                  </a:lnTo>
                  <a:lnTo>
                    <a:pt x="16" y="97"/>
                  </a:lnTo>
                  <a:lnTo>
                    <a:pt x="8" y="91"/>
                  </a:lnTo>
                  <a:lnTo>
                    <a:pt x="3" y="83"/>
                  </a:lnTo>
                  <a:lnTo>
                    <a:pt x="0" y="70"/>
                  </a:lnTo>
                  <a:lnTo>
                    <a:pt x="3" y="70"/>
                  </a:lnTo>
                  <a:lnTo>
                    <a:pt x="7" y="71"/>
                  </a:lnTo>
                  <a:lnTo>
                    <a:pt x="15" y="74"/>
                  </a:lnTo>
                  <a:lnTo>
                    <a:pt x="22" y="78"/>
                  </a:lnTo>
                  <a:lnTo>
                    <a:pt x="27" y="86"/>
                  </a:lnTo>
                  <a:lnTo>
                    <a:pt x="31" y="97"/>
                  </a:lnTo>
                  <a:lnTo>
                    <a:pt x="31" y="31"/>
                  </a:lnTo>
                  <a:lnTo>
                    <a:pt x="31" y="28"/>
                  </a:lnTo>
                  <a:lnTo>
                    <a:pt x="33" y="23"/>
                  </a:lnTo>
                  <a:lnTo>
                    <a:pt x="35" y="15"/>
                  </a:lnTo>
                  <a:lnTo>
                    <a:pt x="41" y="8"/>
                  </a:lnTo>
                  <a:lnTo>
                    <a:pt x="50" y="2"/>
                  </a:lnTo>
                  <a:lnTo>
                    <a:pt x="62" y="0"/>
                  </a:lnTo>
                  <a:lnTo>
                    <a:pt x="62" y="2"/>
                  </a:lnTo>
                  <a:lnTo>
                    <a:pt x="61" y="8"/>
                  </a:lnTo>
                  <a:lnTo>
                    <a:pt x="58" y="15"/>
                  </a:lnTo>
                  <a:lnTo>
                    <a:pt x="53" y="23"/>
                  </a:lnTo>
                  <a:lnTo>
                    <a:pt x="46" y="28"/>
                  </a:lnTo>
                  <a:lnTo>
                    <a:pt x="35" y="31"/>
                  </a:lnTo>
                  <a:lnTo>
                    <a:pt x="35" y="78"/>
                  </a:lnTo>
                  <a:lnTo>
                    <a:pt x="35" y="75"/>
                  </a:lnTo>
                  <a:lnTo>
                    <a:pt x="37" y="70"/>
                  </a:lnTo>
                  <a:lnTo>
                    <a:pt x="39" y="62"/>
                  </a:lnTo>
                  <a:lnTo>
                    <a:pt x="45" y="55"/>
                  </a:lnTo>
                  <a:lnTo>
                    <a:pt x="54" y="48"/>
                  </a:lnTo>
                  <a:lnTo>
                    <a:pt x="66" y="47"/>
                  </a:lnTo>
                  <a:lnTo>
                    <a:pt x="68" y="48"/>
                  </a:lnTo>
                  <a:lnTo>
                    <a:pt x="68" y="52"/>
                  </a:lnTo>
                  <a:lnTo>
                    <a:pt x="66" y="59"/>
                  </a:lnTo>
                  <a:lnTo>
                    <a:pt x="64" y="66"/>
                  </a:lnTo>
                  <a:lnTo>
                    <a:pt x="58" y="72"/>
                  </a:lnTo>
                  <a:lnTo>
                    <a:pt x="50" y="78"/>
                  </a:lnTo>
                  <a:lnTo>
                    <a:pt x="35" y="82"/>
                  </a:lnTo>
                  <a:lnTo>
                    <a:pt x="35" y="144"/>
                  </a:lnTo>
                  <a:lnTo>
                    <a:pt x="35" y="143"/>
                  </a:lnTo>
                  <a:lnTo>
                    <a:pt x="37" y="139"/>
                  </a:lnTo>
                  <a:lnTo>
                    <a:pt x="38" y="132"/>
                  </a:lnTo>
                  <a:lnTo>
                    <a:pt x="42" y="126"/>
                  </a:lnTo>
                  <a:lnTo>
                    <a:pt x="49" y="122"/>
                  </a:lnTo>
                  <a:lnTo>
                    <a:pt x="58" y="121"/>
                  </a:lnTo>
                  <a:lnTo>
                    <a:pt x="60" y="122"/>
                  </a:lnTo>
                  <a:lnTo>
                    <a:pt x="60" y="126"/>
                  </a:lnTo>
                  <a:lnTo>
                    <a:pt x="58" y="133"/>
                  </a:lnTo>
                  <a:lnTo>
                    <a:pt x="56" y="139"/>
                  </a:lnTo>
                  <a:lnTo>
                    <a:pt x="47" y="144"/>
                  </a:lnTo>
                  <a:lnTo>
                    <a:pt x="35" y="148"/>
                  </a:lnTo>
                  <a:lnTo>
                    <a:pt x="35" y="257"/>
                  </a:lnTo>
                  <a:lnTo>
                    <a:pt x="31" y="257"/>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7" name="Freeform 16"/>
            <p:cNvSpPr>
              <a:spLocks/>
            </p:cNvSpPr>
            <p:nvPr/>
          </p:nvSpPr>
          <p:spPr bwMode="gray">
            <a:xfrm>
              <a:off x="1672" y="164"/>
              <a:ext cx="111" cy="425"/>
            </a:xfrm>
            <a:custGeom>
              <a:avLst/>
              <a:gdLst/>
              <a:ahLst/>
              <a:cxnLst>
                <a:cxn ang="0">
                  <a:pos x="52" y="272"/>
                </a:cxn>
                <a:cxn ang="0">
                  <a:pos x="44" y="270"/>
                </a:cxn>
                <a:cxn ang="0">
                  <a:pos x="26" y="265"/>
                </a:cxn>
                <a:cxn ang="0">
                  <a:pos x="8" y="249"/>
                </a:cxn>
                <a:cxn ang="0">
                  <a:pos x="0" y="219"/>
                </a:cxn>
                <a:cxn ang="0">
                  <a:pos x="8" y="219"/>
                </a:cxn>
                <a:cxn ang="0">
                  <a:pos x="25" y="223"/>
                </a:cxn>
                <a:cxn ang="0">
                  <a:pos x="41" y="235"/>
                </a:cxn>
                <a:cxn ang="0">
                  <a:pos x="52" y="265"/>
                </a:cxn>
                <a:cxn ang="0">
                  <a:pos x="50" y="168"/>
                </a:cxn>
                <a:cxn ang="0">
                  <a:pos x="35" y="165"/>
                </a:cxn>
                <a:cxn ang="0">
                  <a:pos x="17" y="156"/>
                </a:cxn>
                <a:cxn ang="0">
                  <a:pos x="3" y="134"/>
                </a:cxn>
                <a:cxn ang="0">
                  <a:pos x="3" y="116"/>
                </a:cxn>
                <a:cxn ang="0">
                  <a:pos x="19" y="120"/>
                </a:cxn>
                <a:cxn ang="0">
                  <a:pos x="39" y="133"/>
                </a:cxn>
                <a:cxn ang="0">
                  <a:pos x="52" y="161"/>
                </a:cxn>
                <a:cxn ang="0">
                  <a:pos x="53" y="50"/>
                </a:cxn>
                <a:cxn ang="0">
                  <a:pos x="54" y="36"/>
                </a:cxn>
                <a:cxn ang="0">
                  <a:pos x="65" y="17"/>
                </a:cxn>
                <a:cxn ang="0">
                  <a:pos x="87" y="3"/>
                </a:cxn>
                <a:cxn ang="0">
                  <a:pos x="103" y="3"/>
                </a:cxn>
                <a:cxn ang="0">
                  <a:pos x="99" y="21"/>
                </a:cxn>
                <a:cxn ang="0">
                  <a:pos x="84" y="42"/>
                </a:cxn>
                <a:cxn ang="0">
                  <a:pos x="58" y="52"/>
                </a:cxn>
                <a:cxn ang="0">
                  <a:pos x="58" y="127"/>
                </a:cxn>
                <a:cxn ang="0">
                  <a:pos x="61" y="112"/>
                </a:cxn>
                <a:cxn ang="0">
                  <a:pos x="72" y="94"/>
                </a:cxn>
                <a:cxn ang="0">
                  <a:pos x="93" y="80"/>
                </a:cxn>
                <a:cxn ang="0">
                  <a:pos x="111" y="80"/>
                </a:cxn>
                <a:cxn ang="0">
                  <a:pos x="111" y="91"/>
                </a:cxn>
                <a:cxn ang="0">
                  <a:pos x="107" y="108"/>
                </a:cxn>
                <a:cxn ang="0">
                  <a:pos x="91" y="126"/>
                </a:cxn>
                <a:cxn ang="0">
                  <a:pos x="58" y="135"/>
                </a:cxn>
                <a:cxn ang="0">
                  <a:pos x="58" y="236"/>
                </a:cxn>
                <a:cxn ang="0">
                  <a:pos x="61" y="223"/>
                </a:cxn>
                <a:cxn ang="0">
                  <a:pos x="73" y="208"/>
                </a:cxn>
                <a:cxn ang="0">
                  <a:pos x="97" y="200"/>
                </a:cxn>
                <a:cxn ang="0">
                  <a:pos x="99" y="207"/>
                </a:cxn>
                <a:cxn ang="0">
                  <a:pos x="97" y="220"/>
                </a:cxn>
                <a:cxn ang="0">
                  <a:pos x="87" y="235"/>
                </a:cxn>
                <a:cxn ang="0">
                  <a:pos x="58" y="245"/>
                </a:cxn>
                <a:cxn ang="0">
                  <a:pos x="52" y="425"/>
                </a:cxn>
              </a:cxnLst>
              <a:rect l="0" t="0" r="r" b="b"/>
              <a:pathLst>
                <a:path w="111" h="425">
                  <a:moveTo>
                    <a:pt x="52" y="425"/>
                  </a:moveTo>
                  <a:lnTo>
                    <a:pt x="52" y="272"/>
                  </a:lnTo>
                  <a:lnTo>
                    <a:pt x="50" y="270"/>
                  </a:lnTo>
                  <a:lnTo>
                    <a:pt x="44" y="270"/>
                  </a:lnTo>
                  <a:lnTo>
                    <a:pt x="35" y="269"/>
                  </a:lnTo>
                  <a:lnTo>
                    <a:pt x="26" y="265"/>
                  </a:lnTo>
                  <a:lnTo>
                    <a:pt x="17" y="258"/>
                  </a:lnTo>
                  <a:lnTo>
                    <a:pt x="8" y="249"/>
                  </a:lnTo>
                  <a:lnTo>
                    <a:pt x="3" y="236"/>
                  </a:lnTo>
                  <a:lnTo>
                    <a:pt x="0" y="219"/>
                  </a:lnTo>
                  <a:lnTo>
                    <a:pt x="3" y="219"/>
                  </a:lnTo>
                  <a:lnTo>
                    <a:pt x="8" y="219"/>
                  </a:lnTo>
                  <a:lnTo>
                    <a:pt x="15" y="220"/>
                  </a:lnTo>
                  <a:lnTo>
                    <a:pt x="25" y="223"/>
                  </a:lnTo>
                  <a:lnTo>
                    <a:pt x="33" y="227"/>
                  </a:lnTo>
                  <a:lnTo>
                    <a:pt x="41" y="235"/>
                  </a:lnTo>
                  <a:lnTo>
                    <a:pt x="48" y="247"/>
                  </a:lnTo>
                  <a:lnTo>
                    <a:pt x="52" y="265"/>
                  </a:lnTo>
                  <a:lnTo>
                    <a:pt x="52" y="168"/>
                  </a:lnTo>
                  <a:lnTo>
                    <a:pt x="50" y="168"/>
                  </a:lnTo>
                  <a:lnTo>
                    <a:pt x="44" y="168"/>
                  </a:lnTo>
                  <a:lnTo>
                    <a:pt x="35" y="165"/>
                  </a:lnTo>
                  <a:lnTo>
                    <a:pt x="26" y="161"/>
                  </a:lnTo>
                  <a:lnTo>
                    <a:pt x="17" y="156"/>
                  </a:lnTo>
                  <a:lnTo>
                    <a:pt x="8" y="146"/>
                  </a:lnTo>
                  <a:lnTo>
                    <a:pt x="3" y="134"/>
                  </a:lnTo>
                  <a:lnTo>
                    <a:pt x="0" y="116"/>
                  </a:lnTo>
                  <a:lnTo>
                    <a:pt x="3" y="116"/>
                  </a:lnTo>
                  <a:lnTo>
                    <a:pt x="10" y="118"/>
                  </a:lnTo>
                  <a:lnTo>
                    <a:pt x="19" y="120"/>
                  </a:lnTo>
                  <a:lnTo>
                    <a:pt x="29" y="125"/>
                  </a:lnTo>
                  <a:lnTo>
                    <a:pt x="39" y="133"/>
                  </a:lnTo>
                  <a:lnTo>
                    <a:pt x="48" y="145"/>
                  </a:lnTo>
                  <a:lnTo>
                    <a:pt x="52" y="161"/>
                  </a:lnTo>
                  <a:lnTo>
                    <a:pt x="52" y="52"/>
                  </a:lnTo>
                  <a:lnTo>
                    <a:pt x="53" y="50"/>
                  </a:lnTo>
                  <a:lnTo>
                    <a:pt x="53" y="44"/>
                  </a:lnTo>
                  <a:lnTo>
                    <a:pt x="54" y="36"/>
                  </a:lnTo>
                  <a:lnTo>
                    <a:pt x="58" y="26"/>
                  </a:lnTo>
                  <a:lnTo>
                    <a:pt x="65" y="17"/>
                  </a:lnTo>
                  <a:lnTo>
                    <a:pt x="75" y="9"/>
                  </a:lnTo>
                  <a:lnTo>
                    <a:pt x="87" y="3"/>
                  </a:lnTo>
                  <a:lnTo>
                    <a:pt x="104" y="0"/>
                  </a:lnTo>
                  <a:lnTo>
                    <a:pt x="103" y="3"/>
                  </a:lnTo>
                  <a:lnTo>
                    <a:pt x="102" y="11"/>
                  </a:lnTo>
                  <a:lnTo>
                    <a:pt x="99" y="21"/>
                  </a:lnTo>
                  <a:lnTo>
                    <a:pt x="92" y="32"/>
                  </a:lnTo>
                  <a:lnTo>
                    <a:pt x="84" y="42"/>
                  </a:lnTo>
                  <a:lnTo>
                    <a:pt x="73" y="49"/>
                  </a:lnTo>
                  <a:lnTo>
                    <a:pt x="58" y="52"/>
                  </a:lnTo>
                  <a:lnTo>
                    <a:pt x="58" y="130"/>
                  </a:lnTo>
                  <a:lnTo>
                    <a:pt x="58" y="127"/>
                  </a:lnTo>
                  <a:lnTo>
                    <a:pt x="60" y="122"/>
                  </a:lnTo>
                  <a:lnTo>
                    <a:pt x="61" y="112"/>
                  </a:lnTo>
                  <a:lnTo>
                    <a:pt x="65" y="103"/>
                  </a:lnTo>
                  <a:lnTo>
                    <a:pt x="72" y="94"/>
                  </a:lnTo>
                  <a:lnTo>
                    <a:pt x="80" y="85"/>
                  </a:lnTo>
                  <a:lnTo>
                    <a:pt x="93" y="80"/>
                  </a:lnTo>
                  <a:lnTo>
                    <a:pt x="110" y="77"/>
                  </a:lnTo>
                  <a:lnTo>
                    <a:pt x="111" y="80"/>
                  </a:lnTo>
                  <a:lnTo>
                    <a:pt x="111" y="84"/>
                  </a:lnTo>
                  <a:lnTo>
                    <a:pt x="111" y="91"/>
                  </a:lnTo>
                  <a:lnTo>
                    <a:pt x="110" y="100"/>
                  </a:lnTo>
                  <a:lnTo>
                    <a:pt x="107" y="108"/>
                  </a:lnTo>
                  <a:lnTo>
                    <a:pt x="100" y="118"/>
                  </a:lnTo>
                  <a:lnTo>
                    <a:pt x="91" y="126"/>
                  </a:lnTo>
                  <a:lnTo>
                    <a:pt x="77" y="133"/>
                  </a:lnTo>
                  <a:lnTo>
                    <a:pt x="58" y="135"/>
                  </a:lnTo>
                  <a:lnTo>
                    <a:pt x="58" y="239"/>
                  </a:lnTo>
                  <a:lnTo>
                    <a:pt x="58" y="236"/>
                  </a:lnTo>
                  <a:lnTo>
                    <a:pt x="60" y="231"/>
                  </a:lnTo>
                  <a:lnTo>
                    <a:pt x="61" y="223"/>
                  </a:lnTo>
                  <a:lnTo>
                    <a:pt x="66" y="215"/>
                  </a:lnTo>
                  <a:lnTo>
                    <a:pt x="73" y="208"/>
                  </a:lnTo>
                  <a:lnTo>
                    <a:pt x="83" y="203"/>
                  </a:lnTo>
                  <a:lnTo>
                    <a:pt x="97" y="200"/>
                  </a:lnTo>
                  <a:lnTo>
                    <a:pt x="97" y="201"/>
                  </a:lnTo>
                  <a:lnTo>
                    <a:pt x="99" y="207"/>
                  </a:lnTo>
                  <a:lnTo>
                    <a:pt x="99" y="212"/>
                  </a:lnTo>
                  <a:lnTo>
                    <a:pt x="97" y="220"/>
                  </a:lnTo>
                  <a:lnTo>
                    <a:pt x="93" y="228"/>
                  </a:lnTo>
                  <a:lnTo>
                    <a:pt x="87" y="235"/>
                  </a:lnTo>
                  <a:lnTo>
                    <a:pt x="75" y="242"/>
                  </a:lnTo>
                  <a:lnTo>
                    <a:pt x="58" y="245"/>
                  </a:lnTo>
                  <a:lnTo>
                    <a:pt x="58" y="425"/>
                  </a:lnTo>
                  <a:lnTo>
                    <a:pt x="52" y="425"/>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8" name="Freeform 17"/>
            <p:cNvSpPr>
              <a:spLocks/>
            </p:cNvSpPr>
            <p:nvPr/>
          </p:nvSpPr>
          <p:spPr bwMode="gray">
            <a:xfrm>
              <a:off x="2065" y="361"/>
              <a:ext cx="100" cy="228"/>
            </a:xfrm>
            <a:custGeom>
              <a:avLst/>
              <a:gdLst/>
              <a:ahLst/>
              <a:cxnLst>
                <a:cxn ang="0">
                  <a:pos x="52" y="176"/>
                </a:cxn>
                <a:cxn ang="0">
                  <a:pos x="59" y="176"/>
                </a:cxn>
                <a:cxn ang="0">
                  <a:pos x="74" y="169"/>
                </a:cxn>
                <a:cxn ang="0">
                  <a:pos x="86" y="154"/>
                </a:cxn>
                <a:cxn ang="0">
                  <a:pos x="86" y="141"/>
                </a:cxn>
                <a:cxn ang="0">
                  <a:pos x="74" y="143"/>
                </a:cxn>
                <a:cxn ang="0">
                  <a:pos x="58" y="158"/>
                </a:cxn>
                <a:cxn ang="0">
                  <a:pos x="52" y="118"/>
                </a:cxn>
                <a:cxn ang="0">
                  <a:pos x="61" y="116"/>
                </a:cxn>
                <a:cxn ang="0">
                  <a:pos x="78" y="110"/>
                </a:cxn>
                <a:cxn ang="0">
                  <a:pos x="92" y="92"/>
                </a:cxn>
                <a:cxn ang="0">
                  <a:pos x="92" y="77"/>
                </a:cxn>
                <a:cxn ang="0">
                  <a:pos x="81" y="79"/>
                </a:cxn>
                <a:cxn ang="0">
                  <a:pos x="65" y="88"/>
                </a:cxn>
                <a:cxn ang="0">
                  <a:pos x="52" y="115"/>
                </a:cxn>
                <a:cxn ang="0">
                  <a:pos x="55" y="48"/>
                </a:cxn>
                <a:cxn ang="0">
                  <a:pos x="67" y="45"/>
                </a:cxn>
                <a:cxn ang="0">
                  <a:pos x="85" y="37"/>
                </a:cxn>
                <a:cxn ang="0">
                  <a:pos x="97" y="17"/>
                </a:cxn>
                <a:cxn ang="0">
                  <a:pos x="97" y="0"/>
                </a:cxn>
                <a:cxn ang="0">
                  <a:pos x="83" y="3"/>
                </a:cxn>
                <a:cxn ang="0">
                  <a:pos x="65" y="14"/>
                </a:cxn>
                <a:cxn ang="0">
                  <a:pos x="50" y="45"/>
                </a:cxn>
                <a:cxn ang="0">
                  <a:pos x="47" y="35"/>
                </a:cxn>
                <a:cxn ang="0">
                  <a:pos x="38" y="18"/>
                </a:cxn>
                <a:cxn ang="0">
                  <a:pos x="16" y="3"/>
                </a:cxn>
                <a:cxn ang="0">
                  <a:pos x="1" y="3"/>
                </a:cxn>
                <a:cxn ang="0">
                  <a:pos x="5" y="19"/>
                </a:cxn>
                <a:cxn ang="0">
                  <a:pos x="19" y="38"/>
                </a:cxn>
                <a:cxn ang="0">
                  <a:pos x="47" y="48"/>
                </a:cxn>
                <a:cxn ang="0">
                  <a:pos x="47" y="132"/>
                </a:cxn>
                <a:cxn ang="0">
                  <a:pos x="42" y="118"/>
                </a:cxn>
                <a:cxn ang="0">
                  <a:pos x="25" y="103"/>
                </a:cxn>
                <a:cxn ang="0">
                  <a:pos x="12" y="103"/>
                </a:cxn>
                <a:cxn ang="0">
                  <a:pos x="16" y="116"/>
                </a:cxn>
                <a:cxn ang="0">
                  <a:pos x="25" y="132"/>
                </a:cxn>
                <a:cxn ang="0">
                  <a:pos x="47" y="141"/>
                </a:cxn>
                <a:cxn ang="0">
                  <a:pos x="52" y="228"/>
                </a:cxn>
              </a:cxnLst>
              <a:rect l="0" t="0" r="r" b="b"/>
              <a:pathLst>
                <a:path w="100" h="228">
                  <a:moveTo>
                    <a:pt x="52" y="228"/>
                  </a:moveTo>
                  <a:lnTo>
                    <a:pt x="52" y="176"/>
                  </a:lnTo>
                  <a:lnTo>
                    <a:pt x="55" y="176"/>
                  </a:lnTo>
                  <a:lnTo>
                    <a:pt x="59" y="176"/>
                  </a:lnTo>
                  <a:lnTo>
                    <a:pt x="67" y="173"/>
                  </a:lnTo>
                  <a:lnTo>
                    <a:pt x="74" y="169"/>
                  </a:lnTo>
                  <a:lnTo>
                    <a:pt x="81" y="163"/>
                  </a:lnTo>
                  <a:lnTo>
                    <a:pt x="86" y="154"/>
                  </a:lnTo>
                  <a:lnTo>
                    <a:pt x="88" y="141"/>
                  </a:lnTo>
                  <a:lnTo>
                    <a:pt x="86" y="141"/>
                  </a:lnTo>
                  <a:lnTo>
                    <a:pt x="81" y="142"/>
                  </a:lnTo>
                  <a:lnTo>
                    <a:pt x="74" y="143"/>
                  </a:lnTo>
                  <a:lnTo>
                    <a:pt x="66" y="149"/>
                  </a:lnTo>
                  <a:lnTo>
                    <a:pt x="58" y="158"/>
                  </a:lnTo>
                  <a:lnTo>
                    <a:pt x="52" y="173"/>
                  </a:lnTo>
                  <a:lnTo>
                    <a:pt x="52" y="118"/>
                  </a:lnTo>
                  <a:lnTo>
                    <a:pt x="55" y="118"/>
                  </a:lnTo>
                  <a:lnTo>
                    <a:pt x="61" y="116"/>
                  </a:lnTo>
                  <a:lnTo>
                    <a:pt x="69" y="115"/>
                  </a:lnTo>
                  <a:lnTo>
                    <a:pt x="78" y="110"/>
                  </a:lnTo>
                  <a:lnTo>
                    <a:pt x="86" y="103"/>
                  </a:lnTo>
                  <a:lnTo>
                    <a:pt x="92" y="92"/>
                  </a:lnTo>
                  <a:lnTo>
                    <a:pt x="94" y="77"/>
                  </a:lnTo>
                  <a:lnTo>
                    <a:pt x="92" y="77"/>
                  </a:lnTo>
                  <a:lnTo>
                    <a:pt x="88" y="77"/>
                  </a:lnTo>
                  <a:lnTo>
                    <a:pt x="81" y="79"/>
                  </a:lnTo>
                  <a:lnTo>
                    <a:pt x="73" y="81"/>
                  </a:lnTo>
                  <a:lnTo>
                    <a:pt x="65" y="88"/>
                  </a:lnTo>
                  <a:lnTo>
                    <a:pt x="58" y="99"/>
                  </a:lnTo>
                  <a:lnTo>
                    <a:pt x="52" y="115"/>
                  </a:lnTo>
                  <a:lnTo>
                    <a:pt x="52" y="48"/>
                  </a:lnTo>
                  <a:lnTo>
                    <a:pt x="55" y="48"/>
                  </a:lnTo>
                  <a:lnTo>
                    <a:pt x="61" y="48"/>
                  </a:lnTo>
                  <a:lnTo>
                    <a:pt x="67" y="45"/>
                  </a:lnTo>
                  <a:lnTo>
                    <a:pt x="77" y="42"/>
                  </a:lnTo>
                  <a:lnTo>
                    <a:pt x="85" y="37"/>
                  </a:lnTo>
                  <a:lnTo>
                    <a:pt x="92" y="27"/>
                  </a:lnTo>
                  <a:lnTo>
                    <a:pt x="97" y="17"/>
                  </a:lnTo>
                  <a:lnTo>
                    <a:pt x="100" y="0"/>
                  </a:lnTo>
                  <a:lnTo>
                    <a:pt x="97" y="0"/>
                  </a:lnTo>
                  <a:lnTo>
                    <a:pt x="92" y="0"/>
                  </a:lnTo>
                  <a:lnTo>
                    <a:pt x="83" y="3"/>
                  </a:lnTo>
                  <a:lnTo>
                    <a:pt x="74" y="7"/>
                  </a:lnTo>
                  <a:lnTo>
                    <a:pt x="65" y="14"/>
                  </a:lnTo>
                  <a:lnTo>
                    <a:pt x="56" y="27"/>
                  </a:lnTo>
                  <a:lnTo>
                    <a:pt x="50" y="45"/>
                  </a:lnTo>
                  <a:lnTo>
                    <a:pt x="50" y="42"/>
                  </a:lnTo>
                  <a:lnTo>
                    <a:pt x="47" y="35"/>
                  </a:lnTo>
                  <a:lnTo>
                    <a:pt x="43" y="27"/>
                  </a:lnTo>
                  <a:lnTo>
                    <a:pt x="38" y="18"/>
                  </a:lnTo>
                  <a:lnTo>
                    <a:pt x="28" y="10"/>
                  </a:lnTo>
                  <a:lnTo>
                    <a:pt x="16" y="3"/>
                  </a:lnTo>
                  <a:lnTo>
                    <a:pt x="0" y="0"/>
                  </a:lnTo>
                  <a:lnTo>
                    <a:pt x="1" y="3"/>
                  </a:lnTo>
                  <a:lnTo>
                    <a:pt x="3" y="10"/>
                  </a:lnTo>
                  <a:lnTo>
                    <a:pt x="5" y="19"/>
                  </a:lnTo>
                  <a:lnTo>
                    <a:pt x="11" y="29"/>
                  </a:lnTo>
                  <a:lnTo>
                    <a:pt x="19" y="38"/>
                  </a:lnTo>
                  <a:lnTo>
                    <a:pt x="31" y="45"/>
                  </a:lnTo>
                  <a:lnTo>
                    <a:pt x="47" y="48"/>
                  </a:lnTo>
                  <a:lnTo>
                    <a:pt x="47" y="135"/>
                  </a:lnTo>
                  <a:lnTo>
                    <a:pt x="47" y="132"/>
                  </a:lnTo>
                  <a:lnTo>
                    <a:pt x="46" y="126"/>
                  </a:lnTo>
                  <a:lnTo>
                    <a:pt x="42" y="118"/>
                  </a:lnTo>
                  <a:lnTo>
                    <a:pt x="35" y="110"/>
                  </a:lnTo>
                  <a:lnTo>
                    <a:pt x="25" y="103"/>
                  </a:lnTo>
                  <a:lnTo>
                    <a:pt x="12" y="100"/>
                  </a:lnTo>
                  <a:lnTo>
                    <a:pt x="12" y="103"/>
                  </a:lnTo>
                  <a:lnTo>
                    <a:pt x="13" y="108"/>
                  </a:lnTo>
                  <a:lnTo>
                    <a:pt x="16" y="116"/>
                  </a:lnTo>
                  <a:lnTo>
                    <a:pt x="20" y="124"/>
                  </a:lnTo>
                  <a:lnTo>
                    <a:pt x="25" y="132"/>
                  </a:lnTo>
                  <a:lnTo>
                    <a:pt x="35" y="139"/>
                  </a:lnTo>
                  <a:lnTo>
                    <a:pt x="47" y="141"/>
                  </a:lnTo>
                  <a:lnTo>
                    <a:pt x="47" y="228"/>
                  </a:lnTo>
                  <a:lnTo>
                    <a:pt x="52"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19" name="Freeform 18"/>
            <p:cNvSpPr>
              <a:spLocks/>
            </p:cNvSpPr>
            <p:nvPr/>
          </p:nvSpPr>
          <p:spPr bwMode="gray">
            <a:xfrm>
              <a:off x="2921" y="361"/>
              <a:ext cx="100" cy="228"/>
            </a:xfrm>
            <a:custGeom>
              <a:avLst/>
              <a:gdLst/>
              <a:ahLst/>
              <a:cxnLst>
                <a:cxn ang="0">
                  <a:pos x="53" y="176"/>
                </a:cxn>
                <a:cxn ang="0">
                  <a:pos x="60" y="176"/>
                </a:cxn>
                <a:cxn ang="0">
                  <a:pos x="74" y="169"/>
                </a:cxn>
                <a:cxn ang="0">
                  <a:pos x="87" y="154"/>
                </a:cxn>
                <a:cxn ang="0">
                  <a:pos x="87" y="141"/>
                </a:cxn>
                <a:cxn ang="0">
                  <a:pos x="74" y="143"/>
                </a:cxn>
                <a:cxn ang="0">
                  <a:pos x="60" y="158"/>
                </a:cxn>
                <a:cxn ang="0">
                  <a:pos x="53" y="118"/>
                </a:cxn>
                <a:cxn ang="0">
                  <a:pos x="61" y="116"/>
                </a:cxn>
                <a:cxn ang="0">
                  <a:pos x="78" y="110"/>
                </a:cxn>
                <a:cxn ang="0">
                  <a:pos x="92" y="92"/>
                </a:cxn>
                <a:cxn ang="0">
                  <a:pos x="92" y="77"/>
                </a:cxn>
                <a:cxn ang="0">
                  <a:pos x="81" y="79"/>
                </a:cxn>
                <a:cxn ang="0">
                  <a:pos x="65" y="88"/>
                </a:cxn>
                <a:cxn ang="0">
                  <a:pos x="53" y="115"/>
                </a:cxn>
                <a:cxn ang="0">
                  <a:pos x="56" y="48"/>
                </a:cxn>
                <a:cxn ang="0">
                  <a:pos x="68" y="45"/>
                </a:cxn>
                <a:cxn ang="0">
                  <a:pos x="85" y="37"/>
                </a:cxn>
                <a:cxn ang="0">
                  <a:pos x="97" y="17"/>
                </a:cxn>
                <a:cxn ang="0">
                  <a:pos x="97" y="0"/>
                </a:cxn>
                <a:cxn ang="0">
                  <a:pos x="84" y="3"/>
                </a:cxn>
                <a:cxn ang="0">
                  <a:pos x="65" y="14"/>
                </a:cxn>
                <a:cxn ang="0">
                  <a:pos x="50" y="45"/>
                </a:cxn>
                <a:cxn ang="0">
                  <a:pos x="47" y="35"/>
                </a:cxn>
                <a:cxn ang="0">
                  <a:pos x="38" y="18"/>
                </a:cxn>
                <a:cxn ang="0">
                  <a:pos x="16" y="3"/>
                </a:cxn>
                <a:cxn ang="0">
                  <a:pos x="2" y="3"/>
                </a:cxn>
                <a:cxn ang="0">
                  <a:pos x="6" y="19"/>
                </a:cxn>
                <a:cxn ang="0">
                  <a:pos x="19" y="38"/>
                </a:cxn>
                <a:cxn ang="0">
                  <a:pos x="47" y="48"/>
                </a:cxn>
                <a:cxn ang="0">
                  <a:pos x="47" y="132"/>
                </a:cxn>
                <a:cxn ang="0">
                  <a:pos x="42" y="118"/>
                </a:cxn>
                <a:cxn ang="0">
                  <a:pos x="26" y="103"/>
                </a:cxn>
                <a:cxn ang="0">
                  <a:pos x="12" y="103"/>
                </a:cxn>
                <a:cxn ang="0">
                  <a:pos x="16" y="116"/>
                </a:cxn>
                <a:cxn ang="0">
                  <a:pos x="26" y="132"/>
                </a:cxn>
                <a:cxn ang="0">
                  <a:pos x="47" y="141"/>
                </a:cxn>
                <a:cxn ang="0">
                  <a:pos x="53" y="228"/>
                </a:cxn>
              </a:cxnLst>
              <a:rect l="0" t="0" r="r" b="b"/>
              <a:pathLst>
                <a:path w="100" h="228">
                  <a:moveTo>
                    <a:pt x="53" y="228"/>
                  </a:moveTo>
                  <a:lnTo>
                    <a:pt x="53" y="176"/>
                  </a:lnTo>
                  <a:lnTo>
                    <a:pt x="56" y="176"/>
                  </a:lnTo>
                  <a:lnTo>
                    <a:pt x="60" y="176"/>
                  </a:lnTo>
                  <a:lnTo>
                    <a:pt x="68" y="173"/>
                  </a:lnTo>
                  <a:lnTo>
                    <a:pt x="74" y="169"/>
                  </a:lnTo>
                  <a:lnTo>
                    <a:pt x="81" y="163"/>
                  </a:lnTo>
                  <a:lnTo>
                    <a:pt x="87" y="154"/>
                  </a:lnTo>
                  <a:lnTo>
                    <a:pt x="88" y="141"/>
                  </a:lnTo>
                  <a:lnTo>
                    <a:pt x="87" y="141"/>
                  </a:lnTo>
                  <a:lnTo>
                    <a:pt x="81" y="142"/>
                  </a:lnTo>
                  <a:lnTo>
                    <a:pt x="74" y="143"/>
                  </a:lnTo>
                  <a:lnTo>
                    <a:pt x="66" y="149"/>
                  </a:lnTo>
                  <a:lnTo>
                    <a:pt x="60" y="158"/>
                  </a:lnTo>
                  <a:lnTo>
                    <a:pt x="53" y="173"/>
                  </a:lnTo>
                  <a:lnTo>
                    <a:pt x="53" y="118"/>
                  </a:lnTo>
                  <a:lnTo>
                    <a:pt x="56" y="118"/>
                  </a:lnTo>
                  <a:lnTo>
                    <a:pt x="61" y="116"/>
                  </a:lnTo>
                  <a:lnTo>
                    <a:pt x="69" y="115"/>
                  </a:lnTo>
                  <a:lnTo>
                    <a:pt x="78" y="110"/>
                  </a:lnTo>
                  <a:lnTo>
                    <a:pt x="87" y="103"/>
                  </a:lnTo>
                  <a:lnTo>
                    <a:pt x="92" y="92"/>
                  </a:lnTo>
                  <a:lnTo>
                    <a:pt x="95" y="77"/>
                  </a:lnTo>
                  <a:lnTo>
                    <a:pt x="92" y="77"/>
                  </a:lnTo>
                  <a:lnTo>
                    <a:pt x="88" y="77"/>
                  </a:lnTo>
                  <a:lnTo>
                    <a:pt x="81" y="79"/>
                  </a:lnTo>
                  <a:lnTo>
                    <a:pt x="73" y="81"/>
                  </a:lnTo>
                  <a:lnTo>
                    <a:pt x="65" y="88"/>
                  </a:lnTo>
                  <a:lnTo>
                    <a:pt x="58" y="99"/>
                  </a:lnTo>
                  <a:lnTo>
                    <a:pt x="53" y="115"/>
                  </a:lnTo>
                  <a:lnTo>
                    <a:pt x="53" y="48"/>
                  </a:lnTo>
                  <a:lnTo>
                    <a:pt x="56" y="48"/>
                  </a:lnTo>
                  <a:lnTo>
                    <a:pt x="61" y="48"/>
                  </a:lnTo>
                  <a:lnTo>
                    <a:pt x="68" y="45"/>
                  </a:lnTo>
                  <a:lnTo>
                    <a:pt x="77" y="42"/>
                  </a:lnTo>
                  <a:lnTo>
                    <a:pt x="85" y="37"/>
                  </a:lnTo>
                  <a:lnTo>
                    <a:pt x="93" y="27"/>
                  </a:lnTo>
                  <a:lnTo>
                    <a:pt x="97" y="17"/>
                  </a:lnTo>
                  <a:lnTo>
                    <a:pt x="100" y="0"/>
                  </a:lnTo>
                  <a:lnTo>
                    <a:pt x="97" y="0"/>
                  </a:lnTo>
                  <a:lnTo>
                    <a:pt x="92" y="0"/>
                  </a:lnTo>
                  <a:lnTo>
                    <a:pt x="84" y="3"/>
                  </a:lnTo>
                  <a:lnTo>
                    <a:pt x="74" y="7"/>
                  </a:lnTo>
                  <a:lnTo>
                    <a:pt x="65" y="14"/>
                  </a:lnTo>
                  <a:lnTo>
                    <a:pt x="57" y="27"/>
                  </a:lnTo>
                  <a:lnTo>
                    <a:pt x="50" y="45"/>
                  </a:lnTo>
                  <a:lnTo>
                    <a:pt x="50" y="42"/>
                  </a:lnTo>
                  <a:lnTo>
                    <a:pt x="47" y="35"/>
                  </a:lnTo>
                  <a:lnTo>
                    <a:pt x="43" y="27"/>
                  </a:lnTo>
                  <a:lnTo>
                    <a:pt x="38" y="18"/>
                  </a:lnTo>
                  <a:lnTo>
                    <a:pt x="29" y="10"/>
                  </a:lnTo>
                  <a:lnTo>
                    <a:pt x="16" y="3"/>
                  </a:lnTo>
                  <a:lnTo>
                    <a:pt x="0" y="0"/>
                  </a:lnTo>
                  <a:lnTo>
                    <a:pt x="2" y="3"/>
                  </a:lnTo>
                  <a:lnTo>
                    <a:pt x="3" y="10"/>
                  </a:lnTo>
                  <a:lnTo>
                    <a:pt x="6" y="19"/>
                  </a:lnTo>
                  <a:lnTo>
                    <a:pt x="11" y="29"/>
                  </a:lnTo>
                  <a:lnTo>
                    <a:pt x="19" y="38"/>
                  </a:lnTo>
                  <a:lnTo>
                    <a:pt x="31" y="45"/>
                  </a:lnTo>
                  <a:lnTo>
                    <a:pt x="47" y="48"/>
                  </a:lnTo>
                  <a:lnTo>
                    <a:pt x="47" y="135"/>
                  </a:lnTo>
                  <a:lnTo>
                    <a:pt x="47" y="132"/>
                  </a:lnTo>
                  <a:lnTo>
                    <a:pt x="46" y="126"/>
                  </a:lnTo>
                  <a:lnTo>
                    <a:pt x="42" y="118"/>
                  </a:lnTo>
                  <a:lnTo>
                    <a:pt x="35" y="110"/>
                  </a:lnTo>
                  <a:lnTo>
                    <a:pt x="26" y="103"/>
                  </a:lnTo>
                  <a:lnTo>
                    <a:pt x="12" y="100"/>
                  </a:lnTo>
                  <a:lnTo>
                    <a:pt x="12" y="103"/>
                  </a:lnTo>
                  <a:lnTo>
                    <a:pt x="14" y="108"/>
                  </a:lnTo>
                  <a:lnTo>
                    <a:pt x="16" y="116"/>
                  </a:lnTo>
                  <a:lnTo>
                    <a:pt x="20" y="124"/>
                  </a:lnTo>
                  <a:lnTo>
                    <a:pt x="26" y="132"/>
                  </a:lnTo>
                  <a:lnTo>
                    <a:pt x="35" y="139"/>
                  </a:lnTo>
                  <a:lnTo>
                    <a:pt x="47" y="141"/>
                  </a:lnTo>
                  <a:lnTo>
                    <a:pt x="47" y="228"/>
                  </a:lnTo>
                  <a:lnTo>
                    <a:pt x="53" y="228"/>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0" name="Freeform 19"/>
            <p:cNvSpPr>
              <a:spLocks/>
            </p:cNvSpPr>
            <p:nvPr/>
          </p:nvSpPr>
          <p:spPr bwMode="gray">
            <a:xfrm>
              <a:off x="2273" y="187"/>
              <a:ext cx="175" cy="402"/>
            </a:xfrm>
            <a:custGeom>
              <a:avLst/>
              <a:gdLst/>
              <a:ahLst/>
              <a:cxnLst>
                <a:cxn ang="0">
                  <a:pos x="93" y="309"/>
                </a:cxn>
                <a:cxn ang="0">
                  <a:pos x="101" y="309"/>
                </a:cxn>
                <a:cxn ang="0">
                  <a:pos x="118" y="304"/>
                </a:cxn>
                <a:cxn ang="0">
                  <a:pos x="138" y="292"/>
                </a:cxn>
                <a:cxn ang="0">
                  <a:pos x="152" y="266"/>
                </a:cxn>
                <a:cxn ang="0">
                  <a:pos x="152" y="247"/>
                </a:cxn>
                <a:cxn ang="0">
                  <a:pos x="138" y="250"/>
                </a:cxn>
                <a:cxn ang="0">
                  <a:pos x="120" y="259"/>
                </a:cxn>
                <a:cxn ang="0">
                  <a:pos x="99" y="285"/>
                </a:cxn>
                <a:cxn ang="0">
                  <a:pos x="93" y="207"/>
                </a:cxn>
                <a:cxn ang="0">
                  <a:pos x="102" y="205"/>
                </a:cxn>
                <a:cxn ang="0">
                  <a:pos x="122" y="200"/>
                </a:cxn>
                <a:cxn ang="0">
                  <a:pos x="147" y="185"/>
                </a:cxn>
                <a:cxn ang="0">
                  <a:pos x="163" y="155"/>
                </a:cxn>
                <a:cxn ang="0">
                  <a:pos x="163" y="134"/>
                </a:cxn>
                <a:cxn ang="0">
                  <a:pos x="149" y="135"/>
                </a:cxn>
                <a:cxn ang="0">
                  <a:pos x="129" y="142"/>
                </a:cxn>
                <a:cxn ang="0">
                  <a:pos x="107" y="162"/>
                </a:cxn>
                <a:cxn ang="0">
                  <a:pos x="93" y="201"/>
                </a:cxn>
                <a:cxn ang="0">
                  <a:pos x="95" y="83"/>
                </a:cxn>
                <a:cxn ang="0">
                  <a:pos x="110" y="81"/>
                </a:cxn>
                <a:cxn ang="0">
                  <a:pos x="134" y="73"/>
                </a:cxn>
                <a:cxn ang="0">
                  <a:pos x="157" y="54"/>
                </a:cxn>
                <a:cxn ang="0">
                  <a:pos x="174" y="23"/>
                </a:cxn>
                <a:cxn ang="0">
                  <a:pos x="174" y="0"/>
                </a:cxn>
                <a:cxn ang="0">
                  <a:pos x="157" y="2"/>
                </a:cxn>
                <a:cxn ang="0">
                  <a:pos x="133" y="10"/>
                </a:cxn>
                <a:cxn ang="0">
                  <a:pos x="107" y="33"/>
                </a:cxn>
                <a:cxn ang="0">
                  <a:pos x="87" y="77"/>
                </a:cxn>
                <a:cxn ang="0">
                  <a:pos x="85" y="68"/>
                </a:cxn>
                <a:cxn ang="0">
                  <a:pos x="75" y="46"/>
                </a:cxn>
                <a:cxn ang="0">
                  <a:pos x="55" y="21"/>
                </a:cxn>
                <a:cxn ang="0">
                  <a:pos x="22" y="3"/>
                </a:cxn>
                <a:cxn ang="0">
                  <a:pos x="1" y="3"/>
                </a:cxn>
                <a:cxn ang="0">
                  <a:pos x="4" y="18"/>
                </a:cxn>
                <a:cxn ang="0">
                  <a:pos x="12" y="42"/>
                </a:cxn>
                <a:cxn ang="0">
                  <a:pos x="31" y="65"/>
                </a:cxn>
                <a:cxn ang="0">
                  <a:pos x="62" y="81"/>
                </a:cxn>
                <a:cxn ang="0">
                  <a:pos x="82" y="238"/>
                </a:cxn>
                <a:cxn ang="0">
                  <a:pos x="80" y="228"/>
                </a:cxn>
                <a:cxn ang="0">
                  <a:pos x="72" y="207"/>
                </a:cxn>
                <a:cxn ang="0">
                  <a:pos x="55" y="185"/>
                </a:cxn>
                <a:cxn ang="0">
                  <a:pos x="21" y="176"/>
                </a:cxn>
                <a:cxn ang="0">
                  <a:pos x="22" y="185"/>
                </a:cxn>
                <a:cxn ang="0">
                  <a:pos x="28" y="205"/>
                </a:cxn>
                <a:cxn ang="0">
                  <a:pos x="41" y="230"/>
                </a:cxn>
                <a:cxn ang="0">
                  <a:pos x="66" y="246"/>
                </a:cxn>
                <a:cxn ang="0">
                  <a:pos x="82" y="402"/>
                </a:cxn>
              </a:cxnLst>
              <a:rect l="0" t="0" r="r" b="b"/>
              <a:pathLst>
                <a:path w="175" h="402">
                  <a:moveTo>
                    <a:pt x="93" y="402"/>
                  </a:moveTo>
                  <a:lnTo>
                    <a:pt x="93" y="309"/>
                  </a:lnTo>
                  <a:lnTo>
                    <a:pt x="95" y="309"/>
                  </a:lnTo>
                  <a:lnTo>
                    <a:pt x="101" y="309"/>
                  </a:lnTo>
                  <a:lnTo>
                    <a:pt x="109" y="308"/>
                  </a:lnTo>
                  <a:lnTo>
                    <a:pt x="118" y="304"/>
                  </a:lnTo>
                  <a:lnTo>
                    <a:pt x="129" y="298"/>
                  </a:lnTo>
                  <a:lnTo>
                    <a:pt x="138" y="292"/>
                  </a:lnTo>
                  <a:lnTo>
                    <a:pt x="147" y="281"/>
                  </a:lnTo>
                  <a:lnTo>
                    <a:pt x="152" y="266"/>
                  </a:lnTo>
                  <a:lnTo>
                    <a:pt x="155" y="247"/>
                  </a:lnTo>
                  <a:lnTo>
                    <a:pt x="152" y="247"/>
                  </a:lnTo>
                  <a:lnTo>
                    <a:pt x="147" y="249"/>
                  </a:lnTo>
                  <a:lnTo>
                    <a:pt x="138" y="250"/>
                  </a:lnTo>
                  <a:lnTo>
                    <a:pt x="129" y="253"/>
                  </a:lnTo>
                  <a:lnTo>
                    <a:pt x="120" y="259"/>
                  </a:lnTo>
                  <a:lnTo>
                    <a:pt x="109" y="270"/>
                  </a:lnTo>
                  <a:lnTo>
                    <a:pt x="99" y="285"/>
                  </a:lnTo>
                  <a:lnTo>
                    <a:pt x="93" y="304"/>
                  </a:lnTo>
                  <a:lnTo>
                    <a:pt x="93" y="207"/>
                  </a:lnTo>
                  <a:lnTo>
                    <a:pt x="95" y="207"/>
                  </a:lnTo>
                  <a:lnTo>
                    <a:pt x="102" y="205"/>
                  </a:lnTo>
                  <a:lnTo>
                    <a:pt x="111" y="204"/>
                  </a:lnTo>
                  <a:lnTo>
                    <a:pt x="122" y="200"/>
                  </a:lnTo>
                  <a:lnTo>
                    <a:pt x="134" y="195"/>
                  </a:lnTo>
                  <a:lnTo>
                    <a:pt x="147" y="185"/>
                  </a:lnTo>
                  <a:lnTo>
                    <a:pt x="156" y="173"/>
                  </a:lnTo>
                  <a:lnTo>
                    <a:pt x="163" y="155"/>
                  </a:lnTo>
                  <a:lnTo>
                    <a:pt x="165" y="134"/>
                  </a:lnTo>
                  <a:lnTo>
                    <a:pt x="163" y="134"/>
                  </a:lnTo>
                  <a:lnTo>
                    <a:pt x="157" y="134"/>
                  </a:lnTo>
                  <a:lnTo>
                    <a:pt x="149" y="135"/>
                  </a:lnTo>
                  <a:lnTo>
                    <a:pt x="140" y="137"/>
                  </a:lnTo>
                  <a:lnTo>
                    <a:pt x="129" y="142"/>
                  </a:lnTo>
                  <a:lnTo>
                    <a:pt x="118" y="150"/>
                  </a:lnTo>
                  <a:lnTo>
                    <a:pt x="107" y="162"/>
                  </a:lnTo>
                  <a:lnTo>
                    <a:pt x="99" y="178"/>
                  </a:lnTo>
                  <a:lnTo>
                    <a:pt x="93" y="201"/>
                  </a:lnTo>
                  <a:lnTo>
                    <a:pt x="93" y="83"/>
                  </a:lnTo>
                  <a:lnTo>
                    <a:pt x="95" y="83"/>
                  </a:lnTo>
                  <a:lnTo>
                    <a:pt x="101" y="83"/>
                  </a:lnTo>
                  <a:lnTo>
                    <a:pt x="110" y="81"/>
                  </a:lnTo>
                  <a:lnTo>
                    <a:pt x="122" y="77"/>
                  </a:lnTo>
                  <a:lnTo>
                    <a:pt x="134" y="73"/>
                  </a:lnTo>
                  <a:lnTo>
                    <a:pt x="147" y="65"/>
                  </a:lnTo>
                  <a:lnTo>
                    <a:pt x="157" y="54"/>
                  </a:lnTo>
                  <a:lnTo>
                    <a:pt x="167" y="41"/>
                  </a:lnTo>
                  <a:lnTo>
                    <a:pt x="174" y="23"/>
                  </a:lnTo>
                  <a:lnTo>
                    <a:pt x="175" y="0"/>
                  </a:lnTo>
                  <a:lnTo>
                    <a:pt x="174" y="0"/>
                  </a:lnTo>
                  <a:lnTo>
                    <a:pt x="167" y="0"/>
                  </a:lnTo>
                  <a:lnTo>
                    <a:pt x="157" y="2"/>
                  </a:lnTo>
                  <a:lnTo>
                    <a:pt x="145" y="4"/>
                  </a:lnTo>
                  <a:lnTo>
                    <a:pt x="133" y="10"/>
                  </a:lnTo>
                  <a:lnTo>
                    <a:pt x="120" y="19"/>
                  </a:lnTo>
                  <a:lnTo>
                    <a:pt x="107" y="33"/>
                  </a:lnTo>
                  <a:lnTo>
                    <a:pt x="97" y="52"/>
                  </a:lnTo>
                  <a:lnTo>
                    <a:pt x="87" y="77"/>
                  </a:lnTo>
                  <a:lnTo>
                    <a:pt x="87" y="75"/>
                  </a:lnTo>
                  <a:lnTo>
                    <a:pt x="85" y="68"/>
                  </a:lnTo>
                  <a:lnTo>
                    <a:pt x="80" y="58"/>
                  </a:lnTo>
                  <a:lnTo>
                    <a:pt x="75" y="46"/>
                  </a:lnTo>
                  <a:lnTo>
                    <a:pt x="66" y="33"/>
                  </a:lnTo>
                  <a:lnTo>
                    <a:pt x="55" y="21"/>
                  </a:lnTo>
                  <a:lnTo>
                    <a:pt x="40" y="10"/>
                  </a:lnTo>
                  <a:lnTo>
                    <a:pt x="22" y="3"/>
                  </a:lnTo>
                  <a:lnTo>
                    <a:pt x="0" y="0"/>
                  </a:lnTo>
                  <a:lnTo>
                    <a:pt x="1" y="3"/>
                  </a:lnTo>
                  <a:lnTo>
                    <a:pt x="1" y="10"/>
                  </a:lnTo>
                  <a:lnTo>
                    <a:pt x="4" y="18"/>
                  </a:lnTo>
                  <a:lnTo>
                    <a:pt x="6" y="30"/>
                  </a:lnTo>
                  <a:lnTo>
                    <a:pt x="12" y="42"/>
                  </a:lnTo>
                  <a:lnTo>
                    <a:pt x="20" y="54"/>
                  </a:lnTo>
                  <a:lnTo>
                    <a:pt x="31" y="65"/>
                  </a:lnTo>
                  <a:lnTo>
                    <a:pt x="44" y="75"/>
                  </a:lnTo>
                  <a:lnTo>
                    <a:pt x="62" y="81"/>
                  </a:lnTo>
                  <a:lnTo>
                    <a:pt x="82" y="83"/>
                  </a:lnTo>
                  <a:lnTo>
                    <a:pt x="82" y="238"/>
                  </a:lnTo>
                  <a:lnTo>
                    <a:pt x="82" y="235"/>
                  </a:lnTo>
                  <a:lnTo>
                    <a:pt x="80" y="228"/>
                  </a:lnTo>
                  <a:lnTo>
                    <a:pt x="78" y="217"/>
                  </a:lnTo>
                  <a:lnTo>
                    <a:pt x="72" y="207"/>
                  </a:lnTo>
                  <a:lnTo>
                    <a:pt x="66" y="196"/>
                  </a:lnTo>
                  <a:lnTo>
                    <a:pt x="55" y="185"/>
                  </a:lnTo>
                  <a:lnTo>
                    <a:pt x="40" y="178"/>
                  </a:lnTo>
                  <a:lnTo>
                    <a:pt x="21" y="176"/>
                  </a:lnTo>
                  <a:lnTo>
                    <a:pt x="21" y="178"/>
                  </a:lnTo>
                  <a:lnTo>
                    <a:pt x="22" y="185"/>
                  </a:lnTo>
                  <a:lnTo>
                    <a:pt x="24" y="195"/>
                  </a:lnTo>
                  <a:lnTo>
                    <a:pt x="28" y="205"/>
                  </a:lnTo>
                  <a:lnTo>
                    <a:pt x="33" y="217"/>
                  </a:lnTo>
                  <a:lnTo>
                    <a:pt x="41" y="230"/>
                  </a:lnTo>
                  <a:lnTo>
                    <a:pt x="52" y="239"/>
                  </a:lnTo>
                  <a:lnTo>
                    <a:pt x="66" y="246"/>
                  </a:lnTo>
                  <a:lnTo>
                    <a:pt x="82" y="247"/>
                  </a:lnTo>
                  <a:lnTo>
                    <a:pt x="82" y="402"/>
                  </a:lnTo>
                  <a:lnTo>
                    <a:pt x="93" y="402"/>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1" name="Freeform 20"/>
            <p:cNvSpPr>
              <a:spLocks/>
            </p:cNvSpPr>
            <p:nvPr/>
          </p:nvSpPr>
          <p:spPr bwMode="gray">
            <a:xfrm>
              <a:off x="2161" y="216"/>
              <a:ext cx="97" cy="373"/>
            </a:xfrm>
            <a:custGeom>
              <a:avLst/>
              <a:gdLst/>
              <a:ahLst/>
              <a:cxnLst>
                <a:cxn ang="0">
                  <a:pos x="52" y="237"/>
                </a:cxn>
                <a:cxn ang="0">
                  <a:pos x="59" y="237"/>
                </a:cxn>
                <a:cxn ang="0">
                  <a:pos x="74" y="232"/>
                </a:cxn>
                <a:cxn ang="0">
                  <a:pos x="90" y="218"/>
                </a:cxn>
                <a:cxn ang="0">
                  <a:pos x="97" y="193"/>
                </a:cxn>
                <a:cxn ang="0">
                  <a:pos x="89" y="193"/>
                </a:cxn>
                <a:cxn ang="0">
                  <a:pos x="71" y="197"/>
                </a:cxn>
                <a:cxn ang="0">
                  <a:pos x="56" y="215"/>
                </a:cxn>
                <a:cxn ang="0">
                  <a:pos x="52" y="147"/>
                </a:cxn>
                <a:cxn ang="0">
                  <a:pos x="59" y="147"/>
                </a:cxn>
                <a:cxn ang="0">
                  <a:pos x="74" y="141"/>
                </a:cxn>
                <a:cxn ang="0">
                  <a:pos x="90" y="128"/>
                </a:cxn>
                <a:cxn ang="0">
                  <a:pos x="97" y="102"/>
                </a:cxn>
                <a:cxn ang="0">
                  <a:pos x="89" y="102"/>
                </a:cxn>
                <a:cxn ang="0">
                  <a:pos x="71" y="109"/>
                </a:cxn>
                <a:cxn ang="0">
                  <a:pos x="56" y="126"/>
                </a:cxn>
                <a:cxn ang="0">
                  <a:pos x="52" y="46"/>
                </a:cxn>
                <a:cxn ang="0">
                  <a:pos x="51" y="37"/>
                </a:cxn>
                <a:cxn ang="0">
                  <a:pos x="45" y="23"/>
                </a:cxn>
                <a:cxn ang="0">
                  <a:pos x="32" y="6"/>
                </a:cxn>
                <a:cxn ang="0">
                  <a:pos x="6" y="0"/>
                </a:cxn>
                <a:cxn ang="0">
                  <a:pos x="8" y="9"/>
                </a:cxn>
                <a:cxn ang="0">
                  <a:pos x="16" y="27"/>
                </a:cxn>
                <a:cxn ang="0">
                  <a:pos x="33" y="43"/>
                </a:cxn>
                <a:cxn ang="0">
                  <a:pos x="45" y="113"/>
                </a:cxn>
                <a:cxn ang="0">
                  <a:pos x="45" y="106"/>
                </a:cxn>
                <a:cxn ang="0">
                  <a:pos x="40" y="90"/>
                </a:cxn>
                <a:cxn ang="0">
                  <a:pos x="27" y="75"/>
                </a:cxn>
                <a:cxn ang="0">
                  <a:pos x="1" y="67"/>
                </a:cxn>
                <a:cxn ang="0">
                  <a:pos x="0" y="75"/>
                </a:cxn>
                <a:cxn ang="0">
                  <a:pos x="2" y="91"/>
                </a:cxn>
                <a:cxn ang="0">
                  <a:pos x="14" y="109"/>
                </a:cxn>
                <a:cxn ang="0">
                  <a:pos x="45" y="118"/>
                </a:cxn>
                <a:cxn ang="0">
                  <a:pos x="45" y="207"/>
                </a:cxn>
                <a:cxn ang="0">
                  <a:pos x="43" y="195"/>
                </a:cxn>
                <a:cxn ang="0">
                  <a:pos x="33" y="182"/>
                </a:cxn>
                <a:cxn ang="0">
                  <a:pos x="12" y="175"/>
                </a:cxn>
                <a:cxn ang="0">
                  <a:pos x="10" y="182"/>
                </a:cxn>
                <a:cxn ang="0">
                  <a:pos x="13" y="197"/>
                </a:cxn>
                <a:cxn ang="0">
                  <a:pos x="29" y="211"/>
                </a:cxn>
                <a:cxn ang="0">
                  <a:pos x="45" y="373"/>
                </a:cxn>
              </a:cxnLst>
              <a:rect l="0" t="0" r="r" b="b"/>
              <a:pathLst>
                <a:path w="97" h="373">
                  <a:moveTo>
                    <a:pt x="52" y="373"/>
                  </a:moveTo>
                  <a:lnTo>
                    <a:pt x="52" y="237"/>
                  </a:lnTo>
                  <a:lnTo>
                    <a:pt x="54" y="237"/>
                  </a:lnTo>
                  <a:lnTo>
                    <a:pt x="59" y="237"/>
                  </a:lnTo>
                  <a:lnTo>
                    <a:pt x="66" y="236"/>
                  </a:lnTo>
                  <a:lnTo>
                    <a:pt x="74" y="232"/>
                  </a:lnTo>
                  <a:lnTo>
                    <a:pt x="82" y="226"/>
                  </a:lnTo>
                  <a:lnTo>
                    <a:pt x="90" y="218"/>
                  </a:lnTo>
                  <a:lnTo>
                    <a:pt x="95" y="207"/>
                  </a:lnTo>
                  <a:lnTo>
                    <a:pt x="97" y="193"/>
                  </a:lnTo>
                  <a:lnTo>
                    <a:pt x="94" y="193"/>
                  </a:lnTo>
                  <a:lnTo>
                    <a:pt x="89" y="193"/>
                  </a:lnTo>
                  <a:lnTo>
                    <a:pt x="81" y="194"/>
                  </a:lnTo>
                  <a:lnTo>
                    <a:pt x="71" y="197"/>
                  </a:lnTo>
                  <a:lnTo>
                    <a:pt x="63" y="205"/>
                  </a:lnTo>
                  <a:lnTo>
                    <a:pt x="56" y="215"/>
                  </a:lnTo>
                  <a:lnTo>
                    <a:pt x="52" y="232"/>
                  </a:lnTo>
                  <a:lnTo>
                    <a:pt x="52" y="147"/>
                  </a:lnTo>
                  <a:lnTo>
                    <a:pt x="54" y="147"/>
                  </a:lnTo>
                  <a:lnTo>
                    <a:pt x="59" y="147"/>
                  </a:lnTo>
                  <a:lnTo>
                    <a:pt x="66" y="144"/>
                  </a:lnTo>
                  <a:lnTo>
                    <a:pt x="74" y="141"/>
                  </a:lnTo>
                  <a:lnTo>
                    <a:pt x="82" y="136"/>
                  </a:lnTo>
                  <a:lnTo>
                    <a:pt x="90" y="128"/>
                  </a:lnTo>
                  <a:lnTo>
                    <a:pt x="95" y="117"/>
                  </a:lnTo>
                  <a:lnTo>
                    <a:pt x="97" y="102"/>
                  </a:lnTo>
                  <a:lnTo>
                    <a:pt x="94" y="102"/>
                  </a:lnTo>
                  <a:lnTo>
                    <a:pt x="89" y="102"/>
                  </a:lnTo>
                  <a:lnTo>
                    <a:pt x="81" y="105"/>
                  </a:lnTo>
                  <a:lnTo>
                    <a:pt x="71" y="109"/>
                  </a:lnTo>
                  <a:lnTo>
                    <a:pt x="63" y="116"/>
                  </a:lnTo>
                  <a:lnTo>
                    <a:pt x="56" y="126"/>
                  </a:lnTo>
                  <a:lnTo>
                    <a:pt x="52" y="141"/>
                  </a:lnTo>
                  <a:lnTo>
                    <a:pt x="52" y="46"/>
                  </a:lnTo>
                  <a:lnTo>
                    <a:pt x="51" y="43"/>
                  </a:lnTo>
                  <a:lnTo>
                    <a:pt x="51" y="37"/>
                  </a:lnTo>
                  <a:lnTo>
                    <a:pt x="49" y="31"/>
                  </a:lnTo>
                  <a:lnTo>
                    <a:pt x="45" y="23"/>
                  </a:lnTo>
                  <a:lnTo>
                    <a:pt x="40" y="15"/>
                  </a:lnTo>
                  <a:lnTo>
                    <a:pt x="32" y="6"/>
                  </a:lnTo>
                  <a:lnTo>
                    <a:pt x="21" y="2"/>
                  </a:lnTo>
                  <a:lnTo>
                    <a:pt x="6" y="0"/>
                  </a:lnTo>
                  <a:lnTo>
                    <a:pt x="6" y="2"/>
                  </a:lnTo>
                  <a:lnTo>
                    <a:pt x="8" y="9"/>
                  </a:lnTo>
                  <a:lnTo>
                    <a:pt x="12" y="17"/>
                  </a:lnTo>
                  <a:lnTo>
                    <a:pt x="16" y="27"/>
                  </a:lnTo>
                  <a:lnTo>
                    <a:pt x="23" y="36"/>
                  </a:lnTo>
                  <a:lnTo>
                    <a:pt x="33" y="43"/>
                  </a:lnTo>
                  <a:lnTo>
                    <a:pt x="45" y="46"/>
                  </a:lnTo>
                  <a:lnTo>
                    <a:pt x="45" y="113"/>
                  </a:lnTo>
                  <a:lnTo>
                    <a:pt x="45" y="112"/>
                  </a:lnTo>
                  <a:lnTo>
                    <a:pt x="45" y="106"/>
                  </a:lnTo>
                  <a:lnTo>
                    <a:pt x="44" y="98"/>
                  </a:lnTo>
                  <a:lnTo>
                    <a:pt x="40" y="90"/>
                  </a:lnTo>
                  <a:lnTo>
                    <a:pt x="35" y="82"/>
                  </a:lnTo>
                  <a:lnTo>
                    <a:pt x="27" y="75"/>
                  </a:lnTo>
                  <a:lnTo>
                    <a:pt x="16" y="70"/>
                  </a:lnTo>
                  <a:lnTo>
                    <a:pt x="1" y="67"/>
                  </a:lnTo>
                  <a:lnTo>
                    <a:pt x="0" y="70"/>
                  </a:lnTo>
                  <a:lnTo>
                    <a:pt x="0" y="75"/>
                  </a:lnTo>
                  <a:lnTo>
                    <a:pt x="0" y="82"/>
                  </a:lnTo>
                  <a:lnTo>
                    <a:pt x="2" y="91"/>
                  </a:lnTo>
                  <a:lnTo>
                    <a:pt x="6" y="100"/>
                  </a:lnTo>
                  <a:lnTo>
                    <a:pt x="14" y="109"/>
                  </a:lnTo>
                  <a:lnTo>
                    <a:pt x="28" y="114"/>
                  </a:lnTo>
                  <a:lnTo>
                    <a:pt x="45" y="118"/>
                  </a:lnTo>
                  <a:lnTo>
                    <a:pt x="45" y="209"/>
                  </a:lnTo>
                  <a:lnTo>
                    <a:pt x="45" y="207"/>
                  </a:lnTo>
                  <a:lnTo>
                    <a:pt x="45" y="202"/>
                  </a:lnTo>
                  <a:lnTo>
                    <a:pt x="43" y="195"/>
                  </a:lnTo>
                  <a:lnTo>
                    <a:pt x="40" y="188"/>
                  </a:lnTo>
                  <a:lnTo>
                    <a:pt x="33" y="182"/>
                  </a:lnTo>
                  <a:lnTo>
                    <a:pt x="24" y="178"/>
                  </a:lnTo>
                  <a:lnTo>
                    <a:pt x="12" y="175"/>
                  </a:lnTo>
                  <a:lnTo>
                    <a:pt x="12" y="178"/>
                  </a:lnTo>
                  <a:lnTo>
                    <a:pt x="10" y="182"/>
                  </a:lnTo>
                  <a:lnTo>
                    <a:pt x="10" y="188"/>
                  </a:lnTo>
                  <a:lnTo>
                    <a:pt x="13" y="197"/>
                  </a:lnTo>
                  <a:lnTo>
                    <a:pt x="20" y="205"/>
                  </a:lnTo>
                  <a:lnTo>
                    <a:pt x="29" y="211"/>
                  </a:lnTo>
                  <a:lnTo>
                    <a:pt x="45" y="215"/>
                  </a:lnTo>
                  <a:lnTo>
                    <a:pt x="45" y="373"/>
                  </a:lnTo>
                  <a:lnTo>
                    <a:pt x="52"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sp>
          <p:nvSpPr>
            <p:cNvPr id="22" name="Freeform 21"/>
            <p:cNvSpPr>
              <a:spLocks/>
            </p:cNvSpPr>
            <p:nvPr/>
          </p:nvSpPr>
          <p:spPr bwMode="gray">
            <a:xfrm>
              <a:off x="2708" y="216"/>
              <a:ext cx="97" cy="373"/>
            </a:xfrm>
            <a:custGeom>
              <a:avLst/>
              <a:gdLst/>
              <a:ahLst/>
              <a:cxnLst>
                <a:cxn ang="0">
                  <a:pos x="51" y="237"/>
                </a:cxn>
                <a:cxn ang="0">
                  <a:pos x="60" y="237"/>
                </a:cxn>
                <a:cxn ang="0">
                  <a:pos x="74" y="232"/>
                </a:cxn>
                <a:cxn ang="0">
                  <a:pos x="91" y="218"/>
                </a:cxn>
                <a:cxn ang="0">
                  <a:pos x="97" y="193"/>
                </a:cxn>
                <a:cxn ang="0">
                  <a:pos x="89" y="193"/>
                </a:cxn>
                <a:cxn ang="0">
                  <a:pos x="72" y="197"/>
                </a:cxn>
                <a:cxn ang="0">
                  <a:pos x="55" y="215"/>
                </a:cxn>
                <a:cxn ang="0">
                  <a:pos x="51" y="147"/>
                </a:cxn>
                <a:cxn ang="0">
                  <a:pos x="60" y="147"/>
                </a:cxn>
                <a:cxn ang="0">
                  <a:pos x="74" y="141"/>
                </a:cxn>
                <a:cxn ang="0">
                  <a:pos x="91" y="128"/>
                </a:cxn>
                <a:cxn ang="0">
                  <a:pos x="97" y="102"/>
                </a:cxn>
                <a:cxn ang="0">
                  <a:pos x="89" y="102"/>
                </a:cxn>
                <a:cxn ang="0">
                  <a:pos x="72" y="109"/>
                </a:cxn>
                <a:cxn ang="0">
                  <a:pos x="55" y="126"/>
                </a:cxn>
                <a:cxn ang="0">
                  <a:pos x="51" y="46"/>
                </a:cxn>
                <a:cxn ang="0">
                  <a:pos x="51" y="37"/>
                </a:cxn>
                <a:cxn ang="0">
                  <a:pos x="46" y="23"/>
                </a:cxn>
                <a:cxn ang="0">
                  <a:pos x="33" y="6"/>
                </a:cxn>
                <a:cxn ang="0">
                  <a:pos x="7" y="0"/>
                </a:cxn>
                <a:cxn ang="0">
                  <a:pos x="8" y="9"/>
                </a:cxn>
                <a:cxn ang="0">
                  <a:pos x="16" y="27"/>
                </a:cxn>
                <a:cxn ang="0">
                  <a:pos x="34" y="43"/>
                </a:cxn>
                <a:cxn ang="0">
                  <a:pos x="46" y="113"/>
                </a:cxn>
                <a:cxn ang="0">
                  <a:pos x="46" y="106"/>
                </a:cxn>
                <a:cxn ang="0">
                  <a:pos x="41" y="90"/>
                </a:cxn>
                <a:cxn ang="0">
                  <a:pos x="27" y="75"/>
                </a:cxn>
                <a:cxn ang="0">
                  <a:pos x="0" y="67"/>
                </a:cxn>
                <a:cxn ang="0">
                  <a:pos x="0" y="75"/>
                </a:cxn>
                <a:cxn ang="0">
                  <a:pos x="3" y="91"/>
                </a:cxn>
                <a:cxn ang="0">
                  <a:pos x="15" y="109"/>
                </a:cxn>
                <a:cxn ang="0">
                  <a:pos x="46" y="118"/>
                </a:cxn>
                <a:cxn ang="0">
                  <a:pos x="46" y="207"/>
                </a:cxn>
                <a:cxn ang="0">
                  <a:pos x="43" y="195"/>
                </a:cxn>
                <a:cxn ang="0">
                  <a:pos x="34" y="182"/>
                </a:cxn>
                <a:cxn ang="0">
                  <a:pos x="12" y="175"/>
                </a:cxn>
                <a:cxn ang="0">
                  <a:pos x="11" y="182"/>
                </a:cxn>
                <a:cxn ang="0">
                  <a:pos x="14" y="197"/>
                </a:cxn>
                <a:cxn ang="0">
                  <a:pos x="30" y="211"/>
                </a:cxn>
                <a:cxn ang="0">
                  <a:pos x="46" y="373"/>
                </a:cxn>
              </a:cxnLst>
              <a:rect l="0" t="0" r="r" b="b"/>
              <a:pathLst>
                <a:path w="97" h="373">
                  <a:moveTo>
                    <a:pt x="51" y="373"/>
                  </a:moveTo>
                  <a:lnTo>
                    <a:pt x="51" y="237"/>
                  </a:lnTo>
                  <a:lnTo>
                    <a:pt x="54" y="237"/>
                  </a:lnTo>
                  <a:lnTo>
                    <a:pt x="60" y="237"/>
                  </a:lnTo>
                  <a:lnTo>
                    <a:pt x="66" y="236"/>
                  </a:lnTo>
                  <a:lnTo>
                    <a:pt x="74" y="232"/>
                  </a:lnTo>
                  <a:lnTo>
                    <a:pt x="82" y="226"/>
                  </a:lnTo>
                  <a:lnTo>
                    <a:pt x="91" y="218"/>
                  </a:lnTo>
                  <a:lnTo>
                    <a:pt x="95" y="207"/>
                  </a:lnTo>
                  <a:lnTo>
                    <a:pt x="97" y="193"/>
                  </a:lnTo>
                  <a:lnTo>
                    <a:pt x="95" y="193"/>
                  </a:lnTo>
                  <a:lnTo>
                    <a:pt x="89" y="193"/>
                  </a:lnTo>
                  <a:lnTo>
                    <a:pt x="81" y="194"/>
                  </a:lnTo>
                  <a:lnTo>
                    <a:pt x="72" y="197"/>
                  </a:lnTo>
                  <a:lnTo>
                    <a:pt x="64" y="205"/>
                  </a:lnTo>
                  <a:lnTo>
                    <a:pt x="55" y="215"/>
                  </a:lnTo>
                  <a:lnTo>
                    <a:pt x="51" y="232"/>
                  </a:lnTo>
                  <a:lnTo>
                    <a:pt x="51" y="147"/>
                  </a:lnTo>
                  <a:lnTo>
                    <a:pt x="54" y="147"/>
                  </a:lnTo>
                  <a:lnTo>
                    <a:pt x="60" y="147"/>
                  </a:lnTo>
                  <a:lnTo>
                    <a:pt x="66" y="144"/>
                  </a:lnTo>
                  <a:lnTo>
                    <a:pt x="74" y="141"/>
                  </a:lnTo>
                  <a:lnTo>
                    <a:pt x="82" y="136"/>
                  </a:lnTo>
                  <a:lnTo>
                    <a:pt x="91" y="128"/>
                  </a:lnTo>
                  <a:lnTo>
                    <a:pt x="95" y="117"/>
                  </a:lnTo>
                  <a:lnTo>
                    <a:pt x="97" y="102"/>
                  </a:lnTo>
                  <a:lnTo>
                    <a:pt x="95" y="102"/>
                  </a:lnTo>
                  <a:lnTo>
                    <a:pt x="89" y="102"/>
                  </a:lnTo>
                  <a:lnTo>
                    <a:pt x="81" y="105"/>
                  </a:lnTo>
                  <a:lnTo>
                    <a:pt x="72" y="109"/>
                  </a:lnTo>
                  <a:lnTo>
                    <a:pt x="64" y="116"/>
                  </a:lnTo>
                  <a:lnTo>
                    <a:pt x="55" y="126"/>
                  </a:lnTo>
                  <a:lnTo>
                    <a:pt x="51" y="141"/>
                  </a:lnTo>
                  <a:lnTo>
                    <a:pt x="51" y="46"/>
                  </a:lnTo>
                  <a:lnTo>
                    <a:pt x="51" y="43"/>
                  </a:lnTo>
                  <a:lnTo>
                    <a:pt x="51" y="37"/>
                  </a:lnTo>
                  <a:lnTo>
                    <a:pt x="49" y="31"/>
                  </a:lnTo>
                  <a:lnTo>
                    <a:pt x="46" y="23"/>
                  </a:lnTo>
                  <a:lnTo>
                    <a:pt x="41" y="15"/>
                  </a:lnTo>
                  <a:lnTo>
                    <a:pt x="33" y="6"/>
                  </a:lnTo>
                  <a:lnTo>
                    <a:pt x="22" y="2"/>
                  </a:lnTo>
                  <a:lnTo>
                    <a:pt x="7" y="0"/>
                  </a:lnTo>
                  <a:lnTo>
                    <a:pt x="7" y="2"/>
                  </a:lnTo>
                  <a:lnTo>
                    <a:pt x="8" y="9"/>
                  </a:lnTo>
                  <a:lnTo>
                    <a:pt x="11" y="17"/>
                  </a:lnTo>
                  <a:lnTo>
                    <a:pt x="16" y="27"/>
                  </a:lnTo>
                  <a:lnTo>
                    <a:pt x="23" y="36"/>
                  </a:lnTo>
                  <a:lnTo>
                    <a:pt x="34" y="43"/>
                  </a:lnTo>
                  <a:lnTo>
                    <a:pt x="46" y="46"/>
                  </a:lnTo>
                  <a:lnTo>
                    <a:pt x="46" y="113"/>
                  </a:lnTo>
                  <a:lnTo>
                    <a:pt x="46" y="112"/>
                  </a:lnTo>
                  <a:lnTo>
                    <a:pt x="46" y="106"/>
                  </a:lnTo>
                  <a:lnTo>
                    <a:pt x="43" y="98"/>
                  </a:lnTo>
                  <a:lnTo>
                    <a:pt x="41" y="90"/>
                  </a:lnTo>
                  <a:lnTo>
                    <a:pt x="35" y="82"/>
                  </a:lnTo>
                  <a:lnTo>
                    <a:pt x="27" y="75"/>
                  </a:lnTo>
                  <a:lnTo>
                    <a:pt x="16" y="70"/>
                  </a:lnTo>
                  <a:lnTo>
                    <a:pt x="0" y="67"/>
                  </a:lnTo>
                  <a:lnTo>
                    <a:pt x="0" y="70"/>
                  </a:lnTo>
                  <a:lnTo>
                    <a:pt x="0" y="75"/>
                  </a:lnTo>
                  <a:lnTo>
                    <a:pt x="0" y="82"/>
                  </a:lnTo>
                  <a:lnTo>
                    <a:pt x="3" y="91"/>
                  </a:lnTo>
                  <a:lnTo>
                    <a:pt x="7" y="100"/>
                  </a:lnTo>
                  <a:lnTo>
                    <a:pt x="15" y="109"/>
                  </a:lnTo>
                  <a:lnTo>
                    <a:pt x="28" y="114"/>
                  </a:lnTo>
                  <a:lnTo>
                    <a:pt x="46" y="118"/>
                  </a:lnTo>
                  <a:lnTo>
                    <a:pt x="46" y="209"/>
                  </a:lnTo>
                  <a:lnTo>
                    <a:pt x="46" y="207"/>
                  </a:lnTo>
                  <a:lnTo>
                    <a:pt x="45" y="202"/>
                  </a:lnTo>
                  <a:lnTo>
                    <a:pt x="43" y="195"/>
                  </a:lnTo>
                  <a:lnTo>
                    <a:pt x="39" y="188"/>
                  </a:lnTo>
                  <a:lnTo>
                    <a:pt x="34" y="182"/>
                  </a:lnTo>
                  <a:lnTo>
                    <a:pt x="24" y="178"/>
                  </a:lnTo>
                  <a:lnTo>
                    <a:pt x="12" y="175"/>
                  </a:lnTo>
                  <a:lnTo>
                    <a:pt x="12" y="178"/>
                  </a:lnTo>
                  <a:lnTo>
                    <a:pt x="11" y="182"/>
                  </a:lnTo>
                  <a:lnTo>
                    <a:pt x="11" y="188"/>
                  </a:lnTo>
                  <a:lnTo>
                    <a:pt x="14" y="197"/>
                  </a:lnTo>
                  <a:lnTo>
                    <a:pt x="19" y="205"/>
                  </a:lnTo>
                  <a:lnTo>
                    <a:pt x="30" y="211"/>
                  </a:lnTo>
                  <a:lnTo>
                    <a:pt x="46" y="215"/>
                  </a:lnTo>
                  <a:lnTo>
                    <a:pt x="46" y="373"/>
                  </a:lnTo>
                  <a:lnTo>
                    <a:pt x="51" y="373"/>
                  </a:lnTo>
                  <a:close/>
                </a:path>
              </a:pathLst>
            </a:custGeom>
            <a:grpFill/>
            <a:ln w="0">
              <a:solidFill>
                <a:srgbClr val="D7D7D7"/>
              </a:solidFill>
              <a:prstDash val="solid"/>
              <a:round/>
              <a:headEnd/>
              <a:tailEnd/>
            </a:ln>
          </p:spPr>
          <p:txBody>
            <a:bodyPr/>
            <a:lstStyle/>
            <a:p>
              <a:pPr fontAlgn="auto">
                <a:spcBef>
                  <a:spcPts val="0"/>
                </a:spcBef>
                <a:spcAft>
                  <a:spcPts val="0"/>
                </a:spcAft>
                <a:defRPr/>
              </a:pPr>
              <a:endParaRPr lang="en-US">
                <a:solidFill>
                  <a:prstClr val="black"/>
                </a:solidFill>
                <a:latin typeface="+mn-lt"/>
                <a:ea typeface="+mn-ea"/>
              </a:endParaRPr>
            </a:p>
          </p:txBody>
        </p:sp>
      </p:grpSp>
      <p:sp>
        <p:nvSpPr>
          <p:cNvPr id="2" name="Title 1"/>
          <p:cNvSpPr>
            <a:spLocks noGrp="1"/>
          </p:cNvSpPr>
          <p:nvPr>
            <p:ph type="title"/>
          </p:nvPr>
        </p:nvSpPr>
        <p:spPr>
          <a:xfrm>
            <a:off x="722313" y="2624931"/>
            <a:ext cx="7772400" cy="1362075"/>
          </a:xfrm>
        </p:spPr>
        <p:txBody>
          <a:bodyPr anchor="t"/>
          <a:lstStyle>
            <a:lvl1pPr algn="l">
              <a:defRPr sz="4000" b="1" i="1" cap="all"/>
            </a:lvl1pPr>
          </a:lstStyle>
          <a:p>
            <a:r>
              <a:rPr lang="en-US" smtClean="0"/>
              <a:t>Click to edit Master title style</a:t>
            </a:r>
            <a:endParaRPr lang="id-ID"/>
          </a:p>
        </p:txBody>
      </p:sp>
      <p:sp>
        <p:nvSpPr>
          <p:cNvPr id="3" name="Text Placeholder 2"/>
          <p:cNvSpPr>
            <a:spLocks noGrp="1"/>
          </p:cNvSpPr>
          <p:nvPr>
            <p:ph type="body" idx="1"/>
          </p:nvPr>
        </p:nvSpPr>
        <p:spPr>
          <a:xfrm>
            <a:off x="722313" y="112474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27" name="Content Placeholder 2"/>
          <p:cNvSpPr>
            <a:spLocks noGrp="1"/>
          </p:cNvSpPr>
          <p:nvPr>
            <p:ph idx="13"/>
          </p:nvPr>
        </p:nvSpPr>
        <p:spPr>
          <a:xfrm>
            <a:off x="228600" y="1600206"/>
            <a:ext cx="8686800" cy="4525963"/>
          </a:xfrm>
          <a:solidFill>
            <a:srgbClr val="C00000"/>
          </a:solidFill>
        </p:spPr>
        <p:txBody>
          <a:bodyPr rtlCol="0" anchor="ctr">
            <a:noAutofit/>
          </a:bodyPr>
          <a:lstStyle>
            <a:lvl1pPr>
              <a:defRPr lang="en-US" sz="3600" b="1" dirty="0" smtClean="0">
                <a:solidFill>
                  <a:schemeClr val="bg2">
                    <a:lumMod val="75000"/>
                  </a:schemeClr>
                </a:solidFill>
                <a:effectLst>
                  <a:outerShdw blurRad="38100" dist="38100" dir="2700000" algn="tl">
                    <a:srgbClr val="000000">
                      <a:alpha val="43137"/>
                    </a:srgbClr>
                  </a:outerShdw>
                </a:effectLst>
                <a:latin typeface="+mj-lt"/>
                <a:ea typeface="+mj-ea"/>
                <a:cs typeface="+mj-cs"/>
              </a:defRPr>
            </a:lvl1pPr>
            <a:lvl2pPr>
              <a:defRPr lang="en-US" dirty="0" smtClean="0"/>
            </a:lvl2pPr>
            <a:lvl3pPr>
              <a:defRPr lang="en-US" dirty="0" smtClean="0"/>
            </a:lvl3pPr>
            <a:lvl4pPr>
              <a:defRPr lang="en-US"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Date Placeholder 3"/>
          <p:cNvSpPr>
            <a:spLocks noGrp="1"/>
          </p:cNvSpPr>
          <p:nvPr>
            <p:ph type="dt" sz="half" idx="14"/>
          </p:nvPr>
        </p:nvSpPr>
        <p:spPr/>
        <p:txBody>
          <a:bodyPr/>
          <a:lstStyle>
            <a:lvl1pPr>
              <a:defRPr smtClean="0"/>
            </a:lvl1pPr>
          </a:lstStyle>
          <a:p>
            <a:pPr>
              <a:defRPr/>
            </a:pPr>
            <a:fld id="{A498FAF5-B1C7-450A-82D7-30C823B2FF9E}" type="datetime1">
              <a:rPr lang="id-ID" altLang="id-ID"/>
              <a:pPr>
                <a:defRPr/>
              </a:pPr>
              <a:t>21/10/2015</a:t>
            </a:fld>
            <a:endParaRPr lang="id-ID" altLang="id-ID"/>
          </a:p>
        </p:txBody>
      </p:sp>
      <p:sp>
        <p:nvSpPr>
          <p:cNvPr id="24" name="Footer Placeholder 4"/>
          <p:cNvSpPr>
            <a:spLocks noGrp="1"/>
          </p:cNvSpPr>
          <p:nvPr>
            <p:ph type="ftr" sz="quarter" idx="15"/>
          </p:nvPr>
        </p:nvSpPr>
        <p:spPr/>
        <p:txBody>
          <a:bodyPr/>
          <a:lstStyle>
            <a:lvl1pPr>
              <a:defRPr/>
            </a:lvl1pPr>
          </a:lstStyle>
          <a:p>
            <a:pPr>
              <a:defRPr/>
            </a:pPr>
            <a:endParaRPr lang="id-ID"/>
          </a:p>
        </p:txBody>
      </p:sp>
      <p:sp>
        <p:nvSpPr>
          <p:cNvPr id="25" name="Slide Number Placeholder 5"/>
          <p:cNvSpPr>
            <a:spLocks noGrp="1"/>
          </p:cNvSpPr>
          <p:nvPr>
            <p:ph type="sldNum" sz="quarter" idx="16"/>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2F56F766-E76F-4B38-9180-7459AFB48231}" type="slidenum">
              <a:rPr lang="id-ID" altLang="id-ID"/>
              <a:pPr>
                <a:defRPr/>
              </a:pPr>
              <a:t>‹#›</a:t>
            </a:fld>
            <a:endParaRPr lang="id-ID" altLang="id-ID"/>
          </a:p>
        </p:txBody>
      </p:sp>
    </p:spTree>
    <p:extLst>
      <p:ext uri="{BB962C8B-B14F-4D97-AF65-F5344CB8AC3E}">
        <p14:creationId xmlns:p14="http://schemas.microsoft.com/office/powerpoint/2010/main" val="17360668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srcRect/>
          <a:stretch>
            <a:fillRect/>
          </a:stretch>
        </p:blipFill>
        <p:spPr bwMode="auto">
          <a:xfrm>
            <a:off x="7315200" y="0"/>
            <a:ext cx="18288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5"/>
          <p:cNvSpPr/>
          <p:nvPr userDrawn="1"/>
        </p:nvSpPr>
        <p:spPr>
          <a:xfrm>
            <a:off x="0" y="394136"/>
            <a:ext cx="7924800" cy="76200"/>
          </a:xfrm>
          <a:prstGeom prst="rect">
            <a:avLst/>
          </a:prstGeom>
          <a:gradFill flip="none" rotWithShape="1">
            <a:gsLst>
              <a:gs pos="0">
                <a:srgbClr val="C00000"/>
              </a:gs>
              <a:gs pos="18000">
                <a:srgbClr val="FFFFFF"/>
              </a:gs>
              <a:gs pos="100000">
                <a:srgbClr val="00206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 name="Content Placeholder 2"/>
          <p:cNvSpPr>
            <a:spLocks noGrp="1"/>
          </p:cNvSpPr>
          <p:nvPr>
            <p:ph idx="1"/>
          </p:nvPr>
        </p:nvSpPr>
        <p:spPr/>
        <p:txBody>
          <a:bodyPr/>
          <a:lstStyle>
            <a:lvl1pPr>
              <a:defRPr sz="1600"/>
            </a:lvl1pPr>
            <a:lvl2pPr>
              <a:defRPr sz="1400"/>
            </a:lvl2pPr>
            <a:lvl3pPr>
              <a:defRPr sz="1200"/>
            </a:lvl3pPr>
            <a:lvl4pPr>
              <a:defRPr sz="110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15"/>
          <p:cNvSpPr>
            <a:spLocks noGrp="1"/>
          </p:cNvSpPr>
          <p:nvPr>
            <p:ph type="title"/>
          </p:nvPr>
        </p:nvSpPr>
        <p:spPr>
          <a:xfrm>
            <a:off x="0" y="0"/>
            <a:ext cx="7848600" cy="380999"/>
          </a:xfrm>
        </p:spPr>
        <p:txBody>
          <a:bodyPr/>
          <a:lstStyle>
            <a:lvl1pPr algn="l">
              <a:defRPr sz="2800" b="0">
                <a:solidFill>
                  <a:srgbClr val="002060"/>
                </a:solidFill>
                <a:latin typeface="Calibri" pitchFamily="34" charset="0"/>
                <a:cs typeface="Calibri" pitchFamily="34" charset="0"/>
              </a:defRPr>
            </a:lvl1pPr>
          </a:lstStyle>
          <a:p>
            <a:r>
              <a:rPr lang="en-US" dirty="0" smtClean="0"/>
              <a:t>Click to edit Master title style</a:t>
            </a:r>
            <a:endParaRPr lang="en-US" dirty="0"/>
          </a:p>
        </p:txBody>
      </p:sp>
      <p:sp>
        <p:nvSpPr>
          <p:cNvPr id="10" name="Text Placeholder 10"/>
          <p:cNvSpPr>
            <a:spLocks noGrp="1"/>
          </p:cNvSpPr>
          <p:nvPr>
            <p:ph type="body" sz="quarter" idx="13"/>
          </p:nvPr>
        </p:nvSpPr>
        <p:spPr>
          <a:xfrm>
            <a:off x="-2275" y="475396"/>
            <a:ext cx="7850875" cy="653070"/>
          </a:xfrm>
        </p:spPr>
        <p:txBody>
          <a:bodyPr>
            <a:normAutofit/>
          </a:bodyPr>
          <a:lstStyle>
            <a:lvl1pPr algn="just">
              <a:buFontTx/>
              <a:buNone/>
              <a:defRPr sz="1600" b="1">
                <a:solidFill>
                  <a:srgbClr val="C00000"/>
                </a:solidFill>
                <a:latin typeface="Calibri" pitchFamily="34" charset="0"/>
                <a:cs typeface="Calibri" pitchFamily="34" charset="0"/>
              </a:defRPr>
            </a:lvl1pPr>
          </a:lstStyle>
          <a:p>
            <a:pPr lvl="0"/>
            <a:r>
              <a:rPr lang="en-US" dirty="0" smtClean="0"/>
              <a:t>Click to edit Master text styles</a:t>
            </a:r>
          </a:p>
        </p:txBody>
      </p:sp>
      <p:sp>
        <p:nvSpPr>
          <p:cNvPr id="7" name="Slide Number Placeholder 5"/>
          <p:cNvSpPr>
            <a:spLocks noGrp="1"/>
          </p:cNvSpPr>
          <p:nvPr>
            <p:ph type="sldNum" sz="quarter" idx="14"/>
          </p:nvPr>
        </p:nvSpPr>
        <p:spPr>
          <a:xfrm>
            <a:off x="8736013" y="619125"/>
            <a:ext cx="457200" cy="365125"/>
          </a:xfrm>
          <a:prstGeom prst="rect">
            <a:avLst/>
          </a:prstGeom>
        </p:spPr>
        <p:txBody>
          <a:bodyPr vert="horz" wrap="square" lIns="91440" tIns="45720" rIns="91440" bIns="45720" numCol="1" anchor="t" anchorCtr="0" compatLnSpc="1">
            <a:prstTxWarp prst="textNoShape">
              <a:avLst/>
            </a:prstTxWarp>
          </a:bodyPr>
          <a:lstStyle>
            <a:lvl1pPr algn="ctr">
              <a:defRPr smtClean="0">
                <a:solidFill>
                  <a:srgbClr val="000000"/>
                </a:solidFill>
                <a:cs typeface="Arial" pitchFamily="34" charset="0"/>
              </a:defRPr>
            </a:lvl1pPr>
          </a:lstStyle>
          <a:p>
            <a:pPr>
              <a:defRPr/>
            </a:pPr>
            <a:fld id="{C541371D-E5F0-4267-8F19-31D9D82D7F8C}" type="slidenum">
              <a:rPr lang="en-US" altLang="id-ID"/>
              <a:pPr>
                <a:defRPr/>
              </a:pPr>
              <a:t>‹#›</a:t>
            </a:fld>
            <a:endParaRPr lang="en-US" altLang="id-ID"/>
          </a:p>
        </p:txBody>
      </p:sp>
    </p:spTree>
    <p:extLst>
      <p:ext uri="{BB962C8B-B14F-4D97-AF65-F5344CB8AC3E}">
        <p14:creationId xmlns:p14="http://schemas.microsoft.com/office/powerpoint/2010/main" val="4525651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E3E28BDD-0130-4D79-8CD9-AC70A12179EC}"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8435357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2ACFB9E2-3242-4841-ADB2-E05084EF5CB6}"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6118591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60CFD294-F980-4D81-A460-DA03E6471D66}"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2372885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pic>
        <p:nvPicPr>
          <p:cNvPr id="5"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36544816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5B0F5741-F034-41D6-B054-FCCAAF1D8D1F}"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3701892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2DADE115-BD7D-4895-A198-EF178C8A8B52}" type="slidenum">
              <a:rPr lang="en-US" altLang="id-ID"/>
              <a:pPr>
                <a:defRPr/>
              </a:pPr>
              <a:t>‹#›</a:t>
            </a:fld>
            <a:endParaRPr lang="en-US" altLang="id-ID"/>
          </a:p>
        </p:txBody>
      </p:sp>
    </p:spTree>
    <p:extLst>
      <p:ext uri="{BB962C8B-B14F-4D97-AF65-F5344CB8AC3E}">
        <p14:creationId xmlns:p14="http://schemas.microsoft.com/office/powerpoint/2010/main" val="311467200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1DCB93C2-12FF-4F51-A3F2-81E5400495DD}"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396575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59B4F6AB-0EC5-45FB-9326-38CD063527A6}"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40754321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DF07494F-4BEA-4EE5-8210-9DF8D8493667}"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2315681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EEAF7593-A8D8-4BCA-9ED7-73CB71F85CF9}"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494505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11B0944B-8FAE-4A18-BDAF-3ACFB4F170AA}"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41500795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90423268-7180-4E26-9408-42A0EDFDAA3E}"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6230070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CE5AD343-F50D-4766-8F22-9D7804D80EC9}"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40339935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A2E4B6C3-56ED-419B-8F33-4FAB0E44F322}"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39564295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 y="152400"/>
            <a:ext cx="7467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81000" y="1600200"/>
            <a:ext cx="4000500" cy="510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33900" y="1600200"/>
            <a:ext cx="4000500" cy="510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18690177"/>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600206"/>
            <a:ext cx="8229600" cy="4525963"/>
          </a:xfrm>
        </p:spPr>
        <p:txBody>
          <a:bodyPr/>
          <a:lstStyle>
            <a:lvl1pPr>
              <a:buNone/>
              <a:defRPr b="0">
                <a:solidFill>
                  <a:schemeClr val="tx1"/>
                </a:soli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0"/>
          </p:nvPr>
        </p:nvSpPr>
        <p:spPr>
          <a:xfrm>
            <a:off x="228600" y="533400"/>
            <a:ext cx="8686800" cy="914400"/>
          </a:xfrm>
        </p:spPr>
        <p:txBody>
          <a:bodyPr/>
          <a:lstStyle>
            <a:lvl1pPr>
              <a:buNone/>
              <a:defRPr b="1" i="1">
                <a:solidFill>
                  <a:srgbClr val="C00000"/>
                </a:solidFill>
              </a:defRPr>
            </a:lvl1pPr>
          </a:lstStyle>
          <a:p>
            <a:pPr lvl="0"/>
            <a:r>
              <a:rPr lang="en-US" smtClean="0"/>
              <a:t>Click to edit Master text styles</a:t>
            </a:r>
          </a:p>
        </p:txBody>
      </p:sp>
    </p:spTree>
    <p:extLst>
      <p:ext uri="{BB962C8B-B14F-4D97-AF65-F5344CB8AC3E}">
        <p14:creationId xmlns:p14="http://schemas.microsoft.com/office/powerpoint/2010/main" val="2212566583"/>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4DBF8691-1B5A-4D60-AF83-CE8C381996CF}" type="slidenum">
              <a:rPr lang="en-US" altLang="id-ID"/>
              <a:pPr>
                <a:defRPr/>
              </a:pPr>
              <a:t>‹#›</a:t>
            </a:fld>
            <a:endParaRPr lang="en-US" altLang="id-ID"/>
          </a:p>
        </p:txBody>
      </p:sp>
    </p:spTree>
    <p:extLst>
      <p:ext uri="{BB962C8B-B14F-4D97-AF65-F5344CB8AC3E}">
        <p14:creationId xmlns:p14="http://schemas.microsoft.com/office/powerpoint/2010/main" val="41941065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01AEEB9A-1D47-4BA3-8209-085913DDAD22}"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6301558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grpSp>
        <p:nvGrpSpPr>
          <p:cNvPr id="5" name="Group 10"/>
          <p:cNvGrpSpPr>
            <a:grpSpLocks/>
          </p:cNvGrpSpPr>
          <p:nvPr userDrawn="1"/>
        </p:nvGrpSpPr>
        <p:grpSpPr bwMode="auto">
          <a:xfrm>
            <a:off x="0" y="0"/>
            <a:ext cx="8656638" cy="549275"/>
            <a:chOff x="0" y="0"/>
            <a:chExt cx="8656320" cy="548640"/>
          </a:xfrm>
        </p:grpSpPr>
        <p:sp>
          <p:nvSpPr>
            <p:cNvPr id="6" name="Rectangle 5"/>
            <p:cNvSpPr/>
            <p:nvPr/>
          </p:nvSpPr>
          <p:spPr>
            <a:xfrm>
              <a:off x="0" y="0"/>
              <a:ext cx="8610284"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7" name="Rectangle 6"/>
            <p:cNvSpPr/>
            <p:nvPr/>
          </p:nvSpPr>
          <p:spPr>
            <a:xfrm>
              <a:off x="8610284" y="0"/>
              <a:ext cx="46036"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grpSp>
      <p:sp>
        <p:nvSpPr>
          <p:cNvPr id="8" name="TextBox 7"/>
          <p:cNvSpPr txBox="1">
            <a:spLocks noChangeArrowheads="1"/>
          </p:cNvSpPr>
          <p:nvPr userDrawn="1"/>
        </p:nvSpPr>
        <p:spPr bwMode="auto">
          <a:xfrm>
            <a:off x="8632825" y="119063"/>
            <a:ext cx="5111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defRPr/>
            </a:pPr>
            <a:fld id="{DE046CB9-695F-4A01-9D6B-5F18D9191BFD}" type="slidenum">
              <a:rPr lang="en-US" altLang="id-ID" sz="1600" smtClean="0">
                <a:solidFill>
                  <a:srgbClr val="C00000"/>
                </a:solidFill>
                <a:cs typeface="Arial" pitchFamily="34" charset="0"/>
              </a:rPr>
              <a:pPr algn="ctr" eaLnBrk="1" hangingPunct="1">
                <a:defRPr/>
              </a:pPr>
              <a:t>‹#›</a:t>
            </a:fld>
            <a:endParaRPr lang="en-US" altLang="id-ID" sz="1600" smtClean="0">
              <a:solidFill>
                <a:srgbClr val="C00000"/>
              </a:solidFill>
              <a:cs typeface="Arial" pitchFamily="34" charset="0"/>
            </a:endParaRPr>
          </a:p>
        </p:txBody>
      </p:sp>
      <p:pic>
        <p:nvPicPr>
          <p:cNvPr id="9" name="Picture 1034" descr="Pantone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077200" y="6524625"/>
            <a:ext cx="9144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228600" y="6732588"/>
            <a:ext cx="3505200" cy="4921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1" name="Rectangle 10"/>
          <p:cNvSpPr/>
          <p:nvPr userDrawn="1"/>
        </p:nvSpPr>
        <p:spPr>
          <a:xfrm>
            <a:off x="3783013" y="6735763"/>
            <a:ext cx="304800" cy="460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2" name="Rectangle 11"/>
          <p:cNvSpPr/>
          <p:nvPr userDrawn="1"/>
        </p:nvSpPr>
        <p:spPr>
          <a:xfrm>
            <a:off x="4114800" y="6735763"/>
            <a:ext cx="4876800" cy="4603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0" y="26894"/>
            <a:ext cx="9144000" cy="487362"/>
          </a:xfrm>
          <a:prstGeom prst="rect">
            <a:avLst/>
          </a:prstGeom>
        </p:spPr>
        <p:txBody>
          <a:bodyPr/>
          <a:lstStyle>
            <a:lvl1pPr algn="l">
              <a:defRPr sz="2800" b="1">
                <a:solidFill>
                  <a:srgbClr val="00206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1066800"/>
            <a:ext cx="9144000" cy="2092881"/>
          </a:xfrm>
          <a:prstGeom prst="rect">
            <a:avLst/>
          </a:prstGeom>
        </p:spPr>
        <p:txBody>
          <a:bodyPr>
            <a:spAutoFit/>
          </a:bodyPr>
          <a:lstStyle>
            <a:lvl1pPr marL="228600" indent="-228600">
              <a:lnSpc>
                <a:spcPct val="114000"/>
              </a:lnSpc>
              <a:defRPr sz="2000">
                <a:solidFill>
                  <a:schemeClr val="tx1"/>
                </a:solidFill>
                <a:latin typeface="+mn-lt"/>
              </a:defRPr>
            </a:lvl1pPr>
            <a:lvl2pPr marL="457200" indent="-228600">
              <a:lnSpc>
                <a:spcPct val="114000"/>
              </a:lnSpc>
              <a:buFont typeface="Wingdings" pitchFamily="2" charset="2"/>
              <a:buChar char="§"/>
              <a:defRPr sz="2000">
                <a:solidFill>
                  <a:schemeClr val="tx1"/>
                </a:solidFill>
                <a:latin typeface="+mn-lt"/>
              </a:defRPr>
            </a:lvl2pPr>
            <a:lvl3pPr marL="685800" indent="-228600">
              <a:lnSpc>
                <a:spcPct val="114000"/>
              </a:lnSpc>
              <a:defRPr sz="2000">
                <a:solidFill>
                  <a:schemeClr val="tx1"/>
                </a:solidFill>
                <a:latin typeface="+mn-lt"/>
              </a:defRPr>
            </a:lvl3pPr>
            <a:lvl4pPr marL="914400" indent="-228600">
              <a:lnSpc>
                <a:spcPct val="114000"/>
              </a:lnSpc>
              <a:defRPr sz="2000">
                <a:solidFill>
                  <a:schemeClr val="tx1"/>
                </a:solidFill>
                <a:latin typeface="+mn-lt"/>
              </a:defRPr>
            </a:lvl4pPr>
            <a:lvl5pPr marL="1143000" indent="-228600">
              <a:lnSpc>
                <a:spcPct val="114000"/>
              </a:lnSpc>
              <a:defRPr sz="2000">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2"/>
          <p:cNvSpPr>
            <a:spLocks noGrp="1"/>
          </p:cNvSpPr>
          <p:nvPr>
            <p:ph idx="10"/>
          </p:nvPr>
        </p:nvSpPr>
        <p:spPr>
          <a:xfrm>
            <a:off x="0" y="579437"/>
            <a:ext cx="9144000" cy="400110"/>
          </a:xfrm>
          <a:prstGeom prst="rect">
            <a:avLst/>
          </a:prstGeom>
        </p:spPr>
        <p:txBody>
          <a:bodyPr>
            <a:spAutoFit/>
          </a:bodyPr>
          <a:lstStyle>
            <a:lvl1pPr marL="0" indent="0">
              <a:buNone/>
              <a:defRPr sz="2000" b="1" i="1">
                <a:solidFill>
                  <a:srgbClr val="C00000"/>
                </a:solidFill>
                <a:latin typeface="+mn-lt"/>
              </a:defRPr>
            </a:lvl1pPr>
            <a:lvl2pPr>
              <a:defRPr sz="2400">
                <a:solidFill>
                  <a:schemeClr val="tx1"/>
                </a:solidFill>
                <a:latin typeface="+mn-lt"/>
              </a:defRPr>
            </a:lvl2pPr>
            <a:lvl3pPr>
              <a:defRPr sz="2400">
                <a:solidFill>
                  <a:schemeClr val="tx1"/>
                </a:solidFill>
                <a:latin typeface="+mn-lt"/>
              </a:defRPr>
            </a:lvl3pPr>
            <a:lvl4pPr>
              <a:defRPr sz="2400">
                <a:solidFill>
                  <a:schemeClr val="tx1"/>
                </a:solidFill>
                <a:latin typeface="+mn-lt"/>
              </a:defRPr>
            </a:lvl4pPr>
            <a:lvl5pPr>
              <a:defRPr sz="2400">
                <a:solidFill>
                  <a:schemeClr val="tx1"/>
                </a:solidFill>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9601404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808" y="-27384"/>
            <a:ext cx="8229600" cy="432048"/>
          </a:xfrm>
        </p:spPr>
        <p:txBody>
          <a:bodyPr/>
          <a:lstStyle/>
          <a:p>
            <a:r>
              <a:rPr lang="en-US" smtClean="0"/>
              <a:t>Click to edit Master title style</a:t>
            </a:r>
            <a:endParaRPr lang="id-ID"/>
          </a:p>
        </p:txBody>
      </p:sp>
      <p:sp>
        <p:nvSpPr>
          <p:cNvPr id="3" name="Content Placeholder 2"/>
          <p:cNvSpPr>
            <a:spLocks noGrp="1"/>
          </p:cNvSpPr>
          <p:nvPr>
            <p:ph idx="1"/>
          </p:nvPr>
        </p:nvSpPr>
        <p:spPr>
          <a:xfrm>
            <a:off x="107504" y="548680"/>
            <a:ext cx="8928992" cy="792088"/>
          </a:xfrm>
        </p:spPr>
        <p:txBody>
          <a:bodyPr>
            <a:normAutofit/>
          </a:bodyPr>
          <a:lstStyle>
            <a:lvl1pPr marL="0" indent="0">
              <a:buNone/>
              <a:defRPr sz="2400" b="1" i="1">
                <a:solidFill>
                  <a:srgbClr val="C00000"/>
                </a:solidFill>
              </a:defRPr>
            </a:lvl1pPr>
          </a:lstStyle>
          <a:p>
            <a:pPr lvl="0"/>
            <a:r>
              <a:rPr lang="en-US" smtClean="0"/>
              <a:t>Click to edit Master text styles</a:t>
            </a:r>
          </a:p>
        </p:txBody>
      </p:sp>
      <p:sp>
        <p:nvSpPr>
          <p:cNvPr id="7" name="Content Placeholder 2"/>
          <p:cNvSpPr>
            <a:spLocks noGrp="1"/>
          </p:cNvSpPr>
          <p:nvPr>
            <p:ph idx="13"/>
          </p:nvPr>
        </p:nvSpPr>
        <p:spPr>
          <a:xfrm>
            <a:off x="107504" y="1628800"/>
            <a:ext cx="8928992" cy="256153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5" name="Date Placeholder 3"/>
          <p:cNvSpPr>
            <a:spLocks noGrp="1"/>
          </p:cNvSpPr>
          <p:nvPr>
            <p:ph type="dt" sz="half" idx="14"/>
          </p:nvPr>
        </p:nvSpPr>
        <p:spPr/>
        <p:txBody>
          <a:bodyPr/>
          <a:lstStyle>
            <a:lvl1pPr>
              <a:defRPr smtClean="0"/>
            </a:lvl1pPr>
          </a:lstStyle>
          <a:p>
            <a:pPr>
              <a:defRPr/>
            </a:pPr>
            <a:fld id="{D7A260DF-B967-4FF7-8D29-3BEEA40EBC5A}" type="datetime1">
              <a:rPr lang="id-ID" altLang="id-ID"/>
              <a:pPr>
                <a:defRPr/>
              </a:pPr>
              <a:t>21/10/2015</a:t>
            </a:fld>
            <a:endParaRPr lang="id-ID" altLang="id-ID"/>
          </a:p>
        </p:txBody>
      </p:sp>
      <p:sp>
        <p:nvSpPr>
          <p:cNvPr id="6" name="Footer Placeholder 4"/>
          <p:cNvSpPr>
            <a:spLocks noGrp="1"/>
          </p:cNvSpPr>
          <p:nvPr>
            <p:ph type="ftr" sz="quarter" idx="15"/>
          </p:nvPr>
        </p:nvSpPr>
        <p:spPr/>
        <p:txBody>
          <a:bodyPr/>
          <a:lstStyle>
            <a:lvl1pPr>
              <a:defRPr/>
            </a:lvl1pPr>
          </a:lstStyle>
          <a:p>
            <a:pPr>
              <a:defRPr/>
            </a:pPr>
            <a:endParaRPr lang="id-ID"/>
          </a:p>
        </p:txBody>
      </p:sp>
      <p:sp>
        <p:nvSpPr>
          <p:cNvPr id="8" name="Slide Number Placeholder 5"/>
          <p:cNvSpPr>
            <a:spLocks noGrp="1"/>
          </p:cNvSpPr>
          <p:nvPr>
            <p:ph type="sldNum" sz="quarter" idx="16"/>
          </p:nvPr>
        </p:nvSpPr>
        <p:spPr>
          <a:xfrm>
            <a:off x="8705850" y="-4763"/>
            <a:ext cx="298450" cy="365126"/>
          </a:xfrm>
          <a:prstGeom prst="rect">
            <a:avLst/>
          </a:prstGeom>
        </p:spPr>
        <p:txBody>
          <a:bodyPr vert="horz" wrap="square" lIns="91440" tIns="45720" rIns="91440" bIns="45720" numCol="1" anchor="t" anchorCtr="0" compatLnSpc="1">
            <a:prstTxWarp prst="textNoShape">
              <a:avLst/>
            </a:prstTxWarp>
          </a:bodyPr>
          <a:lstStyle>
            <a:lvl1pPr>
              <a:defRPr smtClean="0">
                <a:solidFill>
                  <a:srgbClr val="000000"/>
                </a:solidFill>
                <a:cs typeface="Arial" pitchFamily="34" charset="0"/>
              </a:defRPr>
            </a:lvl1pPr>
          </a:lstStyle>
          <a:p>
            <a:pPr>
              <a:defRPr/>
            </a:pPr>
            <a:fld id="{B500FEA0-D9BA-4A0C-9967-1B1856FBABAE}" type="slidenum">
              <a:rPr lang="id-ID" altLang="id-ID"/>
              <a:pPr>
                <a:defRPr/>
              </a:pPr>
              <a:t>‹#›</a:t>
            </a:fld>
            <a:endParaRPr lang="id-ID" altLang="id-ID"/>
          </a:p>
        </p:txBody>
      </p:sp>
    </p:spTree>
    <p:extLst>
      <p:ext uri="{BB962C8B-B14F-4D97-AF65-F5344CB8AC3E}">
        <p14:creationId xmlns:p14="http://schemas.microsoft.com/office/powerpoint/2010/main" val="7456224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457200"/>
          </a:xfrm>
        </p:spPr>
        <p:txBody>
          <a:bodyPr>
            <a:noAutofit/>
          </a:bodyPr>
          <a:lstStyle>
            <a:lvl1pPr algn="l">
              <a:defRPr sz="2800" b="1">
                <a:solidFill>
                  <a:schemeClr val="bg1"/>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228600" y="1600206"/>
            <a:ext cx="8686800" cy="4525963"/>
          </a:xfrm>
        </p:spPr>
        <p:txBody>
          <a:bodyPr/>
          <a:lstStyle>
            <a:lvl1pPr>
              <a:buNone/>
              <a:defRPr sz="2800" b="0">
                <a:solidFill>
                  <a:schemeClr val="tx1"/>
                </a:solidFill>
              </a:defRPr>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Content Placeholder 4"/>
          <p:cNvSpPr>
            <a:spLocks noGrp="1"/>
          </p:cNvSpPr>
          <p:nvPr>
            <p:ph sz="quarter" idx="10"/>
          </p:nvPr>
        </p:nvSpPr>
        <p:spPr>
          <a:xfrm>
            <a:off x="228600" y="762000"/>
            <a:ext cx="8686800" cy="457200"/>
          </a:xfrm>
        </p:spPr>
        <p:txBody>
          <a:bodyPr/>
          <a:lstStyle>
            <a:lvl1pPr>
              <a:buNone/>
              <a:defRPr sz="1800" i="1"/>
            </a:lvl1pPr>
          </a:lstStyle>
          <a:p>
            <a:pPr lvl="0"/>
            <a:r>
              <a:rPr lang="en-US" smtClean="0"/>
              <a:t>Click to edit Master text styles</a:t>
            </a:r>
          </a:p>
        </p:txBody>
      </p:sp>
    </p:spTree>
    <p:extLst>
      <p:ext uri="{BB962C8B-B14F-4D97-AF65-F5344CB8AC3E}">
        <p14:creationId xmlns:p14="http://schemas.microsoft.com/office/powerpoint/2010/main" val="550293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337CBFE1-FCBF-45AE-952F-3AA066570CA5}" type="slidenum">
              <a:rPr lang="en-US" altLang="id-ID"/>
              <a:pPr>
                <a:defRPr/>
              </a:pPr>
              <a:t>‹#›</a:t>
            </a:fld>
            <a:endParaRPr lang="en-US" altLang="id-ID"/>
          </a:p>
        </p:txBody>
      </p:sp>
    </p:spTree>
    <p:extLst>
      <p:ext uri="{BB962C8B-B14F-4D97-AF65-F5344CB8AC3E}">
        <p14:creationId xmlns:p14="http://schemas.microsoft.com/office/powerpoint/2010/main" val="3894319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52A5729C-9E1B-459C-9594-5266F9C16A6E}" type="slidenum">
              <a:rPr lang="en-US" altLang="id-ID"/>
              <a:pPr>
                <a:defRPr/>
              </a:pPr>
              <a:t>‹#›</a:t>
            </a:fld>
            <a:endParaRPr lang="en-US" altLang="id-ID"/>
          </a:p>
        </p:txBody>
      </p:sp>
    </p:spTree>
    <p:extLst>
      <p:ext uri="{BB962C8B-B14F-4D97-AF65-F5344CB8AC3E}">
        <p14:creationId xmlns:p14="http://schemas.microsoft.com/office/powerpoint/2010/main" val="29200524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cs typeface="Arial" pitchFamily="34" charset="0"/>
              </a:defRPr>
            </a:lvl1pPr>
          </a:lstStyle>
          <a:p>
            <a:pPr>
              <a:defRPr/>
            </a:pPr>
            <a:fld id="{AEF0740B-5702-4299-96C0-C533FBC3E10C}" type="slidenum">
              <a:rPr lang="en-US" altLang="id-ID"/>
              <a:pPr>
                <a:defRPr/>
              </a:pPr>
              <a:t>‹#›</a:t>
            </a:fld>
            <a:endParaRPr lang="en-US" altLang="id-ID"/>
          </a:p>
        </p:txBody>
      </p:sp>
    </p:spTree>
    <p:extLst>
      <p:ext uri="{BB962C8B-B14F-4D97-AF65-F5344CB8AC3E}">
        <p14:creationId xmlns:p14="http://schemas.microsoft.com/office/powerpoint/2010/main" val="23850649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9" Type="http://schemas.openxmlformats.org/officeDocument/2006/relationships/slideLayout" Target="../slideLayouts/slideLayout59.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slideLayout" Target="../slideLayouts/slideLayout54.xml"/><Relationship Id="rId42" Type="http://schemas.openxmlformats.org/officeDocument/2006/relationships/slideLayout" Target="../slideLayouts/slideLayout6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38" Type="http://schemas.openxmlformats.org/officeDocument/2006/relationships/slideLayout" Target="../slideLayouts/slideLayout58.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41" Type="http://schemas.openxmlformats.org/officeDocument/2006/relationships/slideLayout" Target="../slideLayouts/slideLayout61.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37" Type="http://schemas.openxmlformats.org/officeDocument/2006/relationships/slideLayout" Target="../slideLayouts/slideLayout57.xml"/><Relationship Id="rId40" Type="http://schemas.openxmlformats.org/officeDocument/2006/relationships/slideLayout" Target="../slideLayouts/slideLayout60.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36" Type="http://schemas.openxmlformats.org/officeDocument/2006/relationships/slideLayout" Target="../slideLayouts/slideLayout56.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4"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43"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78" r:id="rId14"/>
    <p:sldLayoutId id="2147484279" r:id="rId15"/>
    <p:sldLayoutId id="2147484280" r:id="rId16"/>
    <p:sldLayoutId id="2147484281" r:id="rId17"/>
    <p:sldLayoutId id="2147484282" r:id="rId18"/>
    <p:sldLayoutId id="2147484283" r:id="rId19"/>
    <p:sldLayoutId id="2147484284" r:id="rId20"/>
  </p:sldLayoutIdLst>
  <p:timing>
    <p:tnLst>
      <p:par>
        <p:cTn id="1" dur="indefinite" restart="never" nodeType="tmRoot"/>
      </p:par>
    </p:tnLst>
  </p:timing>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d-ID" smtClean="0"/>
              <a:t>Click to edit Master text styles</a:t>
            </a:r>
          </a:p>
          <a:p>
            <a:pPr lvl="1"/>
            <a:r>
              <a:rPr lang="en-US" altLang="id-ID" smtClean="0"/>
              <a:t>Second level</a:t>
            </a:r>
          </a:p>
          <a:p>
            <a:pPr lvl="2"/>
            <a:r>
              <a:rPr lang="en-US" altLang="id-ID" smtClean="0"/>
              <a:t>Third level</a:t>
            </a:r>
          </a:p>
          <a:p>
            <a:pPr lvl="3"/>
            <a:r>
              <a:rPr lang="en-US" altLang="id-ID" smtClean="0"/>
              <a:t>Fourth level</a:t>
            </a:r>
          </a:p>
          <a:p>
            <a:pPr lvl="4"/>
            <a:r>
              <a:rPr lang="en-US" altLang="id-ID" smtClean="0"/>
              <a:t>Fifth level</a:t>
            </a:r>
            <a:endParaRPr lang="id-ID" altLang="id-ID"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cs typeface="Arial" pitchFamily="34" charset="0"/>
              </a:defRPr>
            </a:lvl1pPr>
          </a:lstStyle>
          <a:p>
            <a:pPr>
              <a:defRPr/>
            </a:pPr>
            <a:fld id="{9BE9F82E-1F22-4D45-B38F-9D33D77518AB}" type="datetime1">
              <a:rPr lang="id-ID" altLang="id-ID"/>
              <a:pPr>
                <a:defRPr/>
              </a:pPr>
              <a:t>21/10/2015</a:t>
            </a:fld>
            <a:endParaRPr lang="id-ID" altLang="id-ID"/>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mn-lt"/>
                <a:ea typeface="+mn-ea"/>
                <a:cs typeface="+mn-cs"/>
              </a:defRPr>
            </a:lvl1pPr>
          </a:lstStyle>
          <a:p>
            <a:pPr>
              <a:defRPr/>
            </a:pPr>
            <a:endParaRPr lang="id-ID"/>
          </a:p>
        </p:txBody>
      </p:sp>
      <p:grpSp>
        <p:nvGrpSpPr>
          <p:cNvPr id="1029" name="Group 6"/>
          <p:cNvGrpSpPr>
            <a:grpSpLocks/>
          </p:cNvGrpSpPr>
          <p:nvPr/>
        </p:nvGrpSpPr>
        <p:grpSpPr bwMode="auto">
          <a:xfrm>
            <a:off x="0" y="-26988"/>
            <a:ext cx="9144000" cy="431801"/>
            <a:chOff x="0" y="-27384"/>
            <a:chExt cx="9144000" cy="432149"/>
          </a:xfrm>
        </p:grpSpPr>
        <p:sp>
          <p:nvSpPr>
            <p:cNvPr id="8" name="Rectangle 7"/>
            <p:cNvSpPr/>
            <p:nvPr userDrawn="1"/>
          </p:nvSpPr>
          <p:spPr>
            <a:xfrm>
              <a:off x="0" y="-27384"/>
              <a:ext cx="9144000" cy="43214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cxnSp>
          <p:nvCxnSpPr>
            <p:cNvPr id="9" name="Straight Connector 8"/>
            <p:cNvCxnSpPr/>
            <p:nvPr userDrawn="1"/>
          </p:nvCxnSpPr>
          <p:spPr>
            <a:xfrm>
              <a:off x="0" y="404765"/>
              <a:ext cx="9144000" cy="0"/>
            </a:xfrm>
            <a:prstGeom prst="line">
              <a:avLst/>
            </a:prstGeom>
            <a:ln w="57150">
              <a:solidFill>
                <a:srgbClr val="920000"/>
              </a:solidFill>
            </a:ln>
          </p:spPr>
          <p:style>
            <a:lnRef idx="1">
              <a:schemeClr val="accent1"/>
            </a:lnRef>
            <a:fillRef idx="0">
              <a:schemeClr val="accent1"/>
            </a:fillRef>
            <a:effectRef idx="0">
              <a:schemeClr val="accent1"/>
            </a:effectRef>
            <a:fontRef idx="minor">
              <a:schemeClr val="tx1"/>
            </a:fontRef>
          </p:style>
        </p:cxnSp>
      </p:grpSp>
      <p:sp>
        <p:nvSpPr>
          <p:cNvPr id="1030" name="Title Placeholder 1"/>
          <p:cNvSpPr>
            <a:spLocks noGrp="1"/>
          </p:cNvSpPr>
          <p:nvPr>
            <p:ph type="title"/>
          </p:nvPr>
        </p:nvSpPr>
        <p:spPr bwMode="auto">
          <a:xfrm>
            <a:off x="-36513" y="-26988"/>
            <a:ext cx="8229601" cy="431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d-ID" smtClean="0"/>
              <a:t>Click to edit Master title style</a:t>
            </a:r>
            <a:endParaRPr lang="id-ID" altLang="id-ID" smtClean="0"/>
          </a:p>
        </p:txBody>
      </p:sp>
      <p:sp>
        <p:nvSpPr>
          <p:cNvPr id="10" name="Oval 9"/>
          <p:cNvSpPr/>
          <p:nvPr/>
        </p:nvSpPr>
        <p:spPr>
          <a:xfrm>
            <a:off x="8604448" y="26504"/>
            <a:ext cx="467544" cy="306152"/>
          </a:xfrm>
          <a:prstGeom prst="ellipse">
            <a:avLst/>
          </a:prstGeom>
          <a:gradFill>
            <a:gsLst>
              <a:gs pos="67000">
                <a:srgbClr val="AE0B0B"/>
              </a:gs>
              <a:gs pos="1000">
                <a:schemeClr val="bg1">
                  <a:lumMod val="50000"/>
                </a:schemeClr>
              </a:gs>
              <a:gs pos="43000">
                <a:srgbClr val="C00000">
                  <a:lumMod val="83000"/>
                  <a:alpha val="79000"/>
                </a:srgbClr>
              </a:gs>
              <a:gs pos="100000">
                <a:schemeClr val="bg1">
                  <a:lumMod val="50000"/>
                  <a:shade val="100000"/>
                  <a:satMod val="115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id-ID">
              <a:solidFill>
                <a:prstClr val="white"/>
              </a:solidFill>
            </a:endParaRPr>
          </a:p>
        </p:txBody>
      </p:sp>
      <p:sp>
        <p:nvSpPr>
          <p:cNvPr id="12" name="Slide Number Placeholder 3"/>
          <p:cNvSpPr txBox="1">
            <a:spLocks/>
          </p:cNvSpPr>
          <p:nvPr/>
        </p:nvSpPr>
        <p:spPr>
          <a:xfrm>
            <a:off x="8667750" y="-11113"/>
            <a:ext cx="539750" cy="365126"/>
          </a:xfrm>
          <a:prstGeom prst="rect">
            <a:avLst/>
          </a:prstGeom>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E9E071C1-AAC5-4B4B-BED1-5ABB6C0AE571}" type="slidenum">
              <a:rPr lang="id-ID" altLang="id-ID" sz="1400" smtClean="0">
                <a:solidFill>
                  <a:srgbClr val="FFFFFF"/>
                </a:solidFill>
                <a:cs typeface="Arial" pitchFamily="34" charset="0"/>
              </a:rPr>
              <a:pPr eaLnBrk="1" hangingPunct="1">
                <a:defRPr/>
              </a:pPr>
              <a:t>‹#›</a:t>
            </a:fld>
            <a:endParaRPr lang="id-ID" altLang="id-ID" sz="1800" smtClean="0">
              <a:solidFill>
                <a:srgbClr val="FFFFFF"/>
              </a:solidFill>
              <a:cs typeface="Arial" pitchFamily="34" charset="0"/>
            </a:endParaRPr>
          </a:p>
        </p:txBody>
      </p:sp>
    </p:spTree>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 id="2147484247" r:id="rId14"/>
    <p:sldLayoutId id="2147484248" r:id="rId15"/>
    <p:sldLayoutId id="2147484249" r:id="rId16"/>
    <p:sldLayoutId id="2147484250" r:id="rId17"/>
    <p:sldLayoutId id="2147484251" r:id="rId18"/>
    <p:sldLayoutId id="2147484252" r:id="rId19"/>
    <p:sldLayoutId id="2147484253" r:id="rId20"/>
    <p:sldLayoutId id="2147484254" r:id="rId21"/>
    <p:sldLayoutId id="2147484255" r:id="rId22"/>
    <p:sldLayoutId id="2147484256" r:id="rId23"/>
    <p:sldLayoutId id="2147484257" r:id="rId24"/>
    <p:sldLayoutId id="2147484258" r:id="rId25"/>
    <p:sldLayoutId id="2147484259" r:id="rId26"/>
    <p:sldLayoutId id="2147484260" r:id="rId27"/>
    <p:sldLayoutId id="2147484261" r:id="rId28"/>
    <p:sldLayoutId id="2147484262" r:id="rId29"/>
    <p:sldLayoutId id="2147484263" r:id="rId30"/>
    <p:sldLayoutId id="2147484264" r:id="rId31"/>
    <p:sldLayoutId id="2147484265" r:id="rId32"/>
    <p:sldLayoutId id="2147484266" r:id="rId33"/>
    <p:sldLayoutId id="2147484267" r:id="rId34"/>
    <p:sldLayoutId id="2147484268" r:id="rId35"/>
    <p:sldLayoutId id="2147484269" r:id="rId36"/>
    <p:sldLayoutId id="2147484270" r:id="rId37"/>
    <p:sldLayoutId id="2147484271" r:id="rId38"/>
    <p:sldLayoutId id="2147484272" r:id="rId39"/>
    <p:sldLayoutId id="2147484273" r:id="rId40"/>
    <p:sldLayoutId id="2147484274" r:id="rId41"/>
    <p:sldLayoutId id="2147484275" r:id="rId42"/>
    <p:sldLayoutId id="2147484276" r:id="rId4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3600" b="1" kern="1200">
          <a:solidFill>
            <a:srgbClr val="002060"/>
          </a:solidFill>
          <a:latin typeface="+mj-lt"/>
          <a:ea typeface="MS PGothic" pitchFamily="34" charset="-128"/>
          <a:cs typeface="ＭＳ Ｐゴシック" charset="0"/>
        </a:defRPr>
      </a:lvl1pPr>
      <a:lvl2pPr algn="l" rtl="0" eaLnBrk="0" fontAlgn="base" hangingPunct="0">
        <a:spcBef>
          <a:spcPct val="0"/>
        </a:spcBef>
        <a:spcAft>
          <a:spcPct val="0"/>
        </a:spcAft>
        <a:defRPr sz="3600" b="1">
          <a:solidFill>
            <a:srgbClr val="002060"/>
          </a:solidFill>
          <a:latin typeface="Calibri" charset="0"/>
          <a:ea typeface="MS PGothic" pitchFamily="34" charset="-128"/>
          <a:cs typeface="ＭＳ Ｐゴシック" charset="0"/>
        </a:defRPr>
      </a:lvl2pPr>
      <a:lvl3pPr algn="l" rtl="0" eaLnBrk="0" fontAlgn="base" hangingPunct="0">
        <a:spcBef>
          <a:spcPct val="0"/>
        </a:spcBef>
        <a:spcAft>
          <a:spcPct val="0"/>
        </a:spcAft>
        <a:defRPr sz="3600" b="1">
          <a:solidFill>
            <a:srgbClr val="002060"/>
          </a:solidFill>
          <a:latin typeface="Calibri" charset="0"/>
          <a:ea typeface="MS PGothic" pitchFamily="34" charset="-128"/>
          <a:cs typeface="ＭＳ Ｐゴシック" charset="0"/>
        </a:defRPr>
      </a:lvl3pPr>
      <a:lvl4pPr algn="l" rtl="0" eaLnBrk="0" fontAlgn="base" hangingPunct="0">
        <a:spcBef>
          <a:spcPct val="0"/>
        </a:spcBef>
        <a:spcAft>
          <a:spcPct val="0"/>
        </a:spcAft>
        <a:defRPr sz="3600" b="1">
          <a:solidFill>
            <a:srgbClr val="002060"/>
          </a:solidFill>
          <a:latin typeface="Calibri" charset="0"/>
          <a:ea typeface="MS PGothic" pitchFamily="34" charset="-128"/>
          <a:cs typeface="ＭＳ Ｐゴシック" charset="0"/>
        </a:defRPr>
      </a:lvl4pPr>
      <a:lvl5pPr algn="l" rtl="0" eaLnBrk="0" fontAlgn="base" hangingPunct="0">
        <a:spcBef>
          <a:spcPct val="0"/>
        </a:spcBef>
        <a:spcAft>
          <a:spcPct val="0"/>
        </a:spcAft>
        <a:defRPr sz="3600" b="1">
          <a:solidFill>
            <a:srgbClr val="002060"/>
          </a:solidFill>
          <a:latin typeface="Calibri" charset="0"/>
          <a:ea typeface="MS PGothic" pitchFamily="34" charset="-128"/>
          <a:cs typeface="ＭＳ Ｐゴシック" charset="0"/>
        </a:defRPr>
      </a:lvl5pPr>
      <a:lvl6pPr marL="457200" algn="l" rtl="0" fontAlgn="base">
        <a:spcBef>
          <a:spcPct val="0"/>
        </a:spcBef>
        <a:spcAft>
          <a:spcPct val="0"/>
        </a:spcAft>
        <a:defRPr sz="3600" b="1">
          <a:solidFill>
            <a:srgbClr val="002060"/>
          </a:solidFill>
          <a:latin typeface="Calibri" charset="0"/>
          <a:ea typeface="ＭＳ Ｐゴシック" charset="0"/>
        </a:defRPr>
      </a:lvl6pPr>
      <a:lvl7pPr marL="914400" algn="l" rtl="0" fontAlgn="base">
        <a:spcBef>
          <a:spcPct val="0"/>
        </a:spcBef>
        <a:spcAft>
          <a:spcPct val="0"/>
        </a:spcAft>
        <a:defRPr sz="3600" b="1">
          <a:solidFill>
            <a:srgbClr val="002060"/>
          </a:solidFill>
          <a:latin typeface="Calibri" charset="0"/>
          <a:ea typeface="ＭＳ Ｐゴシック" charset="0"/>
        </a:defRPr>
      </a:lvl7pPr>
      <a:lvl8pPr marL="1371600" algn="l" rtl="0" fontAlgn="base">
        <a:spcBef>
          <a:spcPct val="0"/>
        </a:spcBef>
        <a:spcAft>
          <a:spcPct val="0"/>
        </a:spcAft>
        <a:defRPr sz="3600" b="1">
          <a:solidFill>
            <a:srgbClr val="002060"/>
          </a:solidFill>
          <a:latin typeface="Calibri" charset="0"/>
          <a:ea typeface="ＭＳ Ｐゴシック" charset="0"/>
        </a:defRPr>
      </a:lvl8pPr>
      <a:lvl9pPr marL="1828800" algn="l" rtl="0" fontAlgn="base">
        <a:spcBef>
          <a:spcPct val="0"/>
        </a:spcBef>
        <a:spcAft>
          <a:spcPct val="0"/>
        </a:spcAft>
        <a:defRPr sz="3600" b="1">
          <a:solidFill>
            <a:srgbClr val="002060"/>
          </a:solidFill>
          <a:latin typeface="Calibri" charset="0"/>
          <a:ea typeface="ＭＳ Ｐゴシック"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google.com/url?url=http://www.dumonde.com.au/global-supply-chain&amp;rct=j&amp;frm=1&amp;q=&amp;esrc=s&amp;sa=U&amp;ei=q8k0VP-qCcyMuATfhYCQBg&amp;ved=0CBYQ9QEwAA&amp;usg=AFQjCNGJ_s5aekD_sCPdeIVsldeqG9Q53g" TargetMode="External"/><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1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19.jpeg"/></Relationships>
</file>

<file path=ppt/slides/_rels/slide10.xml.rels><?xml version="1.0" encoding="UTF-8" standalone="yes"?>
<Relationships xmlns="http://schemas.openxmlformats.org/package/2006/relationships"><Relationship Id="rId8" Type="http://schemas.openxmlformats.org/officeDocument/2006/relationships/hyperlink" Target="http://www.google.com/url?url=http://www.dumonde.com.au/global-supply-chain&amp;rct=j&amp;frm=1&amp;q=&amp;esrc=s&amp;sa=U&amp;ei=q8k0VP-qCcyMuATfhYCQBg&amp;ved=0CBYQ9QEwAA&amp;usg=AFQjCNGJ_s5aekD_sCPdeIVsldeqG9Q53g" TargetMode="External"/><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14.xml"/><Relationship Id="rId6" Type="http://schemas.openxmlformats.org/officeDocument/2006/relationships/image" Target="../media/image17.jpeg"/><Relationship Id="rId5" Type="http://schemas.openxmlformats.org/officeDocument/2006/relationships/image" Target="../media/image16.jpeg"/><Relationship Id="rId10" Type="http://schemas.openxmlformats.org/officeDocument/2006/relationships/image" Target="../media/image23.jpeg"/><Relationship Id="rId4" Type="http://schemas.openxmlformats.org/officeDocument/2006/relationships/image" Target="../media/image15.jpeg"/><Relationship Id="rId9" Type="http://schemas.openxmlformats.org/officeDocument/2006/relationships/image" Target="../media/image19.jpe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4.xml"/><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chart" Target="../charts/chart6.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4.xml"/><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hyperlink" Target="http://www.bloomberg.com/news/articles/2013-01-28/bank-indonesia-steps-up-intervention-to-narrow-rupiah-price-gap" TargetMode="External"/><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hyperlink" Target="http://www.bloomberg.com/authors/AQug27fUYN8/yudith-ho" TargetMode="External"/><Relationship Id="rId5" Type="http://schemas.openxmlformats.org/officeDocument/2006/relationships/hyperlink" Target="http://www.bloomberg.com/authors/APu3RsFIeIY/novrida-manurung" TargetMode="Externa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4.xml"/><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4.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hyperlink" Target="http://www.google.com/url?url=http://www.dumonde.com.au/global-supply-chain&amp;rct=j&amp;frm=1&amp;q=&amp;esrc=s&amp;sa=U&amp;ei=q8k0VP-qCcyMuATfhYCQBg&amp;ved=0CBYQ9QEwAA&amp;usg=AFQjCNGJ_s5aekD_sCPdeIVsldeqG9Q53g"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9.jpeg"/></Relationships>
</file>

<file path=ppt/slides/_rels/slide27.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jpeg"/></Relationships>
</file>

<file path=ppt/slides/_rels/slide2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4.xml"/><Relationship Id="rId7" Type="http://schemas.openxmlformats.org/officeDocument/2006/relationships/chart" Target="../charts/chart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5.xml"/><Relationship Id="rId5" Type="http://schemas.openxmlformats.org/officeDocument/2006/relationships/tags" Target="../tags/tag6.xml"/><Relationship Id="rId10" Type="http://schemas.openxmlformats.org/officeDocument/2006/relationships/image" Target="../media/image64.emf"/><Relationship Id="rId4" Type="http://schemas.openxmlformats.org/officeDocument/2006/relationships/tags" Target="../tags/tag5.xml"/><Relationship Id="rId9" Type="http://schemas.openxmlformats.org/officeDocument/2006/relationships/chart" Target="../charts/chart10.xml"/></Relationships>
</file>

<file path=ppt/slides/_rels/slide3.xml.rels><?xml version="1.0" encoding="UTF-8" standalone="yes"?>
<Relationships xmlns="http://schemas.openxmlformats.org/package/2006/relationships"><Relationship Id="rId3" Type="http://schemas.openxmlformats.org/officeDocument/2006/relationships/hyperlink" Target="http://www.google.com/url?url=http://www.dumonde.com.au/global-supply-chain&amp;rct=j&amp;frm=1&amp;q=&amp;esrc=s&amp;sa=U&amp;ei=q8k0VP-qCcyMuATfhYCQBg&amp;ved=0CBYQ9QEwAA&amp;usg=AFQjCNGJ_s5aekD_sCPdeIVsldeqG9Q53g" TargetMode="External"/><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9.jpeg"/></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5.xml"/><Relationship Id="rId4" Type="http://schemas.openxmlformats.org/officeDocument/2006/relationships/chart" Target="../charts/char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chart" Target="../charts/chart14.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68.emf"/></Relationships>
</file>

<file path=ppt/slides/_rels/slide3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74.emf"/><Relationship Id="rId2" Type="http://schemas.openxmlformats.org/officeDocument/2006/relationships/slideLayout" Target="../slideLayouts/slideLayout16.xml"/><Relationship Id="rId1" Type="http://schemas.openxmlformats.org/officeDocument/2006/relationships/tags" Target="../tags/tag7.xml"/><Relationship Id="rId6" Type="http://schemas.openxmlformats.org/officeDocument/2006/relationships/image" Target="../media/image73.emf"/><Relationship Id="rId5" Type="http://schemas.openxmlformats.org/officeDocument/2006/relationships/image" Target="../media/image72.emf"/><Relationship Id="rId4" Type="http://schemas.openxmlformats.org/officeDocument/2006/relationships/image" Target="../media/image71.emf"/></Relationships>
</file>

<file path=ppt/slides/_rels/slide3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78.emf"/></Relationships>
</file>

<file path=ppt/slides/_rels/slide3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17" Type="http://schemas.openxmlformats.org/officeDocument/2006/relationships/tags" Target="../tags/tag124.xml"/><Relationship Id="rId299" Type="http://schemas.openxmlformats.org/officeDocument/2006/relationships/tags" Target="../tags/tag306.xml"/><Relationship Id="rId671" Type="http://schemas.openxmlformats.org/officeDocument/2006/relationships/tags" Target="../tags/tag678.xml"/><Relationship Id="rId21" Type="http://schemas.openxmlformats.org/officeDocument/2006/relationships/tags" Target="../tags/tag28.xml"/><Relationship Id="rId63" Type="http://schemas.openxmlformats.org/officeDocument/2006/relationships/tags" Target="../tags/tag70.xml"/><Relationship Id="rId159" Type="http://schemas.openxmlformats.org/officeDocument/2006/relationships/tags" Target="../tags/tag166.xml"/><Relationship Id="rId324" Type="http://schemas.openxmlformats.org/officeDocument/2006/relationships/tags" Target="../tags/tag331.xml"/><Relationship Id="rId366" Type="http://schemas.openxmlformats.org/officeDocument/2006/relationships/tags" Target="../tags/tag373.xml"/><Relationship Id="rId531" Type="http://schemas.openxmlformats.org/officeDocument/2006/relationships/tags" Target="../tags/tag538.xml"/><Relationship Id="rId573" Type="http://schemas.openxmlformats.org/officeDocument/2006/relationships/tags" Target="../tags/tag580.xml"/><Relationship Id="rId629" Type="http://schemas.openxmlformats.org/officeDocument/2006/relationships/tags" Target="../tags/tag636.xml"/><Relationship Id="rId170" Type="http://schemas.openxmlformats.org/officeDocument/2006/relationships/tags" Target="../tags/tag177.xml"/><Relationship Id="rId226" Type="http://schemas.openxmlformats.org/officeDocument/2006/relationships/tags" Target="../tags/tag233.xml"/><Relationship Id="rId433" Type="http://schemas.openxmlformats.org/officeDocument/2006/relationships/tags" Target="../tags/tag440.xml"/><Relationship Id="rId268" Type="http://schemas.openxmlformats.org/officeDocument/2006/relationships/tags" Target="../tags/tag275.xml"/><Relationship Id="rId475" Type="http://schemas.openxmlformats.org/officeDocument/2006/relationships/tags" Target="../tags/tag482.xml"/><Relationship Id="rId640" Type="http://schemas.openxmlformats.org/officeDocument/2006/relationships/tags" Target="../tags/tag647.xml"/><Relationship Id="rId682" Type="http://schemas.openxmlformats.org/officeDocument/2006/relationships/tags" Target="../tags/tag689.xml"/><Relationship Id="rId32" Type="http://schemas.openxmlformats.org/officeDocument/2006/relationships/tags" Target="../tags/tag39.xml"/><Relationship Id="rId74" Type="http://schemas.openxmlformats.org/officeDocument/2006/relationships/tags" Target="../tags/tag81.xml"/><Relationship Id="rId128" Type="http://schemas.openxmlformats.org/officeDocument/2006/relationships/tags" Target="../tags/tag135.xml"/><Relationship Id="rId335" Type="http://schemas.openxmlformats.org/officeDocument/2006/relationships/tags" Target="../tags/tag342.xml"/><Relationship Id="rId377" Type="http://schemas.openxmlformats.org/officeDocument/2006/relationships/tags" Target="../tags/tag384.xml"/><Relationship Id="rId500" Type="http://schemas.openxmlformats.org/officeDocument/2006/relationships/tags" Target="../tags/tag507.xml"/><Relationship Id="rId542" Type="http://schemas.openxmlformats.org/officeDocument/2006/relationships/tags" Target="../tags/tag549.xml"/><Relationship Id="rId584" Type="http://schemas.openxmlformats.org/officeDocument/2006/relationships/tags" Target="../tags/tag591.xml"/><Relationship Id="rId5" Type="http://schemas.openxmlformats.org/officeDocument/2006/relationships/tags" Target="../tags/tag12.xml"/><Relationship Id="rId181" Type="http://schemas.openxmlformats.org/officeDocument/2006/relationships/tags" Target="../tags/tag188.xml"/><Relationship Id="rId237" Type="http://schemas.openxmlformats.org/officeDocument/2006/relationships/tags" Target="../tags/tag244.xml"/><Relationship Id="rId402" Type="http://schemas.openxmlformats.org/officeDocument/2006/relationships/tags" Target="../tags/tag409.xml"/><Relationship Id="rId279" Type="http://schemas.openxmlformats.org/officeDocument/2006/relationships/tags" Target="../tags/tag286.xml"/><Relationship Id="rId444" Type="http://schemas.openxmlformats.org/officeDocument/2006/relationships/tags" Target="../tags/tag451.xml"/><Relationship Id="rId486" Type="http://schemas.openxmlformats.org/officeDocument/2006/relationships/tags" Target="../tags/tag493.xml"/><Relationship Id="rId651" Type="http://schemas.openxmlformats.org/officeDocument/2006/relationships/tags" Target="../tags/tag658.xml"/><Relationship Id="rId693" Type="http://schemas.openxmlformats.org/officeDocument/2006/relationships/tags" Target="../tags/tag700.xml"/><Relationship Id="rId707" Type="http://schemas.openxmlformats.org/officeDocument/2006/relationships/tags" Target="../tags/tag714.xml"/><Relationship Id="rId43" Type="http://schemas.openxmlformats.org/officeDocument/2006/relationships/tags" Target="../tags/tag50.xml"/><Relationship Id="rId139" Type="http://schemas.openxmlformats.org/officeDocument/2006/relationships/tags" Target="../tags/tag146.xml"/><Relationship Id="rId290" Type="http://schemas.openxmlformats.org/officeDocument/2006/relationships/tags" Target="../tags/tag297.xml"/><Relationship Id="rId304" Type="http://schemas.openxmlformats.org/officeDocument/2006/relationships/tags" Target="../tags/tag311.xml"/><Relationship Id="rId346" Type="http://schemas.openxmlformats.org/officeDocument/2006/relationships/tags" Target="../tags/tag353.xml"/><Relationship Id="rId388" Type="http://schemas.openxmlformats.org/officeDocument/2006/relationships/tags" Target="../tags/tag395.xml"/><Relationship Id="rId511" Type="http://schemas.openxmlformats.org/officeDocument/2006/relationships/tags" Target="../tags/tag518.xml"/><Relationship Id="rId553" Type="http://schemas.openxmlformats.org/officeDocument/2006/relationships/tags" Target="../tags/tag560.xml"/><Relationship Id="rId609" Type="http://schemas.openxmlformats.org/officeDocument/2006/relationships/tags" Target="../tags/tag616.xml"/><Relationship Id="rId85" Type="http://schemas.openxmlformats.org/officeDocument/2006/relationships/tags" Target="../tags/tag92.xml"/><Relationship Id="rId150" Type="http://schemas.openxmlformats.org/officeDocument/2006/relationships/tags" Target="../tags/tag157.xml"/><Relationship Id="rId192" Type="http://schemas.openxmlformats.org/officeDocument/2006/relationships/tags" Target="../tags/tag199.xml"/><Relationship Id="rId206" Type="http://schemas.openxmlformats.org/officeDocument/2006/relationships/tags" Target="../tags/tag213.xml"/><Relationship Id="rId413" Type="http://schemas.openxmlformats.org/officeDocument/2006/relationships/tags" Target="../tags/tag420.xml"/><Relationship Id="rId595" Type="http://schemas.openxmlformats.org/officeDocument/2006/relationships/tags" Target="../tags/tag602.xml"/><Relationship Id="rId248" Type="http://schemas.openxmlformats.org/officeDocument/2006/relationships/tags" Target="../tags/tag255.xml"/><Relationship Id="rId455" Type="http://schemas.openxmlformats.org/officeDocument/2006/relationships/tags" Target="../tags/tag462.xml"/><Relationship Id="rId497" Type="http://schemas.openxmlformats.org/officeDocument/2006/relationships/tags" Target="../tags/tag504.xml"/><Relationship Id="rId620" Type="http://schemas.openxmlformats.org/officeDocument/2006/relationships/tags" Target="../tags/tag627.xml"/><Relationship Id="rId662" Type="http://schemas.openxmlformats.org/officeDocument/2006/relationships/tags" Target="../tags/tag669.xml"/><Relationship Id="rId718" Type="http://schemas.openxmlformats.org/officeDocument/2006/relationships/image" Target="../media/image92.png"/><Relationship Id="rId12" Type="http://schemas.openxmlformats.org/officeDocument/2006/relationships/tags" Target="../tags/tag19.xml"/><Relationship Id="rId108" Type="http://schemas.openxmlformats.org/officeDocument/2006/relationships/tags" Target="../tags/tag115.xml"/><Relationship Id="rId315" Type="http://schemas.openxmlformats.org/officeDocument/2006/relationships/tags" Target="../tags/tag322.xml"/><Relationship Id="rId357" Type="http://schemas.openxmlformats.org/officeDocument/2006/relationships/tags" Target="../tags/tag364.xml"/><Relationship Id="rId522" Type="http://schemas.openxmlformats.org/officeDocument/2006/relationships/tags" Target="../tags/tag529.xml"/><Relationship Id="rId54" Type="http://schemas.openxmlformats.org/officeDocument/2006/relationships/tags" Target="../tags/tag61.xml"/><Relationship Id="rId96" Type="http://schemas.openxmlformats.org/officeDocument/2006/relationships/tags" Target="../tags/tag103.xml"/><Relationship Id="rId161" Type="http://schemas.openxmlformats.org/officeDocument/2006/relationships/tags" Target="../tags/tag168.xml"/><Relationship Id="rId217" Type="http://schemas.openxmlformats.org/officeDocument/2006/relationships/tags" Target="../tags/tag224.xml"/><Relationship Id="rId399" Type="http://schemas.openxmlformats.org/officeDocument/2006/relationships/tags" Target="../tags/tag406.xml"/><Relationship Id="rId564" Type="http://schemas.openxmlformats.org/officeDocument/2006/relationships/tags" Target="../tags/tag571.xml"/><Relationship Id="rId259" Type="http://schemas.openxmlformats.org/officeDocument/2006/relationships/tags" Target="../tags/tag266.xml"/><Relationship Id="rId424" Type="http://schemas.openxmlformats.org/officeDocument/2006/relationships/tags" Target="../tags/tag431.xml"/><Relationship Id="rId466" Type="http://schemas.openxmlformats.org/officeDocument/2006/relationships/tags" Target="../tags/tag473.xml"/><Relationship Id="rId631" Type="http://schemas.openxmlformats.org/officeDocument/2006/relationships/tags" Target="../tags/tag638.xml"/><Relationship Id="rId673" Type="http://schemas.openxmlformats.org/officeDocument/2006/relationships/tags" Target="../tags/tag680.xml"/><Relationship Id="rId23" Type="http://schemas.openxmlformats.org/officeDocument/2006/relationships/tags" Target="../tags/tag30.xml"/><Relationship Id="rId119" Type="http://schemas.openxmlformats.org/officeDocument/2006/relationships/tags" Target="../tags/tag126.xml"/><Relationship Id="rId270" Type="http://schemas.openxmlformats.org/officeDocument/2006/relationships/tags" Target="../tags/tag277.xml"/><Relationship Id="rId326" Type="http://schemas.openxmlformats.org/officeDocument/2006/relationships/tags" Target="../tags/tag333.xml"/><Relationship Id="rId533" Type="http://schemas.openxmlformats.org/officeDocument/2006/relationships/tags" Target="../tags/tag540.xml"/><Relationship Id="rId65" Type="http://schemas.openxmlformats.org/officeDocument/2006/relationships/tags" Target="../tags/tag72.xml"/><Relationship Id="rId130" Type="http://schemas.openxmlformats.org/officeDocument/2006/relationships/tags" Target="../tags/tag137.xml"/><Relationship Id="rId368" Type="http://schemas.openxmlformats.org/officeDocument/2006/relationships/tags" Target="../tags/tag375.xml"/><Relationship Id="rId575" Type="http://schemas.openxmlformats.org/officeDocument/2006/relationships/tags" Target="../tags/tag582.xml"/><Relationship Id="rId172" Type="http://schemas.openxmlformats.org/officeDocument/2006/relationships/tags" Target="../tags/tag179.xml"/><Relationship Id="rId228" Type="http://schemas.openxmlformats.org/officeDocument/2006/relationships/tags" Target="../tags/tag235.xml"/><Relationship Id="rId435" Type="http://schemas.openxmlformats.org/officeDocument/2006/relationships/tags" Target="../tags/tag442.xml"/><Relationship Id="rId477" Type="http://schemas.openxmlformats.org/officeDocument/2006/relationships/tags" Target="../tags/tag484.xml"/><Relationship Id="rId600" Type="http://schemas.openxmlformats.org/officeDocument/2006/relationships/tags" Target="../tags/tag607.xml"/><Relationship Id="rId642" Type="http://schemas.openxmlformats.org/officeDocument/2006/relationships/tags" Target="../tags/tag649.xml"/><Relationship Id="rId684" Type="http://schemas.openxmlformats.org/officeDocument/2006/relationships/tags" Target="../tags/tag691.xml"/><Relationship Id="rId281" Type="http://schemas.openxmlformats.org/officeDocument/2006/relationships/tags" Target="../tags/tag288.xml"/><Relationship Id="rId337" Type="http://schemas.openxmlformats.org/officeDocument/2006/relationships/tags" Target="../tags/tag344.xml"/><Relationship Id="rId502" Type="http://schemas.openxmlformats.org/officeDocument/2006/relationships/tags" Target="../tags/tag509.xml"/><Relationship Id="rId34" Type="http://schemas.openxmlformats.org/officeDocument/2006/relationships/tags" Target="../tags/tag41.xml"/><Relationship Id="rId76" Type="http://schemas.openxmlformats.org/officeDocument/2006/relationships/tags" Target="../tags/tag83.xml"/><Relationship Id="rId141" Type="http://schemas.openxmlformats.org/officeDocument/2006/relationships/tags" Target="../tags/tag148.xml"/><Relationship Id="rId379" Type="http://schemas.openxmlformats.org/officeDocument/2006/relationships/tags" Target="../tags/tag386.xml"/><Relationship Id="rId544" Type="http://schemas.openxmlformats.org/officeDocument/2006/relationships/tags" Target="../tags/tag551.xml"/><Relationship Id="rId586" Type="http://schemas.openxmlformats.org/officeDocument/2006/relationships/tags" Target="../tags/tag593.xml"/><Relationship Id="rId7" Type="http://schemas.openxmlformats.org/officeDocument/2006/relationships/tags" Target="../tags/tag14.xml"/><Relationship Id="rId183" Type="http://schemas.openxmlformats.org/officeDocument/2006/relationships/tags" Target="../tags/tag190.xml"/><Relationship Id="rId239" Type="http://schemas.openxmlformats.org/officeDocument/2006/relationships/tags" Target="../tags/tag246.xml"/><Relationship Id="rId390" Type="http://schemas.openxmlformats.org/officeDocument/2006/relationships/tags" Target="../tags/tag397.xml"/><Relationship Id="rId404" Type="http://schemas.openxmlformats.org/officeDocument/2006/relationships/tags" Target="../tags/tag411.xml"/><Relationship Id="rId446" Type="http://schemas.openxmlformats.org/officeDocument/2006/relationships/tags" Target="../tags/tag453.xml"/><Relationship Id="rId611" Type="http://schemas.openxmlformats.org/officeDocument/2006/relationships/tags" Target="../tags/tag618.xml"/><Relationship Id="rId653" Type="http://schemas.openxmlformats.org/officeDocument/2006/relationships/tags" Target="../tags/tag660.xml"/><Relationship Id="rId250" Type="http://schemas.openxmlformats.org/officeDocument/2006/relationships/tags" Target="../tags/tag257.xml"/><Relationship Id="rId292" Type="http://schemas.openxmlformats.org/officeDocument/2006/relationships/tags" Target="../tags/tag299.xml"/><Relationship Id="rId306" Type="http://schemas.openxmlformats.org/officeDocument/2006/relationships/tags" Target="../tags/tag313.xml"/><Relationship Id="rId488" Type="http://schemas.openxmlformats.org/officeDocument/2006/relationships/tags" Target="../tags/tag495.xml"/><Relationship Id="rId695" Type="http://schemas.openxmlformats.org/officeDocument/2006/relationships/tags" Target="../tags/tag702.xml"/><Relationship Id="rId709" Type="http://schemas.openxmlformats.org/officeDocument/2006/relationships/tags" Target="../tags/tag716.xml"/><Relationship Id="rId45" Type="http://schemas.openxmlformats.org/officeDocument/2006/relationships/tags" Target="../tags/tag52.xml"/><Relationship Id="rId87" Type="http://schemas.openxmlformats.org/officeDocument/2006/relationships/tags" Target="../tags/tag94.xml"/><Relationship Id="rId110" Type="http://schemas.openxmlformats.org/officeDocument/2006/relationships/tags" Target="../tags/tag117.xml"/><Relationship Id="rId348" Type="http://schemas.openxmlformats.org/officeDocument/2006/relationships/tags" Target="../tags/tag355.xml"/><Relationship Id="rId513" Type="http://schemas.openxmlformats.org/officeDocument/2006/relationships/tags" Target="../tags/tag520.xml"/><Relationship Id="rId555" Type="http://schemas.openxmlformats.org/officeDocument/2006/relationships/tags" Target="../tags/tag562.xml"/><Relationship Id="rId597" Type="http://schemas.openxmlformats.org/officeDocument/2006/relationships/tags" Target="../tags/tag604.xml"/><Relationship Id="rId720" Type="http://schemas.openxmlformats.org/officeDocument/2006/relationships/image" Target="../media/image94.png"/><Relationship Id="rId152" Type="http://schemas.openxmlformats.org/officeDocument/2006/relationships/tags" Target="../tags/tag159.xml"/><Relationship Id="rId194" Type="http://schemas.openxmlformats.org/officeDocument/2006/relationships/tags" Target="../tags/tag201.xml"/><Relationship Id="rId208" Type="http://schemas.openxmlformats.org/officeDocument/2006/relationships/tags" Target="../tags/tag215.xml"/><Relationship Id="rId415" Type="http://schemas.openxmlformats.org/officeDocument/2006/relationships/tags" Target="../tags/tag422.xml"/><Relationship Id="rId457" Type="http://schemas.openxmlformats.org/officeDocument/2006/relationships/tags" Target="../tags/tag464.xml"/><Relationship Id="rId622" Type="http://schemas.openxmlformats.org/officeDocument/2006/relationships/tags" Target="../tags/tag629.xml"/><Relationship Id="rId261" Type="http://schemas.openxmlformats.org/officeDocument/2006/relationships/tags" Target="../tags/tag268.xml"/><Relationship Id="rId499" Type="http://schemas.openxmlformats.org/officeDocument/2006/relationships/tags" Target="../tags/tag506.xml"/><Relationship Id="rId664" Type="http://schemas.openxmlformats.org/officeDocument/2006/relationships/tags" Target="../tags/tag671.xml"/><Relationship Id="rId14" Type="http://schemas.openxmlformats.org/officeDocument/2006/relationships/tags" Target="../tags/tag21.xml"/><Relationship Id="rId56" Type="http://schemas.openxmlformats.org/officeDocument/2006/relationships/tags" Target="../tags/tag63.xml"/><Relationship Id="rId317" Type="http://schemas.openxmlformats.org/officeDocument/2006/relationships/tags" Target="../tags/tag324.xml"/><Relationship Id="rId359" Type="http://schemas.openxmlformats.org/officeDocument/2006/relationships/tags" Target="../tags/tag366.xml"/><Relationship Id="rId524" Type="http://schemas.openxmlformats.org/officeDocument/2006/relationships/tags" Target="../tags/tag531.xml"/><Relationship Id="rId566" Type="http://schemas.openxmlformats.org/officeDocument/2006/relationships/tags" Target="../tags/tag573.xml"/><Relationship Id="rId98" Type="http://schemas.openxmlformats.org/officeDocument/2006/relationships/tags" Target="../tags/tag105.xml"/><Relationship Id="rId121" Type="http://schemas.openxmlformats.org/officeDocument/2006/relationships/tags" Target="../tags/tag128.xml"/><Relationship Id="rId163" Type="http://schemas.openxmlformats.org/officeDocument/2006/relationships/tags" Target="../tags/tag170.xml"/><Relationship Id="rId219" Type="http://schemas.openxmlformats.org/officeDocument/2006/relationships/tags" Target="../tags/tag226.xml"/><Relationship Id="rId370" Type="http://schemas.openxmlformats.org/officeDocument/2006/relationships/tags" Target="../tags/tag377.xml"/><Relationship Id="rId426" Type="http://schemas.openxmlformats.org/officeDocument/2006/relationships/tags" Target="../tags/tag433.xml"/><Relationship Id="rId633" Type="http://schemas.openxmlformats.org/officeDocument/2006/relationships/tags" Target="../tags/tag640.xml"/><Relationship Id="rId230" Type="http://schemas.openxmlformats.org/officeDocument/2006/relationships/tags" Target="../tags/tag237.xml"/><Relationship Id="rId468" Type="http://schemas.openxmlformats.org/officeDocument/2006/relationships/tags" Target="../tags/tag475.xml"/><Relationship Id="rId675" Type="http://schemas.openxmlformats.org/officeDocument/2006/relationships/tags" Target="../tags/tag682.xml"/><Relationship Id="rId25" Type="http://schemas.openxmlformats.org/officeDocument/2006/relationships/tags" Target="../tags/tag32.xml"/><Relationship Id="rId67" Type="http://schemas.openxmlformats.org/officeDocument/2006/relationships/tags" Target="../tags/tag74.xml"/><Relationship Id="rId272" Type="http://schemas.openxmlformats.org/officeDocument/2006/relationships/tags" Target="../tags/tag279.xml"/><Relationship Id="rId328" Type="http://schemas.openxmlformats.org/officeDocument/2006/relationships/tags" Target="../tags/tag335.xml"/><Relationship Id="rId535" Type="http://schemas.openxmlformats.org/officeDocument/2006/relationships/tags" Target="../tags/tag542.xml"/><Relationship Id="rId577" Type="http://schemas.openxmlformats.org/officeDocument/2006/relationships/tags" Target="../tags/tag584.xml"/><Relationship Id="rId700" Type="http://schemas.openxmlformats.org/officeDocument/2006/relationships/tags" Target="../tags/tag707.xml"/><Relationship Id="rId132" Type="http://schemas.openxmlformats.org/officeDocument/2006/relationships/tags" Target="../tags/tag139.xml"/><Relationship Id="rId174" Type="http://schemas.openxmlformats.org/officeDocument/2006/relationships/tags" Target="../tags/tag181.xml"/><Relationship Id="rId381" Type="http://schemas.openxmlformats.org/officeDocument/2006/relationships/tags" Target="../tags/tag388.xml"/><Relationship Id="rId602" Type="http://schemas.openxmlformats.org/officeDocument/2006/relationships/tags" Target="../tags/tag609.xml"/><Relationship Id="rId241" Type="http://schemas.openxmlformats.org/officeDocument/2006/relationships/tags" Target="../tags/tag248.xml"/><Relationship Id="rId437" Type="http://schemas.openxmlformats.org/officeDocument/2006/relationships/tags" Target="../tags/tag444.xml"/><Relationship Id="rId479" Type="http://schemas.openxmlformats.org/officeDocument/2006/relationships/tags" Target="../tags/tag486.xml"/><Relationship Id="rId644" Type="http://schemas.openxmlformats.org/officeDocument/2006/relationships/tags" Target="../tags/tag651.xml"/><Relationship Id="rId686" Type="http://schemas.openxmlformats.org/officeDocument/2006/relationships/tags" Target="../tags/tag693.xml"/><Relationship Id="rId36" Type="http://schemas.openxmlformats.org/officeDocument/2006/relationships/tags" Target="../tags/tag43.xml"/><Relationship Id="rId283" Type="http://schemas.openxmlformats.org/officeDocument/2006/relationships/tags" Target="../tags/tag290.xml"/><Relationship Id="rId339" Type="http://schemas.openxmlformats.org/officeDocument/2006/relationships/tags" Target="../tags/tag346.xml"/><Relationship Id="rId490" Type="http://schemas.openxmlformats.org/officeDocument/2006/relationships/tags" Target="../tags/tag497.xml"/><Relationship Id="rId504" Type="http://schemas.openxmlformats.org/officeDocument/2006/relationships/tags" Target="../tags/tag511.xml"/><Relationship Id="rId546" Type="http://schemas.openxmlformats.org/officeDocument/2006/relationships/tags" Target="../tags/tag553.xml"/><Relationship Id="rId711" Type="http://schemas.openxmlformats.org/officeDocument/2006/relationships/tags" Target="../tags/tag718.xml"/><Relationship Id="rId78" Type="http://schemas.openxmlformats.org/officeDocument/2006/relationships/tags" Target="../tags/tag85.xml"/><Relationship Id="rId101" Type="http://schemas.openxmlformats.org/officeDocument/2006/relationships/tags" Target="../tags/tag108.xml"/><Relationship Id="rId143" Type="http://schemas.openxmlformats.org/officeDocument/2006/relationships/tags" Target="../tags/tag150.xml"/><Relationship Id="rId185" Type="http://schemas.openxmlformats.org/officeDocument/2006/relationships/tags" Target="../tags/tag192.xml"/><Relationship Id="rId350" Type="http://schemas.openxmlformats.org/officeDocument/2006/relationships/tags" Target="../tags/tag357.xml"/><Relationship Id="rId406" Type="http://schemas.openxmlformats.org/officeDocument/2006/relationships/tags" Target="../tags/tag413.xml"/><Relationship Id="rId588" Type="http://schemas.openxmlformats.org/officeDocument/2006/relationships/tags" Target="../tags/tag595.xml"/><Relationship Id="rId9" Type="http://schemas.openxmlformats.org/officeDocument/2006/relationships/tags" Target="../tags/tag16.xml"/><Relationship Id="rId210" Type="http://schemas.openxmlformats.org/officeDocument/2006/relationships/tags" Target="../tags/tag217.xml"/><Relationship Id="rId392" Type="http://schemas.openxmlformats.org/officeDocument/2006/relationships/tags" Target="../tags/tag399.xml"/><Relationship Id="rId448" Type="http://schemas.openxmlformats.org/officeDocument/2006/relationships/tags" Target="../tags/tag455.xml"/><Relationship Id="rId613" Type="http://schemas.openxmlformats.org/officeDocument/2006/relationships/tags" Target="../tags/tag620.xml"/><Relationship Id="rId655" Type="http://schemas.openxmlformats.org/officeDocument/2006/relationships/tags" Target="../tags/tag662.xml"/><Relationship Id="rId697" Type="http://schemas.openxmlformats.org/officeDocument/2006/relationships/tags" Target="../tags/tag704.xml"/><Relationship Id="rId252" Type="http://schemas.openxmlformats.org/officeDocument/2006/relationships/tags" Target="../tags/tag259.xml"/><Relationship Id="rId294" Type="http://schemas.openxmlformats.org/officeDocument/2006/relationships/tags" Target="../tags/tag301.xml"/><Relationship Id="rId308" Type="http://schemas.openxmlformats.org/officeDocument/2006/relationships/tags" Target="../tags/tag315.xml"/><Relationship Id="rId515" Type="http://schemas.openxmlformats.org/officeDocument/2006/relationships/tags" Target="../tags/tag522.xml"/><Relationship Id="rId722" Type="http://schemas.openxmlformats.org/officeDocument/2006/relationships/image" Target="../media/image96.png"/><Relationship Id="rId47" Type="http://schemas.openxmlformats.org/officeDocument/2006/relationships/tags" Target="../tags/tag54.xml"/><Relationship Id="rId89" Type="http://schemas.openxmlformats.org/officeDocument/2006/relationships/tags" Target="../tags/tag96.xml"/><Relationship Id="rId112" Type="http://schemas.openxmlformats.org/officeDocument/2006/relationships/tags" Target="../tags/tag119.xml"/><Relationship Id="rId154" Type="http://schemas.openxmlformats.org/officeDocument/2006/relationships/tags" Target="../tags/tag161.xml"/><Relationship Id="rId361" Type="http://schemas.openxmlformats.org/officeDocument/2006/relationships/tags" Target="../tags/tag368.xml"/><Relationship Id="rId557" Type="http://schemas.openxmlformats.org/officeDocument/2006/relationships/tags" Target="../tags/tag564.xml"/><Relationship Id="rId599" Type="http://schemas.openxmlformats.org/officeDocument/2006/relationships/tags" Target="../tags/tag606.xml"/><Relationship Id="rId196" Type="http://schemas.openxmlformats.org/officeDocument/2006/relationships/tags" Target="../tags/tag203.xml"/><Relationship Id="rId417" Type="http://schemas.openxmlformats.org/officeDocument/2006/relationships/tags" Target="../tags/tag424.xml"/><Relationship Id="rId459" Type="http://schemas.openxmlformats.org/officeDocument/2006/relationships/tags" Target="../tags/tag466.xml"/><Relationship Id="rId624" Type="http://schemas.openxmlformats.org/officeDocument/2006/relationships/tags" Target="../tags/tag631.xml"/><Relationship Id="rId666" Type="http://schemas.openxmlformats.org/officeDocument/2006/relationships/tags" Target="../tags/tag673.xml"/><Relationship Id="rId16" Type="http://schemas.openxmlformats.org/officeDocument/2006/relationships/tags" Target="../tags/tag23.xml"/><Relationship Id="rId221" Type="http://schemas.openxmlformats.org/officeDocument/2006/relationships/tags" Target="../tags/tag228.xml"/><Relationship Id="rId263" Type="http://schemas.openxmlformats.org/officeDocument/2006/relationships/tags" Target="../tags/tag270.xml"/><Relationship Id="rId319" Type="http://schemas.openxmlformats.org/officeDocument/2006/relationships/tags" Target="../tags/tag326.xml"/><Relationship Id="rId470" Type="http://schemas.openxmlformats.org/officeDocument/2006/relationships/tags" Target="../tags/tag477.xml"/><Relationship Id="rId526" Type="http://schemas.openxmlformats.org/officeDocument/2006/relationships/tags" Target="../tags/tag533.xml"/><Relationship Id="rId58" Type="http://schemas.openxmlformats.org/officeDocument/2006/relationships/tags" Target="../tags/tag65.xml"/><Relationship Id="rId123" Type="http://schemas.openxmlformats.org/officeDocument/2006/relationships/tags" Target="../tags/tag130.xml"/><Relationship Id="rId330" Type="http://schemas.openxmlformats.org/officeDocument/2006/relationships/tags" Target="../tags/tag337.xml"/><Relationship Id="rId568" Type="http://schemas.openxmlformats.org/officeDocument/2006/relationships/tags" Target="../tags/tag575.xml"/><Relationship Id="rId165" Type="http://schemas.openxmlformats.org/officeDocument/2006/relationships/tags" Target="../tags/tag172.xml"/><Relationship Id="rId372" Type="http://schemas.openxmlformats.org/officeDocument/2006/relationships/tags" Target="../tags/tag379.xml"/><Relationship Id="rId428" Type="http://schemas.openxmlformats.org/officeDocument/2006/relationships/tags" Target="../tags/tag435.xml"/><Relationship Id="rId635" Type="http://schemas.openxmlformats.org/officeDocument/2006/relationships/tags" Target="../tags/tag642.xml"/><Relationship Id="rId677" Type="http://schemas.openxmlformats.org/officeDocument/2006/relationships/tags" Target="../tags/tag684.xml"/><Relationship Id="rId232" Type="http://schemas.openxmlformats.org/officeDocument/2006/relationships/tags" Target="../tags/tag239.xml"/><Relationship Id="rId274" Type="http://schemas.openxmlformats.org/officeDocument/2006/relationships/tags" Target="../tags/tag281.xml"/><Relationship Id="rId481" Type="http://schemas.openxmlformats.org/officeDocument/2006/relationships/tags" Target="../tags/tag488.xml"/><Relationship Id="rId702" Type="http://schemas.openxmlformats.org/officeDocument/2006/relationships/tags" Target="../tags/tag709.xml"/><Relationship Id="rId27" Type="http://schemas.openxmlformats.org/officeDocument/2006/relationships/tags" Target="../tags/tag34.xml"/><Relationship Id="rId69" Type="http://schemas.openxmlformats.org/officeDocument/2006/relationships/tags" Target="../tags/tag76.xml"/><Relationship Id="rId134" Type="http://schemas.openxmlformats.org/officeDocument/2006/relationships/tags" Target="../tags/tag141.xml"/><Relationship Id="rId537" Type="http://schemas.openxmlformats.org/officeDocument/2006/relationships/tags" Target="../tags/tag544.xml"/><Relationship Id="rId579" Type="http://schemas.openxmlformats.org/officeDocument/2006/relationships/tags" Target="../tags/tag586.xml"/><Relationship Id="rId80" Type="http://schemas.openxmlformats.org/officeDocument/2006/relationships/tags" Target="../tags/tag87.xml"/><Relationship Id="rId176" Type="http://schemas.openxmlformats.org/officeDocument/2006/relationships/tags" Target="../tags/tag183.xml"/><Relationship Id="rId341" Type="http://schemas.openxmlformats.org/officeDocument/2006/relationships/tags" Target="../tags/tag348.xml"/><Relationship Id="rId383" Type="http://schemas.openxmlformats.org/officeDocument/2006/relationships/tags" Target="../tags/tag390.xml"/><Relationship Id="rId439" Type="http://schemas.openxmlformats.org/officeDocument/2006/relationships/tags" Target="../tags/tag446.xml"/><Relationship Id="rId590" Type="http://schemas.openxmlformats.org/officeDocument/2006/relationships/tags" Target="../tags/tag597.xml"/><Relationship Id="rId604" Type="http://schemas.openxmlformats.org/officeDocument/2006/relationships/tags" Target="../tags/tag611.xml"/><Relationship Id="rId646" Type="http://schemas.openxmlformats.org/officeDocument/2006/relationships/tags" Target="../tags/tag653.xml"/><Relationship Id="rId201" Type="http://schemas.openxmlformats.org/officeDocument/2006/relationships/tags" Target="../tags/tag208.xml"/><Relationship Id="rId243" Type="http://schemas.openxmlformats.org/officeDocument/2006/relationships/tags" Target="../tags/tag250.xml"/><Relationship Id="rId285" Type="http://schemas.openxmlformats.org/officeDocument/2006/relationships/tags" Target="../tags/tag292.xml"/><Relationship Id="rId450" Type="http://schemas.openxmlformats.org/officeDocument/2006/relationships/tags" Target="../tags/tag457.xml"/><Relationship Id="rId506" Type="http://schemas.openxmlformats.org/officeDocument/2006/relationships/tags" Target="../tags/tag513.xml"/><Relationship Id="rId688" Type="http://schemas.openxmlformats.org/officeDocument/2006/relationships/tags" Target="../tags/tag695.xml"/><Relationship Id="rId38" Type="http://schemas.openxmlformats.org/officeDocument/2006/relationships/tags" Target="../tags/tag45.xml"/><Relationship Id="rId103" Type="http://schemas.openxmlformats.org/officeDocument/2006/relationships/tags" Target="../tags/tag110.xml"/><Relationship Id="rId310" Type="http://schemas.openxmlformats.org/officeDocument/2006/relationships/tags" Target="../tags/tag317.xml"/><Relationship Id="rId492" Type="http://schemas.openxmlformats.org/officeDocument/2006/relationships/tags" Target="../tags/tag499.xml"/><Relationship Id="rId548" Type="http://schemas.openxmlformats.org/officeDocument/2006/relationships/tags" Target="../tags/tag555.xml"/><Relationship Id="rId713" Type="http://schemas.openxmlformats.org/officeDocument/2006/relationships/notesSlide" Target="../notesSlides/notesSlide18.xml"/><Relationship Id="rId91" Type="http://schemas.openxmlformats.org/officeDocument/2006/relationships/tags" Target="../tags/tag98.xml"/><Relationship Id="rId145" Type="http://schemas.openxmlformats.org/officeDocument/2006/relationships/tags" Target="../tags/tag152.xml"/><Relationship Id="rId187" Type="http://schemas.openxmlformats.org/officeDocument/2006/relationships/tags" Target="../tags/tag194.xml"/><Relationship Id="rId352" Type="http://schemas.openxmlformats.org/officeDocument/2006/relationships/tags" Target="../tags/tag359.xml"/><Relationship Id="rId394" Type="http://schemas.openxmlformats.org/officeDocument/2006/relationships/tags" Target="../tags/tag401.xml"/><Relationship Id="rId408" Type="http://schemas.openxmlformats.org/officeDocument/2006/relationships/tags" Target="../tags/tag415.xml"/><Relationship Id="rId615" Type="http://schemas.openxmlformats.org/officeDocument/2006/relationships/tags" Target="../tags/tag622.xml"/><Relationship Id="rId212" Type="http://schemas.openxmlformats.org/officeDocument/2006/relationships/tags" Target="../tags/tag219.xml"/><Relationship Id="rId254" Type="http://schemas.openxmlformats.org/officeDocument/2006/relationships/tags" Target="../tags/tag261.xml"/><Relationship Id="rId657" Type="http://schemas.openxmlformats.org/officeDocument/2006/relationships/tags" Target="../tags/tag664.xml"/><Relationship Id="rId699" Type="http://schemas.openxmlformats.org/officeDocument/2006/relationships/tags" Target="../tags/tag706.xml"/><Relationship Id="rId49" Type="http://schemas.openxmlformats.org/officeDocument/2006/relationships/tags" Target="../tags/tag56.xml"/><Relationship Id="rId114" Type="http://schemas.openxmlformats.org/officeDocument/2006/relationships/tags" Target="../tags/tag121.xml"/><Relationship Id="rId296" Type="http://schemas.openxmlformats.org/officeDocument/2006/relationships/tags" Target="../tags/tag303.xml"/><Relationship Id="rId461" Type="http://schemas.openxmlformats.org/officeDocument/2006/relationships/tags" Target="../tags/tag468.xml"/><Relationship Id="rId517" Type="http://schemas.openxmlformats.org/officeDocument/2006/relationships/tags" Target="../tags/tag524.xml"/><Relationship Id="rId559" Type="http://schemas.openxmlformats.org/officeDocument/2006/relationships/tags" Target="../tags/tag566.xml"/><Relationship Id="rId724" Type="http://schemas.openxmlformats.org/officeDocument/2006/relationships/image" Target="../media/image98.png"/><Relationship Id="rId60" Type="http://schemas.openxmlformats.org/officeDocument/2006/relationships/tags" Target="../tags/tag67.xml"/><Relationship Id="rId156" Type="http://schemas.openxmlformats.org/officeDocument/2006/relationships/tags" Target="../tags/tag163.xml"/><Relationship Id="rId198" Type="http://schemas.openxmlformats.org/officeDocument/2006/relationships/tags" Target="../tags/tag205.xml"/><Relationship Id="rId321" Type="http://schemas.openxmlformats.org/officeDocument/2006/relationships/tags" Target="../tags/tag328.xml"/><Relationship Id="rId363" Type="http://schemas.openxmlformats.org/officeDocument/2006/relationships/tags" Target="../tags/tag370.xml"/><Relationship Id="rId419" Type="http://schemas.openxmlformats.org/officeDocument/2006/relationships/tags" Target="../tags/tag426.xml"/><Relationship Id="rId570" Type="http://schemas.openxmlformats.org/officeDocument/2006/relationships/tags" Target="../tags/tag577.xml"/><Relationship Id="rId626" Type="http://schemas.openxmlformats.org/officeDocument/2006/relationships/tags" Target="../tags/tag633.xml"/><Relationship Id="rId223" Type="http://schemas.openxmlformats.org/officeDocument/2006/relationships/tags" Target="../tags/tag230.xml"/><Relationship Id="rId430" Type="http://schemas.openxmlformats.org/officeDocument/2006/relationships/tags" Target="../tags/tag437.xml"/><Relationship Id="rId668" Type="http://schemas.openxmlformats.org/officeDocument/2006/relationships/tags" Target="../tags/tag675.xml"/><Relationship Id="rId18" Type="http://schemas.openxmlformats.org/officeDocument/2006/relationships/tags" Target="../tags/tag25.xml"/><Relationship Id="rId265" Type="http://schemas.openxmlformats.org/officeDocument/2006/relationships/tags" Target="../tags/tag272.xml"/><Relationship Id="rId472" Type="http://schemas.openxmlformats.org/officeDocument/2006/relationships/tags" Target="../tags/tag479.xml"/><Relationship Id="rId528" Type="http://schemas.openxmlformats.org/officeDocument/2006/relationships/tags" Target="../tags/tag535.xml"/><Relationship Id="rId125" Type="http://schemas.openxmlformats.org/officeDocument/2006/relationships/tags" Target="../tags/tag132.xml"/><Relationship Id="rId167" Type="http://schemas.openxmlformats.org/officeDocument/2006/relationships/tags" Target="../tags/tag174.xml"/><Relationship Id="rId332" Type="http://schemas.openxmlformats.org/officeDocument/2006/relationships/tags" Target="../tags/tag339.xml"/><Relationship Id="rId374" Type="http://schemas.openxmlformats.org/officeDocument/2006/relationships/tags" Target="../tags/tag381.xml"/><Relationship Id="rId581" Type="http://schemas.openxmlformats.org/officeDocument/2006/relationships/tags" Target="../tags/tag588.xml"/><Relationship Id="rId71" Type="http://schemas.openxmlformats.org/officeDocument/2006/relationships/tags" Target="../tags/tag78.xml"/><Relationship Id="rId234" Type="http://schemas.openxmlformats.org/officeDocument/2006/relationships/tags" Target="../tags/tag241.xml"/><Relationship Id="rId637" Type="http://schemas.openxmlformats.org/officeDocument/2006/relationships/tags" Target="../tags/tag644.xml"/><Relationship Id="rId679" Type="http://schemas.openxmlformats.org/officeDocument/2006/relationships/tags" Target="../tags/tag686.xml"/><Relationship Id="rId2" Type="http://schemas.openxmlformats.org/officeDocument/2006/relationships/tags" Target="../tags/tag9.xml"/><Relationship Id="rId29" Type="http://schemas.openxmlformats.org/officeDocument/2006/relationships/tags" Target="../tags/tag36.xml"/><Relationship Id="rId276" Type="http://schemas.openxmlformats.org/officeDocument/2006/relationships/tags" Target="../tags/tag283.xml"/><Relationship Id="rId441" Type="http://schemas.openxmlformats.org/officeDocument/2006/relationships/tags" Target="../tags/tag448.xml"/><Relationship Id="rId483" Type="http://schemas.openxmlformats.org/officeDocument/2006/relationships/tags" Target="../tags/tag490.xml"/><Relationship Id="rId539" Type="http://schemas.openxmlformats.org/officeDocument/2006/relationships/tags" Target="../tags/tag546.xml"/><Relationship Id="rId690" Type="http://schemas.openxmlformats.org/officeDocument/2006/relationships/tags" Target="../tags/tag697.xml"/><Relationship Id="rId704" Type="http://schemas.openxmlformats.org/officeDocument/2006/relationships/tags" Target="../tags/tag711.xml"/><Relationship Id="rId40" Type="http://schemas.openxmlformats.org/officeDocument/2006/relationships/tags" Target="../tags/tag47.xml"/><Relationship Id="rId136" Type="http://schemas.openxmlformats.org/officeDocument/2006/relationships/tags" Target="../tags/tag143.xml"/><Relationship Id="rId178" Type="http://schemas.openxmlformats.org/officeDocument/2006/relationships/tags" Target="../tags/tag185.xml"/><Relationship Id="rId301" Type="http://schemas.openxmlformats.org/officeDocument/2006/relationships/tags" Target="../tags/tag308.xml"/><Relationship Id="rId343" Type="http://schemas.openxmlformats.org/officeDocument/2006/relationships/tags" Target="../tags/tag350.xml"/><Relationship Id="rId550" Type="http://schemas.openxmlformats.org/officeDocument/2006/relationships/tags" Target="../tags/tag557.xml"/><Relationship Id="rId82" Type="http://schemas.openxmlformats.org/officeDocument/2006/relationships/tags" Target="../tags/tag89.xml"/><Relationship Id="rId203" Type="http://schemas.openxmlformats.org/officeDocument/2006/relationships/tags" Target="../tags/tag210.xml"/><Relationship Id="rId385" Type="http://schemas.openxmlformats.org/officeDocument/2006/relationships/tags" Target="../tags/tag392.xml"/><Relationship Id="rId592" Type="http://schemas.openxmlformats.org/officeDocument/2006/relationships/tags" Target="../tags/tag599.xml"/><Relationship Id="rId606" Type="http://schemas.openxmlformats.org/officeDocument/2006/relationships/tags" Target="../tags/tag613.xml"/><Relationship Id="rId648" Type="http://schemas.openxmlformats.org/officeDocument/2006/relationships/tags" Target="../tags/tag655.xml"/><Relationship Id="rId245" Type="http://schemas.openxmlformats.org/officeDocument/2006/relationships/tags" Target="../tags/tag252.xml"/><Relationship Id="rId287" Type="http://schemas.openxmlformats.org/officeDocument/2006/relationships/tags" Target="../tags/tag294.xml"/><Relationship Id="rId410" Type="http://schemas.openxmlformats.org/officeDocument/2006/relationships/tags" Target="../tags/tag417.xml"/><Relationship Id="rId452" Type="http://schemas.openxmlformats.org/officeDocument/2006/relationships/tags" Target="../tags/tag459.xml"/><Relationship Id="rId494" Type="http://schemas.openxmlformats.org/officeDocument/2006/relationships/tags" Target="../tags/tag501.xml"/><Relationship Id="rId508" Type="http://schemas.openxmlformats.org/officeDocument/2006/relationships/tags" Target="../tags/tag515.xml"/><Relationship Id="rId715" Type="http://schemas.openxmlformats.org/officeDocument/2006/relationships/image" Target="../media/image89.png"/><Relationship Id="rId105" Type="http://schemas.openxmlformats.org/officeDocument/2006/relationships/tags" Target="../tags/tag112.xml"/><Relationship Id="rId147" Type="http://schemas.openxmlformats.org/officeDocument/2006/relationships/tags" Target="../tags/tag154.xml"/><Relationship Id="rId312" Type="http://schemas.openxmlformats.org/officeDocument/2006/relationships/tags" Target="../tags/tag319.xml"/><Relationship Id="rId354" Type="http://schemas.openxmlformats.org/officeDocument/2006/relationships/tags" Target="../tags/tag361.xml"/><Relationship Id="rId51" Type="http://schemas.openxmlformats.org/officeDocument/2006/relationships/tags" Target="../tags/tag58.xml"/><Relationship Id="rId93" Type="http://schemas.openxmlformats.org/officeDocument/2006/relationships/tags" Target="../tags/tag100.xml"/><Relationship Id="rId189" Type="http://schemas.openxmlformats.org/officeDocument/2006/relationships/tags" Target="../tags/tag196.xml"/><Relationship Id="rId396" Type="http://schemas.openxmlformats.org/officeDocument/2006/relationships/tags" Target="../tags/tag403.xml"/><Relationship Id="rId561" Type="http://schemas.openxmlformats.org/officeDocument/2006/relationships/tags" Target="../tags/tag568.xml"/><Relationship Id="rId617" Type="http://schemas.openxmlformats.org/officeDocument/2006/relationships/tags" Target="../tags/tag624.xml"/><Relationship Id="rId659" Type="http://schemas.openxmlformats.org/officeDocument/2006/relationships/tags" Target="../tags/tag666.xml"/><Relationship Id="rId3" Type="http://schemas.openxmlformats.org/officeDocument/2006/relationships/tags" Target="../tags/tag10.xml"/><Relationship Id="rId214" Type="http://schemas.openxmlformats.org/officeDocument/2006/relationships/tags" Target="../tags/tag221.xml"/><Relationship Id="rId235" Type="http://schemas.openxmlformats.org/officeDocument/2006/relationships/tags" Target="../tags/tag242.xml"/><Relationship Id="rId256" Type="http://schemas.openxmlformats.org/officeDocument/2006/relationships/tags" Target="../tags/tag263.xml"/><Relationship Id="rId277" Type="http://schemas.openxmlformats.org/officeDocument/2006/relationships/tags" Target="../tags/tag284.xml"/><Relationship Id="rId298" Type="http://schemas.openxmlformats.org/officeDocument/2006/relationships/tags" Target="../tags/tag305.xml"/><Relationship Id="rId400" Type="http://schemas.openxmlformats.org/officeDocument/2006/relationships/tags" Target="../tags/tag407.xml"/><Relationship Id="rId421" Type="http://schemas.openxmlformats.org/officeDocument/2006/relationships/tags" Target="../tags/tag428.xml"/><Relationship Id="rId442" Type="http://schemas.openxmlformats.org/officeDocument/2006/relationships/tags" Target="../tags/tag449.xml"/><Relationship Id="rId463" Type="http://schemas.openxmlformats.org/officeDocument/2006/relationships/tags" Target="../tags/tag470.xml"/><Relationship Id="rId484" Type="http://schemas.openxmlformats.org/officeDocument/2006/relationships/tags" Target="../tags/tag491.xml"/><Relationship Id="rId519" Type="http://schemas.openxmlformats.org/officeDocument/2006/relationships/tags" Target="../tags/tag526.xml"/><Relationship Id="rId670" Type="http://schemas.openxmlformats.org/officeDocument/2006/relationships/tags" Target="../tags/tag677.xml"/><Relationship Id="rId705" Type="http://schemas.openxmlformats.org/officeDocument/2006/relationships/tags" Target="../tags/tag712.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302" Type="http://schemas.openxmlformats.org/officeDocument/2006/relationships/tags" Target="../tags/tag309.xml"/><Relationship Id="rId323" Type="http://schemas.openxmlformats.org/officeDocument/2006/relationships/tags" Target="../tags/tag330.xml"/><Relationship Id="rId344" Type="http://schemas.openxmlformats.org/officeDocument/2006/relationships/tags" Target="../tags/tag351.xml"/><Relationship Id="rId530" Type="http://schemas.openxmlformats.org/officeDocument/2006/relationships/tags" Target="../tags/tag537.xml"/><Relationship Id="rId691" Type="http://schemas.openxmlformats.org/officeDocument/2006/relationships/tags" Target="../tags/tag698.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179" Type="http://schemas.openxmlformats.org/officeDocument/2006/relationships/tags" Target="../tags/tag186.xml"/><Relationship Id="rId365" Type="http://schemas.openxmlformats.org/officeDocument/2006/relationships/tags" Target="../tags/tag372.xml"/><Relationship Id="rId386" Type="http://schemas.openxmlformats.org/officeDocument/2006/relationships/tags" Target="../tags/tag393.xml"/><Relationship Id="rId551" Type="http://schemas.openxmlformats.org/officeDocument/2006/relationships/tags" Target="../tags/tag558.xml"/><Relationship Id="rId572" Type="http://schemas.openxmlformats.org/officeDocument/2006/relationships/tags" Target="../tags/tag579.xml"/><Relationship Id="rId593" Type="http://schemas.openxmlformats.org/officeDocument/2006/relationships/tags" Target="../tags/tag600.xml"/><Relationship Id="rId607" Type="http://schemas.openxmlformats.org/officeDocument/2006/relationships/tags" Target="../tags/tag614.xml"/><Relationship Id="rId628" Type="http://schemas.openxmlformats.org/officeDocument/2006/relationships/tags" Target="../tags/tag635.xml"/><Relationship Id="rId649" Type="http://schemas.openxmlformats.org/officeDocument/2006/relationships/tags" Target="../tags/tag656.xml"/><Relationship Id="rId190" Type="http://schemas.openxmlformats.org/officeDocument/2006/relationships/tags" Target="../tags/tag197.xml"/><Relationship Id="rId204" Type="http://schemas.openxmlformats.org/officeDocument/2006/relationships/tags" Target="../tags/tag211.xml"/><Relationship Id="rId225" Type="http://schemas.openxmlformats.org/officeDocument/2006/relationships/tags" Target="../tags/tag232.xml"/><Relationship Id="rId246" Type="http://schemas.openxmlformats.org/officeDocument/2006/relationships/tags" Target="../tags/tag253.xml"/><Relationship Id="rId267" Type="http://schemas.openxmlformats.org/officeDocument/2006/relationships/tags" Target="../tags/tag274.xml"/><Relationship Id="rId288" Type="http://schemas.openxmlformats.org/officeDocument/2006/relationships/tags" Target="../tags/tag295.xml"/><Relationship Id="rId411" Type="http://schemas.openxmlformats.org/officeDocument/2006/relationships/tags" Target="../tags/tag418.xml"/><Relationship Id="rId432" Type="http://schemas.openxmlformats.org/officeDocument/2006/relationships/tags" Target="../tags/tag439.xml"/><Relationship Id="rId453" Type="http://schemas.openxmlformats.org/officeDocument/2006/relationships/tags" Target="../tags/tag460.xml"/><Relationship Id="rId474" Type="http://schemas.openxmlformats.org/officeDocument/2006/relationships/tags" Target="../tags/tag481.xml"/><Relationship Id="rId509" Type="http://schemas.openxmlformats.org/officeDocument/2006/relationships/tags" Target="../tags/tag516.xml"/><Relationship Id="rId660" Type="http://schemas.openxmlformats.org/officeDocument/2006/relationships/tags" Target="../tags/tag667.xml"/><Relationship Id="rId106" Type="http://schemas.openxmlformats.org/officeDocument/2006/relationships/tags" Target="../tags/tag113.xml"/><Relationship Id="rId127" Type="http://schemas.openxmlformats.org/officeDocument/2006/relationships/tags" Target="../tags/tag134.xml"/><Relationship Id="rId313" Type="http://schemas.openxmlformats.org/officeDocument/2006/relationships/tags" Target="../tags/tag320.xml"/><Relationship Id="rId495" Type="http://schemas.openxmlformats.org/officeDocument/2006/relationships/tags" Target="../tags/tag502.xml"/><Relationship Id="rId681" Type="http://schemas.openxmlformats.org/officeDocument/2006/relationships/tags" Target="../tags/tag688.xml"/><Relationship Id="rId716" Type="http://schemas.openxmlformats.org/officeDocument/2006/relationships/image" Target="../media/image90.png"/><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94" Type="http://schemas.openxmlformats.org/officeDocument/2006/relationships/tags" Target="../tags/tag101.xml"/><Relationship Id="rId148" Type="http://schemas.openxmlformats.org/officeDocument/2006/relationships/tags" Target="../tags/tag155.xml"/><Relationship Id="rId169" Type="http://schemas.openxmlformats.org/officeDocument/2006/relationships/tags" Target="../tags/tag176.xml"/><Relationship Id="rId334" Type="http://schemas.openxmlformats.org/officeDocument/2006/relationships/tags" Target="../tags/tag341.xml"/><Relationship Id="rId355" Type="http://schemas.openxmlformats.org/officeDocument/2006/relationships/tags" Target="../tags/tag362.xml"/><Relationship Id="rId376" Type="http://schemas.openxmlformats.org/officeDocument/2006/relationships/tags" Target="../tags/tag383.xml"/><Relationship Id="rId397" Type="http://schemas.openxmlformats.org/officeDocument/2006/relationships/tags" Target="../tags/tag404.xml"/><Relationship Id="rId520" Type="http://schemas.openxmlformats.org/officeDocument/2006/relationships/tags" Target="../tags/tag527.xml"/><Relationship Id="rId541" Type="http://schemas.openxmlformats.org/officeDocument/2006/relationships/tags" Target="../tags/tag548.xml"/><Relationship Id="rId562" Type="http://schemas.openxmlformats.org/officeDocument/2006/relationships/tags" Target="../tags/tag569.xml"/><Relationship Id="rId583" Type="http://schemas.openxmlformats.org/officeDocument/2006/relationships/tags" Target="../tags/tag590.xml"/><Relationship Id="rId618" Type="http://schemas.openxmlformats.org/officeDocument/2006/relationships/tags" Target="../tags/tag625.xml"/><Relationship Id="rId639" Type="http://schemas.openxmlformats.org/officeDocument/2006/relationships/tags" Target="../tags/tag646.xml"/><Relationship Id="rId4" Type="http://schemas.openxmlformats.org/officeDocument/2006/relationships/tags" Target="../tags/tag11.xml"/><Relationship Id="rId180" Type="http://schemas.openxmlformats.org/officeDocument/2006/relationships/tags" Target="../tags/tag187.xml"/><Relationship Id="rId215" Type="http://schemas.openxmlformats.org/officeDocument/2006/relationships/tags" Target="../tags/tag222.xml"/><Relationship Id="rId236" Type="http://schemas.openxmlformats.org/officeDocument/2006/relationships/tags" Target="../tags/tag243.xml"/><Relationship Id="rId257" Type="http://schemas.openxmlformats.org/officeDocument/2006/relationships/tags" Target="../tags/tag264.xml"/><Relationship Id="rId278" Type="http://schemas.openxmlformats.org/officeDocument/2006/relationships/tags" Target="../tags/tag285.xml"/><Relationship Id="rId401" Type="http://schemas.openxmlformats.org/officeDocument/2006/relationships/tags" Target="../tags/tag408.xml"/><Relationship Id="rId422" Type="http://schemas.openxmlformats.org/officeDocument/2006/relationships/tags" Target="../tags/tag429.xml"/><Relationship Id="rId443" Type="http://schemas.openxmlformats.org/officeDocument/2006/relationships/tags" Target="../tags/tag450.xml"/><Relationship Id="rId464" Type="http://schemas.openxmlformats.org/officeDocument/2006/relationships/tags" Target="../tags/tag471.xml"/><Relationship Id="rId650" Type="http://schemas.openxmlformats.org/officeDocument/2006/relationships/tags" Target="../tags/tag657.xml"/><Relationship Id="rId303" Type="http://schemas.openxmlformats.org/officeDocument/2006/relationships/tags" Target="../tags/tag310.xml"/><Relationship Id="rId485" Type="http://schemas.openxmlformats.org/officeDocument/2006/relationships/tags" Target="../tags/tag492.xml"/><Relationship Id="rId692" Type="http://schemas.openxmlformats.org/officeDocument/2006/relationships/tags" Target="../tags/tag699.xml"/><Relationship Id="rId706" Type="http://schemas.openxmlformats.org/officeDocument/2006/relationships/tags" Target="../tags/tag713.xml"/><Relationship Id="rId42" Type="http://schemas.openxmlformats.org/officeDocument/2006/relationships/tags" Target="../tags/tag49.xml"/><Relationship Id="rId84" Type="http://schemas.openxmlformats.org/officeDocument/2006/relationships/tags" Target="../tags/tag91.xml"/><Relationship Id="rId138" Type="http://schemas.openxmlformats.org/officeDocument/2006/relationships/tags" Target="../tags/tag145.xml"/><Relationship Id="rId345" Type="http://schemas.openxmlformats.org/officeDocument/2006/relationships/tags" Target="../tags/tag352.xml"/><Relationship Id="rId387" Type="http://schemas.openxmlformats.org/officeDocument/2006/relationships/tags" Target="../tags/tag394.xml"/><Relationship Id="rId510" Type="http://schemas.openxmlformats.org/officeDocument/2006/relationships/tags" Target="../tags/tag517.xml"/><Relationship Id="rId552" Type="http://schemas.openxmlformats.org/officeDocument/2006/relationships/tags" Target="../tags/tag559.xml"/><Relationship Id="rId594" Type="http://schemas.openxmlformats.org/officeDocument/2006/relationships/tags" Target="../tags/tag601.xml"/><Relationship Id="rId608" Type="http://schemas.openxmlformats.org/officeDocument/2006/relationships/tags" Target="../tags/tag615.xml"/><Relationship Id="rId191" Type="http://schemas.openxmlformats.org/officeDocument/2006/relationships/tags" Target="../tags/tag198.xml"/><Relationship Id="rId205" Type="http://schemas.openxmlformats.org/officeDocument/2006/relationships/tags" Target="../tags/tag212.xml"/><Relationship Id="rId247" Type="http://schemas.openxmlformats.org/officeDocument/2006/relationships/tags" Target="../tags/tag254.xml"/><Relationship Id="rId412" Type="http://schemas.openxmlformats.org/officeDocument/2006/relationships/tags" Target="../tags/tag419.xml"/><Relationship Id="rId107" Type="http://schemas.openxmlformats.org/officeDocument/2006/relationships/tags" Target="../tags/tag114.xml"/><Relationship Id="rId289" Type="http://schemas.openxmlformats.org/officeDocument/2006/relationships/tags" Target="../tags/tag296.xml"/><Relationship Id="rId454" Type="http://schemas.openxmlformats.org/officeDocument/2006/relationships/tags" Target="../tags/tag461.xml"/><Relationship Id="rId496" Type="http://schemas.openxmlformats.org/officeDocument/2006/relationships/tags" Target="../tags/tag503.xml"/><Relationship Id="rId661" Type="http://schemas.openxmlformats.org/officeDocument/2006/relationships/tags" Target="../tags/tag668.xml"/><Relationship Id="rId717" Type="http://schemas.openxmlformats.org/officeDocument/2006/relationships/image" Target="../media/image91.png"/><Relationship Id="rId11" Type="http://schemas.openxmlformats.org/officeDocument/2006/relationships/tags" Target="../tags/tag18.xml"/><Relationship Id="rId53" Type="http://schemas.openxmlformats.org/officeDocument/2006/relationships/tags" Target="../tags/tag60.xml"/><Relationship Id="rId149" Type="http://schemas.openxmlformats.org/officeDocument/2006/relationships/tags" Target="../tags/tag156.xml"/><Relationship Id="rId314" Type="http://schemas.openxmlformats.org/officeDocument/2006/relationships/tags" Target="../tags/tag321.xml"/><Relationship Id="rId356" Type="http://schemas.openxmlformats.org/officeDocument/2006/relationships/tags" Target="../tags/tag363.xml"/><Relationship Id="rId398" Type="http://schemas.openxmlformats.org/officeDocument/2006/relationships/tags" Target="../tags/tag405.xml"/><Relationship Id="rId521" Type="http://schemas.openxmlformats.org/officeDocument/2006/relationships/tags" Target="../tags/tag528.xml"/><Relationship Id="rId563" Type="http://schemas.openxmlformats.org/officeDocument/2006/relationships/tags" Target="../tags/tag570.xml"/><Relationship Id="rId619" Type="http://schemas.openxmlformats.org/officeDocument/2006/relationships/tags" Target="../tags/tag626.xml"/><Relationship Id="rId95" Type="http://schemas.openxmlformats.org/officeDocument/2006/relationships/tags" Target="../tags/tag102.xml"/><Relationship Id="rId160" Type="http://schemas.openxmlformats.org/officeDocument/2006/relationships/tags" Target="../tags/tag167.xml"/><Relationship Id="rId216" Type="http://schemas.openxmlformats.org/officeDocument/2006/relationships/tags" Target="../tags/tag223.xml"/><Relationship Id="rId423" Type="http://schemas.openxmlformats.org/officeDocument/2006/relationships/tags" Target="../tags/tag430.xml"/><Relationship Id="rId258" Type="http://schemas.openxmlformats.org/officeDocument/2006/relationships/tags" Target="../tags/tag265.xml"/><Relationship Id="rId465" Type="http://schemas.openxmlformats.org/officeDocument/2006/relationships/tags" Target="../tags/tag472.xml"/><Relationship Id="rId630" Type="http://schemas.openxmlformats.org/officeDocument/2006/relationships/tags" Target="../tags/tag637.xml"/><Relationship Id="rId672" Type="http://schemas.openxmlformats.org/officeDocument/2006/relationships/tags" Target="../tags/tag679.xml"/><Relationship Id="rId22" Type="http://schemas.openxmlformats.org/officeDocument/2006/relationships/tags" Target="../tags/tag29.xml"/><Relationship Id="rId64" Type="http://schemas.openxmlformats.org/officeDocument/2006/relationships/tags" Target="../tags/tag71.xml"/><Relationship Id="rId118" Type="http://schemas.openxmlformats.org/officeDocument/2006/relationships/tags" Target="../tags/tag125.xml"/><Relationship Id="rId325" Type="http://schemas.openxmlformats.org/officeDocument/2006/relationships/tags" Target="../tags/tag332.xml"/><Relationship Id="rId367" Type="http://schemas.openxmlformats.org/officeDocument/2006/relationships/tags" Target="../tags/tag374.xml"/><Relationship Id="rId532" Type="http://schemas.openxmlformats.org/officeDocument/2006/relationships/tags" Target="../tags/tag539.xml"/><Relationship Id="rId574" Type="http://schemas.openxmlformats.org/officeDocument/2006/relationships/tags" Target="../tags/tag581.xml"/><Relationship Id="rId171" Type="http://schemas.openxmlformats.org/officeDocument/2006/relationships/tags" Target="../tags/tag178.xml"/><Relationship Id="rId227" Type="http://schemas.openxmlformats.org/officeDocument/2006/relationships/tags" Target="../tags/tag234.xml"/><Relationship Id="rId269" Type="http://schemas.openxmlformats.org/officeDocument/2006/relationships/tags" Target="../tags/tag276.xml"/><Relationship Id="rId434" Type="http://schemas.openxmlformats.org/officeDocument/2006/relationships/tags" Target="../tags/tag441.xml"/><Relationship Id="rId476" Type="http://schemas.openxmlformats.org/officeDocument/2006/relationships/tags" Target="../tags/tag483.xml"/><Relationship Id="rId641" Type="http://schemas.openxmlformats.org/officeDocument/2006/relationships/tags" Target="../tags/tag648.xml"/><Relationship Id="rId683" Type="http://schemas.openxmlformats.org/officeDocument/2006/relationships/tags" Target="../tags/tag690.xml"/><Relationship Id="rId33" Type="http://schemas.openxmlformats.org/officeDocument/2006/relationships/tags" Target="../tags/tag40.xml"/><Relationship Id="rId129" Type="http://schemas.openxmlformats.org/officeDocument/2006/relationships/tags" Target="../tags/tag136.xml"/><Relationship Id="rId280" Type="http://schemas.openxmlformats.org/officeDocument/2006/relationships/tags" Target="../tags/tag287.xml"/><Relationship Id="rId336" Type="http://schemas.openxmlformats.org/officeDocument/2006/relationships/tags" Target="../tags/tag343.xml"/><Relationship Id="rId501" Type="http://schemas.openxmlformats.org/officeDocument/2006/relationships/tags" Target="../tags/tag508.xml"/><Relationship Id="rId543" Type="http://schemas.openxmlformats.org/officeDocument/2006/relationships/tags" Target="../tags/tag550.xml"/><Relationship Id="rId75" Type="http://schemas.openxmlformats.org/officeDocument/2006/relationships/tags" Target="../tags/tag82.xml"/><Relationship Id="rId140" Type="http://schemas.openxmlformats.org/officeDocument/2006/relationships/tags" Target="../tags/tag147.xml"/><Relationship Id="rId182" Type="http://schemas.openxmlformats.org/officeDocument/2006/relationships/tags" Target="../tags/tag189.xml"/><Relationship Id="rId378" Type="http://schemas.openxmlformats.org/officeDocument/2006/relationships/tags" Target="../tags/tag385.xml"/><Relationship Id="rId403" Type="http://schemas.openxmlformats.org/officeDocument/2006/relationships/tags" Target="../tags/tag410.xml"/><Relationship Id="rId585" Type="http://schemas.openxmlformats.org/officeDocument/2006/relationships/tags" Target="../tags/tag592.xml"/><Relationship Id="rId6" Type="http://schemas.openxmlformats.org/officeDocument/2006/relationships/tags" Target="../tags/tag13.xml"/><Relationship Id="rId238" Type="http://schemas.openxmlformats.org/officeDocument/2006/relationships/tags" Target="../tags/tag245.xml"/><Relationship Id="rId445" Type="http://schemas.openxmlformats.org/officeDocument/2006/relationships/tags" Target="../tags/tag452.xml"/><Relationship Id="rId487" Type="http://schemas.openxmlformats.org/officeDocument/2006/relationships/tags" Target="../tags/tag494.xml"/><Relationship Id="rId610" Type="http://schemas.openxmlformats.org/officeDocument/2006/relationships/tags" Target="../tags/tag617.xml"/><Relationship Id="rId652" Type="http://schemas.openxmlformats.org/officeDocument/2006/relationships/tags" Target="../tags/tag659.xml"/><Relationship Id="rId694" Type="http://schemas.openxmlformats.org/officeDocument/2006/relationships/tags" Target="../tags/tag701.xml"/><Relationship Id="rId708" Type="http://schemas.openxmlformats.org/officeDocument/2006/relationships/tags" Target="../tags/tag715.xml"/><Relationship Id="rId291" Type="http://schemas.openxmlformats.org/officeDocument/2006/relationships/tags" Target="../tags/tag298.xml"/><Relationship Id="rId305" Type="http://schemas.openxmlformats.org/officeDocument/2006/relationships/tags" Target="../tags/tag312.xml"/><Relationship Id="rId347" Type="http://schemas.openxmlformats.org/officeDocument/2006/relationships/tags" Target="../tags/tag354.xml"/><Relationship Id="rId512" Type="http://schemas.openxmlformats.org/officeDocument/2006/relationships/tags" Target="../tags/tag519.xml"/><Relationship Id="rId44" Type="http://schemas.openxmlformats.org/officeDocument/2006/relationships/tags" Target="../tags/tag51.xml"/><Relationship Id="rId86" Type="http://schemas.openxmlformats.org/officeDocument/2006/relationships/tags" Target="../tags/tag93.xml"/><Relationship Id="rId151" Type="http://schemas.openxmlformats.org/officeDocument/2006/relationships/tags" Target="../tags/tag158.xml"/><Relationship Id="rId389" Type="http://schemas.openxmlformats.org/officeDocument/2006/relationships/tags" Target="../tags/tag396.xml"/><Relationship Id="rId554" Type="http://schemas.openxmlformats.org/officeDocument/2006/relationships/tags" Target="../tags/tag561.xml"/><Relationship Id="rId596" Type="http://schemas.openxmlformats.org/officeDocument/2006/relationships/tags" Target="../tags/tag603.xml"/><Relationship Id="rId193" Type="http://schemas.openxmlformats.org/officeDocument/2006/relationships/tags" Target="../tags/tag200.xml"/><Relationship Id="rId207" Type="http://schemas.openxmlformats.org/officeDocument/2006/relationships/tags" Target="../tags/tag214.xml"/><Relationship Id="rId249" Type="http://schemas.openxmlformats.org/officeDocument/2006/relationships/tags" Target="../tags/tag256.xml"/><Relationship Id="rId414" Type="http://schemas.openxmlformats.org/officeDocument/2006/relationships/tags" Target="../tags/tag421.xml"/><Relationship Id="rId456" Type="http://schemas.openxmlformats.org/officeDocument/2006/relationships/tags" Target="../tags/tag463.xml"/><Relationship Id="rId498" Type="http://schemas.openxmlformats.org/officeDocument/2006/relationships/tags" Target="../tags/tag505.xml"/><Relationship Id="rId621" Type="http://schemas.openxmlformats.org/officeDocument/2006/relationships/tags" Target="../tags/tag628.xml"/><Relationship Id="rId663" Type="http://schemas.openxmlformats.org/officeDocument/2006/relationships/tags" Target="../tags/tag670.xml"/><Relationship Id="rId13" Type="http://schemas.openxmlformats.org/officeDocument/2006/relationships/tags" Target="../tags/tag20.xml"/><Relationship Id="rId109" Type="http://schemas.openxmlformats.org/officeDocument/2006/relationships/tags" Target="../tags/tag116.xml"/><Relationship Id="rId260" Type="http://schemas.openxmlformats.org/officeDocument/2006/relationships/tags" Target="../tags/tag267.xml"/><Relationship Id="rId316" Type="http://schemas.openxmlformats.org/officeDocument/2006/relationships/tags" Target="../tags/tag323.xml"/><Relationship Id="rId523" Type="http://schemas.openxmlformats.org/officeDocument/2006/relationships/tags" Target="../tags/tag530.xml"/><Relationship Id="rId719" Type="http://schemas.openxmlformats.org/officeDocument/2006/relationships/image" Target="../media/image93.png"/><Relationship Id="rId55" Type="http://schemas.openxmlformats.org/officeDocument/2006/relationships/tags" Target="../tags/tag62.xml"/><Relationship Id="rId97" Type="http://schemas.openxmlformats.org/officeDocument/2006/relationships/tags" Target="../tags/tag104.xml"/><Relationship Id="rId120" Type="http://schemas.openxmlformats.org/officeDocument/2006/relationships/tags" Target="../tags/tag127.xml"/><Relationship Id="rId358" Type="http://schemas.openxmlformats.org/officeDocument/2006/relationships/tags" Target="../tags/tag365.xml"/><Relationship Id="rId565" Type="http://schemas.openxmlformats.org/officeDocument/2006/relationships/tags" Target="../tags/tag572.xml"/><Relationship Id="rId162" Type="http://schemas.openxmlformats.org/officeDocument/2006/relationships/tags" Target="../tags/tag169.xml"/><Relationship Id="rId218" Type="http://schemas.openxmlformats.org/officeDocument/2006/relationships/tags" Target="../tags/tag225.xml"/><Relationship Id="rId425" Type="http://schemas.openxmlformats.org/officeDocument/2006/relationships/tags" Target="../tags/tag432.xml"/><Relationship Id="rId467" Type="http://schemas.openxmlformats.org/officeDocument/2006/relationships/tags" Target="../tags/tag474.xml"/><Relationship Id="rId632" Type="http://schemas.openxmlformats.org/officeDocument/2006/relationships/tags" Target="../tags/tag639.xml"/><Relationship Id="rId271" Type="http://schemas.openxmlformats.org/officeDocument/2006/relationships/tags" Target="../tags/tag278.xml"/><Relationship Id="rId674" Type="http://schemas.openxmlformats.org/officeDocument/2006/relationships/tags" Target="../tags/tag681.xml"/><Relationship Id="rId24" Type="http://schemas.openxmlformats.org/officeDocument/2006/relationships/tags" Target="../tags/tag31.xml"/><Relationship Id="rId66" Type="http://schemas.openxmlformats.org/officeDocument/2006/relationships/tags" Target="../tags/tag73.xml"/><Relationship Id="rId131" Type="http://schemas.openxmlformats.org/officeDocument/2006/relationships/tags" Target="../tags/tag138.xml"/><Relationship Id="rId327" Type="http://schemas.openxmlformats.org/officeDocument/2006/relationships/tags" Target="../tags/tag334.xml"/><Relationship Id="rId369" Type="http://schemas.openxmlformats.org/officeDocument/2006/relationships/tags" Target="../tags/tag376.xml"/><Relationship Id="rId534" Type="http://schemas.openxmlformats.org/officeDocument/2006/relationships/tags" Target="../tags/tag541.xml"/><Relationship Id="rId576" Type="http://schemas.openxmlformats.org/officeDocument/2006/relationships/tags" Target="../tags/tag583.xml"/><Relationship Id="rId173" Type="http://schemas.openxmlformats.org/officeDocument/2006/relationships/tags" Target="../tags/tag180.xml"/><Relationship Id="rId229" Type="http://schemas.openxmlformats.org/officeDocument/2006/relationships/tags" Target="../tags/tag236.xml"/><Relationship Id="rId380" Type="http://schemas.openxmlformats.org/officeDocument/2006/relationships/tags" Target="../tags/tag387.xml"/><Relationship Id="rId436" Type="http://schemas.openxmlformats.org/officeDocument/2006/relationships/tags" Target="../tags/tag443.xml"/><Relationship Id="rId601" Type="http://schemas.openxmlformats.org/officeDocument/2006/relationships/tags" Target="../tags/tag608.xml"/><Relationship Id="rId643" Type="http://schemas.openxmlformats.org/officeDocument/2006/relationships/tags" Target="../tags/tag650.xml"/><Relationship Id="rId240" Type="http://schemas.openxmlformats.org/officeDocument/2006/relationships/tags" Target="../tags/tag247.xml"/><Relationship Id="rId478" Type="http://schemas.openxmlformats.org/officeDocument/2006/relationships/tags" Target="../tags/tag485.xml"/><Relationship Id="rId685" Type="http://schemas.openxmlformats.org/officeDocument/2006/relationships/tags" Target="../tags/tag692.xml"/><Relationship Id="rId35" Type="http://schemas.openxmlformats.org/officeDocument/2006/relationships/tags" Target="../tags/tag42.xml"/><Relationship Id="rId77" Type="http://schemas.openxmlformats.org/officeDocument/2006/relationships/tags" Target="../tags/tag84.xml"/><Relationship Id="rId100" Type="http://schemas.openxmlformats.org/officeDocument/2006/relationships/tags" Target="../tags/tag107.xml"/><Relationship Id="rId282" Type="http://schemas.openxmlformats.org/officeDocument/2006/relationships/tags" Target="../tags/tag289.xml"/><Relationship Id="rId338" Type="http://schemas.openxmlformats.org/officeDocument/2006/relationships/tags" Target="../tags/tag345.xml"/><Relationship Id="rId503" Type="http://schemas.openxmlformats.org/officeDocument/2006/relationships/tags" Target="../tags/tag510.xml"/><Relationship Id="rId545" Type="http://schemas.openxmlformats.org/officeDocument/2006/relationships/tags" Target="../tags/tag552.xml"/><Relationship Id="rId587" Type="http://schemas.openxmlformats.org/officeDocument/2006/relationships/tags" Target="../tags/tag594.xml"/><Relationship Id="rId710" Type="http://schemas.openxmlformats.org/officeDocument/2006/relationships/tags" Target="../tags/tag717.xml"/><Relationship Id="rId8" Type="http://schemas.openxmlformats.org/officeDocument/2006/relationships/tags" Target="../tags/tag15.xml"/><Relationship Id="rId142" Type="http://schemas.openxmlformats.org/officeDocument/2006/relationships/tags" Target="../tags/tag149.xml"/><Relationship Id="rId184" Type="http://schemas.openxmlformats.org/officeDocument/2006/relationships/tags" Target="../tags/tag191.xml"/><Relationship Id="rId391" Type="http://schemas.openxmlformats.org/officeDocument/2006/relationships/tags" Target="../tags/tag398.xml"/><Relationship Id="rId405" Type="http://schemas.openxmlformats.org/officeDocument/2006/relationships/tags" Target="../tags/tag412.xml"/><Relationship Id="rId447" Type="http://schemas.openxmlformats.org/officeDocument/2006/relationships/tags" Target="../tags/tag454.xml"/><Relationship Id="rId612" Type="http://schemas.openxmlformats.org/officeDocument/2006/relationships/tags" Target="../tags/tag619.xml"/><Relationship Id="rId251" Type="http://schemas.openxmlformats.org/officeDocument/2006/relationships/tags" Target="../tags/tag258.xml"/><Relationship Id="rId489" Type="http://schemas.openxmlformats.org/officeDocument/2006/relationships/tags" Target="../tags/tag496.xml"/><Relationship Id="rId654" Type="http://schemas.openxmlformats.org/officeDocument/2006/relationships/tags" Target="../tags/tag661.xml"/><Relationship Id="rId696" Type="http://schemas.openxmlformats.org/officeDocument/2006/relationships/tags" Target="../tags/tag703.xml"/><Relationship Id="rId46" Type="http://schemas.openxmlformats.org/officeDocument/2006/relationships/tags" Target="../tags/tag53.xml"/><Relationship Id="rId293" Type="http://schemas.openxmlformats.org/officeDocument/2006/relationships/tags" Target="../tags/tag300.xml"/><Relationship Id="rId307" Type="http://schemas.openxmlformats.org/officeDocument/2006/relationships/tags" Target="../tags/tag314.xml"/><Relationship Id="rId349" Type="http://schemas.openxmlformats.org/officeDocument/2006/relationships/tags" Target="../tags/tag356.xml"/><Relationship Id="rId514" Type="http://schemas.openxmlformats.org/officeDocument/2006/relationships/tags" Target="../tags/tag521.xml"/><Relationship Id="rId556" Type="http://schemas.openxmlformats.org/officeDocument/2006/relationships/tags" Target="../tags/tag563.xml"/><Relationship Id="rId721" Type="http://schemas.openxmlformats.org/officeDocument/2006/relationships/image" Target="../media/image95.png"/><Relationship Id="rId88" Type="http://schemas.openxmlformats.org/officeDocument/2006/relationships/tags" Target="../tags/tag95.xml"/><Relationship Id="rId111" Type="http://schemas.openxmlformats.org/officeDocument/2006/relationships/tags" Target="../tags/tag118.xml"/><Relationship Id="rId153" Type="http://schemas.openxmlformats.org/officeDocument/2006/relationships/tags" Target="../tags/tag160.xml"/><Relationship Id="rId195" Type="http://schemas.openxmlformats.org/officeDocument/2006/relationships/tags" Target="../tags/tag202.xml"/><Relationship Id="rId209" Type="http://schemas.openxmlformats.org/officeDocument/2006/relationships/tags" Target="../tags/tag216.xml"/><Relationship Id="rId360" Type="http://schemas.openxmlformats.org/officeDocument/2006/relationships/tags" Target="../tags/tag367.xml"/><Relationship Id="rId416" Type="http://schemas.openxmlformats.org/officeDocument/2006/relationships/tags" Target="../tags/tag423.xml"/><Relationship Id="rId598" Type="http://schemas.openxmlformats.org/officeDocument/2006/relationships/tags" Target="../tags/tag605.xml"/><Relationship Id="rId220" Type="http://schemas.openxmlformats.org/officeDocument/2006/relationships/tags" Target="../tags/tag227.xml"/><Relationship Id="rId458" Type="http://schemas.openxmlformats.org/officeDocument/2006/relationships/tags" Target="../tags/tag465.xml"/><Relationship Id="rId623" Type="http://schemas.openxmlformats.org/officeDocument/2006/relationships/tags" Target="../tags/tag630.xml"/><Relationship Id="rId665" Type="http://schemas.openxmlformats.org/officeDocument/2006/relationships/tags" Target="../tags/tag672.xml"/><Relationship Id="rId15" Type="http://schemas.openxmlformats.org/officeDocument/2006/relationships/tags" Target="../tags/tag22.xml"/><Relationship Id="rId57" Type="http://schemas.openxmlformats.org/officeDocument/2006/relationships/tags" Target="../tags/tag64.xml"/><Relationship Id="rId262" Type="http://schemas.openxmlformats.org/officeDocument/2006/relationships/tags" Target="../tags/tag269.xml"/><Relationship Id="rId318" Type="http://schemas.openxmlformats.org/officeDocument/2006/relationships/tags" Target="../tags/tag325.xml"/><Relationship Id="rId525" Type="http://schemas.openxmlformats.org/officeDocument/2006/relationships/tags" Target="../tags/tag532.xml"/><Relationship Id="rId567" Type="http://schemas.openxmlformats.org/officeDocument/2006/relationships/tags" Target="../tags/tag574.xml"/><Relationship Id="rId99" Type="http://schemas.openxmlformats.org/officeDocument/2006/relationships/tags" Target="../tags/tag106.xml"/><Relationship Id="rId122" Type="http://schemas.openxmlformats.org/officeDocument/2006/relationships/tags" Target="../tags/tag129.xml"/><Relationship Id="rId164" Type="http://schemas.openxmlformats.org/officeDocument/2006/relationships/tags" Target="../tags/tag171.xml"/><Relationship Id="rId371" Type="http://schemas.openxmlformats.org/officeDocument/2006/relationships/tags" Target="../tags/tag378.xml"/><Relationship Id="rId427" Type="http://schemas.openxmlformats.org/officeDocument/2006/relationships/tags" Target="../tags/tag434.xml"/><Relationship Id="rId469" Type="http://schemas.openxmlformats.org/officeDocument/2006/relationships/tags" Target="../tags/tag476.xml"/><Relationship Id="rId634" Type="http://schemas.openxmlformats.org/officeDocument/2006/relationships/tags" Target="../tags/tag641.xml"/><Relationship Id="rId676" Type="http://schemas.openxmlformats.org/officeDocument/2006/relationships/tags" Target="../tags/tag683.xml"/><Relationship Id="rId26" Type="http://schemas.openxmlformats.org/officeDocument/2006/relationships/tags" Target="../tags/tag33.xml"/><Relationship Id="rId231" Type="http://schemas.openxmlformats.org/officeDocument/2006/relationships/tags" Target="../tags/tag238.xml"/><Relationship Id="rId273" Type="http://schemas.openxmlformats.org/officeDocument/2006/relationships/tags" Target="../tags/tag280.xml"/><Relationship Id="rId329" Type="http://schemas.openxmlformats.org/officeDocument/2006/relationships/tags" Target="../tags/tag336.xml"/><Relationship Id="rId480" Type="http://schemas.openxmlformats.org/officeDocument/2006/relationships/tags" Target="../tags/tag487.xml"/><Relationship Id="rId536" Type="http://schemas.openxmlformats.org/officeDocument/2006/relationships/tags" Target="../tags/tag543.xml"/><Relationship Id="rId701" Type="http://schemas.openxmlformats.org/officeDocument/2006/relationships/tags" Target="../tags/tag708.xml"/><Relationship Id="rId68" Type="http://schemas.openxmlformats.org/officeDocument/2006/relationships/tags" Target="../tags/tag75.xml"/><Relationship Id="rId133" Type="http://schemas.openxmlformats.org/officeDocument/2006/relationships/tags" Target="../tags/tag140.xml"/><Relationship Id="rId175" Type="http://schemas.openxmlformats.org/officeDocument/2006/relationships/tags" Target="../tags/tag182.xml"/><Relationship Id="rId340" Type="http://schemas.openxmlformats.org/officeDocument/2006/relationships/tags" Target="../tags/tag347.xml"/><Relationship Id="rId578" Type="http://schemas.openxmlformats.org/officeDocument/2006/relationships/tags" Target="../tags/tag585.xml"/><Relationship Id="rId200" Type="http://schemas.openxmlformats.org/officeDocument/2006/relationships/tags" Target="../tags/tag207.xml"/><Relationship Id="rId382" Type="http://schemas.openxmlformats.org/officeDocument/2006/relationships/tags" Target="../tags/tag389.xml"/><Relationship Id="rId438" Type="http://schemas.openxmlformats.org/officeDocument/2006/relationships/tags" Target="../tags/tag445.xml"/><Relationship Id="rId603" Type="http://schemas.openxmlformats.org/officeDocument/2006/relationships/tags" Target="../tags/tag610.xml"/><Relationship Id="rId645" Type="http://schemas.openxmlformats.org/officeDocument/2006/relationships/tags" Target="../tags/tag652.xml"/><Relationship Id="rId687" Type="http://schemas.openxmlformats.org/officeDocument/2006/relationships/tags" Target="../tags/tag694.xml"/><Relationship Id="rId242" Type="http://schemas.openxmlformats.org/officeDocument/2006/relationships/tags" Target="../tags/tag249.xml"/><Relationship Id="rId284" Type="http://schemas.openxmlformats.org/officeDocument/2006/relationships/tags" Target="../tags/tag291.xml"/><Relationship Id="rId491" Type="http://schemas.openxmlformats.org/officeDocument/2006/relationships/tags" Target="../tags/tag498.xml"/><Relationship Id="rId505" Type="http://schemas.openxmlformats.org/officeDocument/2006/relationships/tags" Target="../tags/tag512.xml"/><Relationship Id="rId712" Type="http://schemas.openxmlformats.org/officeDocument/2006/relationships/slideLayout" Target="../slideLayouts/slideLayout14.xml"/><Relationship Id="rId37" Type="http://schemas.openxmlformats.org/officeDocument/2006/relationships/tags" Target="../tags/tag44.xml"/><Relationship Id="rId79" Type="http://schemas.openxmlformats.org/officeDocument/2006/relationships/tags" Target="../tags/tag86.xml"/><Relationship Id="rId102" Type="http://schemas.openxmlformats.org/officeDocument/2006/relationships/tags" Target="../tags/tag109.xml"/><Relationship Id="rId144" Type="http://schemas.openxmlformats.org/officeDocument/2006/relationships/tags" Target="../tags/tag151.xml"/><Relationship Id="rId547" Type="http://schemas.openxmlformats.org/officeDocument/2006/relationships/tags" Target="../tags/tag554.xml"/><Relationship Id="rId589" Type="http://schemas.openxmlformats.org/officeDocument/2006/relationships/tags" Target="../tags/tag596.xml"/><Relationship Id="rId90" Type="http://schemas.openxmlformats.org/officeDocument/2006/relationships/tags" Target="../tags/tag97.xml"/><Relationship Id="rId186" Type="http://schemas.openxmlformats.org/officeDocument/2006/relationships/tags" Target="../tags/tag193.xml"/><Relationship Id="rId351" Type="http://schemas.openxmlformats.org/officeDocument/2006/relationships/tags" Target="../tags/tag358.xml"/><Relationship Id="rId393" Type="http://schemas.openxmlformats.org/officeDocument/2006/relationships/tags" Target="../tags/tag400.xml"/><Relationship Id="rId407" Type="http://schemas.openxmlformats.org/officeDocument/2006/relationships/tags" Target="../tags/tag414.xml"/><Relationship Id="rId449" Type="http://schemas.openxmlformats.org/officeDocument/2006/relationships/tags" Target="../tags/tag456.xml"/><Relationship Id="rId614" Type="http://schemas.openxmlformats.org/officeDocument/2006/relationships/tags" Target="../tags/tag621.xml"/><Relationship Id="rId656" Type="http://schemas.openxmlformats.org/officeDocument/2006/relationships/tags" Target="../tags/tag663.xml"/><Relationship Id="rId211" Type="http://schemas.openxmlformats.org/officeDocument/2006/relationships/tags" Target="../tags/tag218.xml"/><Relationship Id="rId253" Type="http://schemas.openxmlformats.org/officeDocument/2006/relationships/tags" Target="../tags/tag260.xml"/><Relationship Id="rId295" Type="http://schemas.openxmlformats.org/officeDocument/2006/relationships/tags" Target="../tags/tag302.xml"/><Relationship Id="rId309" Type="http://schemas.openxmlformats.org/officeDocument/2006/relationships/tags" Target="../tags/tag316.xml"/><Relationship Id="rId460" Type="http://schemas.openxmlformats.org/officeDocument/2006/relationships/tags" Target="../tags/tag467.xml"/><Relationship Id="rId516" Type="http://schemas.openxmlformats.org/officeDocument/2006/relationships/tags" Target="../tags/tag523.xml"/><Relationship Id="rId698" Type="http://schemas.openxmlformats.org/officeDocument/2006/relationships/tags" Target="../tags/tag705.xml"/><Relationship Id="rId48" Type="http://schemas.openxmlformats.org/officeDocument/2006/relationships/tags" Target="../tags/tag55.xml"/><Relationship Id="rId113" Type="http://schemas.openxmlformats.org/officeDocument/2006/relationships/tags" Target="../tags/tag120.xml"/><Relationship Id="rId320" Type="http://schemas.openxmlformats.org/officeDocument/2006/relationships/tags" Target="../tags/tag327.xml"/><Relationship Id="rId558" Type="http://schemas.openxmlformats.org/officeDocument/2006/relationships/tags" Target="../tags/tag565.xml"/><Relationship Id="rId723" Type="http://schemas.openxmlformats.org/officeDocument/2006/relationships/image" Target="../media/image97.png"/><Relationship Id="rId155" Type="http://schemas.openxmlformats.org/officeDocument/2006/relationships/tags" Target="../tags/tag162.xml"/><Relationship Id="rId197" Type="http://schemas.openxmlformats.org/officeDocument/2006/relationships/tags" Target="../tags/tag204.xml"/><Relationship Id="rId362" Type="http://schemas.openxmlformats.org/officeDocument/2006/relationships/tags" Target="../tags/tag369.xml"/><Relationship Id="rId418" Type="http://schemas.openxmlformats.org/officeDocument/2006/relationships/tags" Target="../tags/tag425.xml"/><Relationship Id="rId625" Type="http://schemas.openxmlformats.org/officeDocument/2006/relationships/tags" Target="../tags/tag632.xml"/><Relationship Id="rId222" Type="http://schemas.openxmlformats.org/officeDocument/2006/relationships/tags" Target="../tags/tag229.xml"/><Relationship Id="rId264" Type="http://schemas.openxmlformats.org/officeDocument/2006/relationships/tags" Target="../tags/tag271.xml"/><Relationship Id="rId471" Type="http://schemas.openxmlformats.org/officeDocument/2006/relationships/tags" Target="../tags/tag478.xml"/><Relationship Id="rId667" Type="http://schemas.openxmlformats.org/officeDocument/2006/relationships/tags" Target="../tags/tag674.xml"/><Relationship Id="rId17" Type="http://schemas.openxmlformats.org/officeDocument/2006/relationships/tags" Target="../tags/tag24.xml"/><Relationship Id="rId59" Type="http://schemas.openxmlformats.org/officeDocument/2006/relationships/tags" Target="../tags/tag66.xml"/><Relationship Id="rId124" Type="http://schemas.openxmlformats.org/officeDocument/2006/relationships/tags" Target="../tags/tag131.xml"/><Relationship Id="rId527" Type="http://schemas.openxmlformats.org/officeDocument/2006/relationships/tags" Target="../tags/tag534.xml"/><Relationship Id="rId569" Type="http://schemas.openxmlformats.org/officeDocument/2006/relationships/tags" Target="../tags/tag576.xml"/><Relationship Id="rId70" Type="http://schemas.openxmlformats.org/officeDocument/2006/relationships/tags" Target="../tags/tag77.xml"/><Relationship Id="rId166" Type="http://schemas.openxmlformats.org/officeDocument/2006/relationships/tags" Target="../tags/tag173.xml"/><Relationship Id="rId331" Type="http://schemas.openxmlformats.org/officeDocument/2006/relationships/tags" Target="../tags/tag338.xml"/><Relationship Id="rId373" Type="http://schemas.openxmlformats.org/officeDocument/2006/relationships/tags" Target="../tags/tag380.xml"/><Relationship Id="rId429" Type="http://schemas.openxmlformats.org/officeDocument/2006/relationships/tags" Target="../tags/tag436.xml"/><Relationship Id="rId580" Type="http://schemas.openxmlformats.org/officeDocument/2006/relationships/tags" Target="../tags/tag587.xml"/><Relationship Id="rId636" Type="http://schemas.openxmlformats.org/officeDocument/2006/relationships/tags" Target="../tags/tag643.xml"/><Relationship Id="rId1" Type="http://schemas.openxmlformats.org/officeDocument/2006/relationships/tags" Target="../tags/tag8.xml"/><Relationship Id="rId233" Type="http://schemas.openxmlformats.org/officeDocument/2006/relationships/tags" Target="../tags/tag240.xml"/><Relationship Id="rId440" Type="http://schemas.openxmlformats.org/officeDocument/2006/relationships/tags" Target="../tags/tag447.xml"/><Relationship Id="rId678" Type="http://schemas.openxmlformats.org/officeDocument/2006/relationships/tags" Target="../tags/tag685.xml"/><Relationship Id="rId28" Type="http://schemas.openxmlformats.org/officeDocument/2006/relationships/tags" Target="../tags/tag35.xml"/><Relationship Id="rId275" Type="http://schemas.openxmlformats.org/officeDocument/2006/relationships/tags" Target="../tags/tag282.xml"/><Relationship Id="rId300" Type="http://schemas.openxmlformats.org/officeDocument/2006/relationships/tags" Target="../tags/tag307.xml"/><Relationship Id="rId482" Type="http://schemas.openxmlformats.org/officeDocument/2006/relationships/tags" Target="../tags/tag489.xml"/><Relationship Id="rId538" Type="http://schemas.openxmlformats.org/officeDocument/2006/relationships/tags" Target="../tags/tag545.xml"/><Relationship Id="rId703" Type="http://schemas.openxmlformats.org/officeDocument/2006/relationships/tags" Target="../tags/tag710.xml"/><Relationship Id="rId81" Type="http://schemas.openxmlformats.org/officeDocument/2006/relationships/tags" Target="../tags/tag88.xml"/><Relationship Id="rId135" Type="http://schemas.openxmlformats.org/officeDocument/2006/relationships/tags" Target="../tags/tag142.xml"/><Relationship Id="rId177" Type="http://schemas.openxmlformats.org/officeDocument/2006/relationships/tags" Target="../tags/tag184.xml"/><Relationship Id="rId342" Type="http://schemas.openxmlformats.org/officeDocument/2006/relationships/tags" Target="../tags/tag349.xml"/><Relationship Id="rId384" Type="http://schemas.openxmlformats.org/officeDocument/2006/relationships/tags" Target="../tags/tag391.xml"/><Relationship Id="rId591" Type="http://schemas.openxmlformats.org/officeDocument/2006/relationships/tags" Target="../tags/tag598.xml"/><Relationship Id="rId605" Type="http://schemas.openxmlformats.org/officeDocument/2006/relationships/tags" Target="../tags/tag612.xml"/><Relationship Id="rId202" Type="http://schemas.openxmlformats.org/officeDocument/2006/relationships/tags" Target="../tags/tag209.xml"/><Relationship Id="rId244" Type="http://schemas.openxmlformats.org/officeDocument/2006/relationships/tags" Target="../tags/tag251.xml"/><Relationship Id="rId647" Type="http://schemas.openxmlformats.org/officeDocument/2006/relationships/tags" Target="../tags/tag654.xml"/><Relationship Id="rId689" Type="http://schemas.openxmlformats.org/officeDocument/2006/relationships/tags" Target="../tags/tag696.xml"/><Relationship Id="rId39" Type="http://schemas.openxmlformats.org/officeDocument/2006/relationships/tags" Target="../tags/tag46.xml"/><Relationship Id="rId286" Type="http://schemas.openxmlformats.org/officeDocument/2006/relationships/tags" Target="../tags/tag293.xml"/><Relationship Id="rId451" Type="http://schemas.openxmlformats.org/officeDocument/2006/relationships/tags" Target="../tags/tag458.xml"/><Relationship Id="rId493" Type="http://schemas.openxmlformats.org/officeDocument/2006/relationships/tags" Target="../tags/tag500.xml"/><Relationship Id="rId507" Type="http://schemas.openxmlformats.org/officeDocument/2006/relationships/tags" Target="../tags/tag514.xml"/><Relationship Id="rId549" Type="http://schemas.openxmlformats.org/officeDocument/2006/relationships/tags" Target="../tags/tag556.xml"/><Relationship Id="rId714" Type="http://schemas.openxmlformats.org/officeDocument/2006/relationships/image" Target="../media/image88.png"/><Relationship Id="rId50" Type="http://schemas.openxmlformats.org/officeDocument/2006/relationships/tags" Target="../tags/tag57.xml"/><Relationship Id="rId104" Type="http://schemas.openxmlformats.org/officeDocument/2006/relationships/tags" Target="../tags/tag111.xml"/><Relationship Id="rId146" Type="http://schemas.openxmlformats.org/officeDocument/2006/relationships/tags" Target="../tags/tag153.xml"/><Relationship Id="rId188" Type="http://schemas.openxmlformats.org/officeDocument/2006/relationships/tags" Target="../tags/tag195.xml"/><Relationship Id="rId311" Type="http://schemas.openxmlformats.org/officeDocument/2006/relationships/tags" Target="../tags/tag318.xml"/><Relationship Id="rId353" Type="http://schemas.openxmlformats.org/officeDocument/2006/relationships/tags" Target="../tags/tag360.xml"/><Relationship Id="rId395" Type="http://schemas.openxmlformats.org/officeDocument/2006/relationships/tags" Target="../tags/tag402.xml"/><Relationship Id="rId409" Type="http://schemas.openxmlformats.org/officeDocument/2006/relationships/tags" Target="../tags/tag416.xml"/><Relationship Id="rId560" Type="http://schemas.openxmlformats.org/officeDocument/2006/relationships/tags" Target="../tags/tag567.xml"/><Relationship Id="rId92" Type="http://schemas.openxmlformats.org/officeDocument/2006/relationships/tags" Target="../tags/tag99.xml"/><Relationship Id="rId213" Type="http://schemas.openxmlformats.org/officeDocument/2006/relationships/tags" Target="../tags/tag220.xml"/><Relationship Id="rId420" Type="http://schemas.openxmlformats.org/officeDocument/2006/relationships/tags" Target="../tags/tag427.xml"/><Relationship Id="rId616" Type="http://schemas.openxmlformats.org/officeDocument/2006/relationships/tags" Target="../tags/tag623.xml"/><Relationship Id="rId658" Type="http://schemas.openxmlformats.org/officeDocument/2006/relationships/tags" Target="../tags/tag665.xml"/><Relationship Id="rId255" Type="http://schemas.openxmlformats.org/officeDocument/2006/relationships/tags" Target="../tags/tag262.xml"/><Relationship Id="rId297" Type="http://schemas.openxmlformats.org/officeDocument/2006/relationships/tags" Target="../tags/tag304.xml"/><Relationship Id="rId462" Type="http://schemas.openxmlformats.org/officeDocument/2006/relationships/tags" Target="../tags/tag469.xml"/><Relationship Id="rId518" Type="http://schemas.openxmlformats.org/officeDocument/2006/relationships/tags" Target="../tags/tag525.xml"/><Relationship Id="rId115" Type="http://schemas.openxmlformats.org/officeDocument/2006/relationships/tags" Target="../tags/tag122.xml"/><Relationship Id="rId157" Type="http://schemas.openxmlformats.org/officeDocument/2006/relationships/tags" Target="../tags/tag164.xml"/><Relationship Id="rId322" Type="http://schemas.openxmlformats.org/officeDocument/2006/relationships/tags" Target="../tags/tag329.xml"/><Relationship Id="rId364" Type="http://schemas.openxmlformats.org/officeDocument/2006/relationships/tags" Target="../tags/tag371.xml"/><Relationship Id="rId61" Type="http://schemas.openxmlformats.org/officeDocument/2006/relationships/tags" Target="../tags/tag68.xml"/><Relationship Id="rId199" Type="http://schemas.openxmlformats.org/officeDocument/2006/relationships/tags" Target="../tags/tag206.xml"/><Relationship Id="rId571" Type="http://schemas.openxmlformats.org/officeDocument/2006/relationships/tags" Target="../tags/tag578.xml"/><Relationship Id="rId627" Type="http://schemas.openxmlformats.org/officeDocument/2006/relationships/tags" Target="../tags/tag634.xml"/><Relationship Id="rId669" Type="http://schemas.openxmlformats.org/officeDocument/2006/relationships/tags" Target="../tags/tag676.xml"/><Relationship Id="rId19" Type="http://schemas.openxmlformats.org/officeDocument/2006/relationships/tags" Target="../tags/tag26.xml"/><Relationship Id="rId224" Type="http://schemas.openxmlformats.org/officeDocument/2006/relationships/tags" Target="../tags/tag231.xml"/><Relationship Id="rId266" Type="http://schemas.openxmlformats.org/officeDocument/2006/relationships/tags" Target="../tags/tag273.xml"/><Relationship Id="rId431" Type="http://schemas.openxmlformats.org/officeDocument/2006/relationships/tags" Target="../tags/tag438.xml"/><Relationship Id="rId473" Type="http://schemas.openxmlformats.org/officeDocument/2006/relationships/tags" Target="../tags/tag480.xml"/><Relationship Id="rId529" Type="http://schemas.openxmlformats.org/officeDocument/2006/relationships/tags" Target="../tags/tag536.xml"/><Relationship Id="rId680" Type="http://schemas.openxmlformats.org/officeDocument/2006/relationships/tags" Target="../tags/tag687.xml"/><Relationship Id="rId30" Type="http://schemas.openxmlformats.org/officeDocument/2006/relationships/tags" Target="../tags/tag37.xml"/><Relationship Id="rId126" Type="http://schemas.openxmlformats.org/officeDocument/2006/relationships/tags" Target="../tags/tag133.xml"/><Relationship Id="rId168" Type="http://schemas.openxmlformats.org/officeDocument/2006/relationships/tags" Target="../tags/tag175.xml"/><Relationship Id="rId333" Type="http://schemas.openxmlformats.org/officeDocument/2006/relationships/tags" Target="../tags/tag340.xml"/><Relationship Id="rId540" Type="http://schemas.openxmlformats.org/officeDocument/2006/relationships/tags" Target="../tags/tag547.xml"/><Relationship Id="rId72" Type="http://schemas.openxmlformats.org/officeDocument/2006/relationships/tags" Target="../tags/tag79.xml"/><Relationship Id="rId375" Type="http://schemas.openxmlformats.org/officeDocument/2006/relationships/tags" Target="../tags/tag382.xml"/><Relationship Id="rId582" Type="http://schemas.openxmlformats.org/officeDocument/2006/relationships/tags" Target="../tags/tag589.xml"/><Relationship Id="rId638" Type="http://schemas.openxmlformats.org/officeDocument/2006/relationships/tags" Target="../tags/tag645.xml"/></Relationships>
</file>

<file path=ppt/slides/_rels/slide46.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00.jpeg"/><Relationship Id="rId7" Type="http://schemas.openxmlformats.org/officeDocument/2006/relationships/image" Target="../media/image104.png"/><Relationship Id="rId2"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47.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emf"/><Relationship Id="rId1" Type="http://schemas.openxmlformats.org/officeDocument/2006/relationships/slideLayout" Target="../slideLayouts/slideLayout18.xml"/><Relationship Id="rId5" Type="http://schemas.openxmlformats.org/officeDocument/2006/relationships/image" Target="../media/image108.wmf"/><Relationship Id="rId4" Type="http://schemas.openxmlformats.org/officeDocument/2006/relationships/image" Target="../media/image107.wmf"/></Relationships>
</file>

<file path=ppt/slides/_rels/slide49.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18.xml"/><Relationship Id="rId4" Type="http://schemas.openxmlformats.org/officeDocument/2006/relationships/image" Target="../media/image111.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18.xml"/><Relationship Id="rId4" Type="http://schemas.openxmlformats.org/officeDocument/2006/relationships/image" Target="../media/image111.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EC481A8C-AA57-4807-8F63-12967645CB35}" type="slidenum">
              <a:rPr lang="en-US" smtClean="0"/>
              <a:pPr eaLnBrk="1" hangingPunct="1"/>
              <a:t>1</a:t>
            </a:fld>
            <a:endParaRPr lang="en-US" smtClean="0"/>
          </a:p>
        </p:txBody>
      </p:sp>
      <p:pic>
        <p:nvPicPr>
          <p:cNvPr id="3075" name="Picture 2" descr="D:\DoMesTiK\foto\FOTO 0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587875"/>
            <a:ext cx="3040063" cy="228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3" descr="D:\DoMesTiK\foto\FOTO 00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2825" y="0"/>
            <a:ext cx="3051175"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descr="D:\DoMesTiK\foto\FOTO 00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0063" y="4587875"/>
            <a:ext cx="3041650" cy="228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5" descr="D:\DoMesTiK\foto\FOTO 00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0"/>
            <a:ext cx="30607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6" descr="D:\DoMesTiK\foto\FOTO 012.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0"/>
            <a:ext cx="3051175"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7" descr="C:\Users\pretty_p\AppData\Local\Microsoft\Windows\Temporary Internet Files\Content.Outlook\4UK3IB8H\phot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2825" y="4581525"/>
            <a:ext cx="3036888"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
          <p:cNvSpPr>
            <a:spLocks noChangeArrowheads="1"/>
          </p:cNvSpPr>
          <p:nvPr/>
        </p:nvSpPr>
        <p:spPr bwMode="auto">
          <a:xfrm>
            <a:off x="2506663" y="2362200"/>
            <a:ext cx="6270625"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id-ID" altLang="id-ID" sz="4400" b="1" dirty="0">
                <a:solidFill>
                  <a:srgbClr val="333399"/>
                </a:solidFill>
                <a:latin typeface="Franklin Gothic Medium Cond" pitchFamily="34" charset="0"/>
              </a:rPr>
              <a:t>P</a:t>
            </a:r>
            <a:r>
              <a:rPr lang="en-US" altLang="id-ID" sz="4400" b="1" dirty="0" err="1">
                <a:solidFill>
                  <a:srgbClr val="333399"/>
                </a:solidFill>
                <a:latin typeface="Franklin Gothic Medium Cond" pitchFamily="34" charset="0"/>
              </a:rPr>
              <a:t>erkembangan</a:t>
            </a:r>
            <a:r>
              <a:rPr lang="en-US" altLang="id-ID" sz="4400" b="1" dirty="0">
                <a:solidFill>
                  <a:srgbClr val="333399"/>
                </a:solidFill>
                <a:latin typeface="Franklin Gothic Medium Cond" pitchFamily="34" charset="0"/>
              </a:rPr>
              <a:t> </a:t>
            </a:r>
            <a:r>
              <a:rPr lang="en-US" altLang="id-ID" sz="4400" b="1" dirty="0" err="1">
                <a:solidFill>
                  <a:srgbClr val="333399"/>
                </a:solidFill>
                <a:latin typeface="Franklin Gothic Medium Cond" pitchFamily="34" charset="0"/>
              </a:rPr>
              <a:t>dan</a:t>
            </a:r>
            <a:r>
              <a:rPr lang="en-US" altLang="id-ID" sz="4400" b="1" dirty="0">
                <a:solidFill>
                  <a:srgbClr val="333399"/>
                </a:solidFill>
                <a:latin typeface="Franklin Gothic Medium Cond" pitchFamily="34" charset="0"/>
              </a:rPr>
              <a:t> </a:t>
            </a:r>
            <a:r>
              <a:rPr lang="en-US" altLang="id-ID" sz="4400" b="1" dirty="0" err="1">
                <a:solidFill>
                  <a:srgbClr val="333399"/>
                </a:solidFill>
                <a:latin typeface="Franklin Gothic Medium Cond" pitchFamily="34" charset="0"/>
              </a:rPr>
              <a:t>Kebijakan</a:t>
            </a:r>
            <a:r>
              <a:rPr lang="en-US" altLang="id-ID" sz="4400" b="1" dirty="0">
                <a:solidFill>
                  <a:srgbClr val="333399"/>
                </a:solidFill>
                <a:latin typeface="Franklin Gothic Medium Cond" pitchFamily="34" charset="0"/>
              </a:rPr>
              <a:t> </a:t>
            </a:r>
            <a:r>
              <a:rPr lang="en-US" altLang="id-ID" sz="4400" b="1" dirty="0" err="1">
                <a:solidFill>
                  <a:srgbClr val="333399"/>
                </a:solidFill>
                <a:latin typeface="Franklin Gothic Medium Cond" pitchFamily="34" charset="0"/>
              </a:rPr>
              <a:t>Stabilisasi</a:t>
            </a:r>
            <a:r>
              <a:rPr lang="en-US" altLang="id-ID" sz="4400" b="1" dirty="0">
                <a:solidFill>
                  <a:srgbClr val="333399"/>
                </a:solidFill>
                <a:latin typeface="Franklin Gothic Medium Cond" pitchFamily="34" charset="0"/>
              </a:rPr>
              <a:t> </a:t>
            </a:r>
            <a:r>
              <a:rPr lang="en-US" altLang="id-ID" sz="4400" b="1" dirty="0" err="1">
                <a:solidFill>
                  <a:srgbClr val="333399"/>
                </a:solidFill>
                <a:latin typeface="Franklin Gothic Medium Cond" pitchFamily="34" charset="0"/>
              </a:rPr>
              <a:t>Nilai</a:t>
            </a:r>
            <a:r>
              <a:rPr lang="en-US" altLang="id-ID" sz="4400" b="1" dirty="0">
                <a:solidFill>
                  <a:srgbClr val="333399"/>
                </a:solidFill>
                <a:latin typeface="Franklin Gothic Medium Cond" pitchFamily="34" charset="0"/>
              </a:rPr>
              <a:t> </a:t>
            </a:r>
            <a:r>
              <a:rPr lang="en-US" altLang="id-ID" sz="4400" b="1" dirty="0" err="1">
                <a:solidFill>
                  <a:srgbClr val="333399"/>
                </a:solidFill>
                <a:latin typeface="Franklin Gothic Medium Cond" pitchFamily="34" charset="0"/>
              </a:rPr>
              <a:t>Tukar</a:t>
            </a:r>
            <a:r>
              <a:rPr lang="en-US" altLang="id-ID" sz="4400" b="1" dirty="0">
                <a:solidFill>
                  <a:srgbClr val="333399"/>
                </a:solidFill>
                <a:latin typeface="Franklin Gothic Medium Cond" pitchFamily="34" charset="0"/>
              </a:rPr>
              <a:t> Rupiah </a:t>
            </a:r>
          </a:p>
        </p:txBody>
      </p:sp>
      <p:sp>
        <p:nvSpPr>
          <p:cNvPr id="12" name="Rectangle 11"/>
          <p:cNvSpPr/>
          <p:nvPr/>
        </p:nvSpPr>
        <p:spPr>
          <a:xfrm>
            <a:off x="2528888" y="23622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3" name="Picture 2" descr="https://encrypted-tbn3.gstatic.com/images?q=tbn:ANd9GcT3_bcJQ2gQiMx0q32zASCHQJIOt6HZZHluc-sUBZeTHClfQszm-3DjzLxh">
            <a:hlinkClick r:id="rId8"/>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4800" y="2341127"/>
            <a:ext cx="2125710" cy="2078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3753333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EC481A8C-AA57-4807-8F63-12967645CB35}" type="slidenum">
              <a:rPr lang="en-US" smtClean="0"/>
              <a:pPr eaLnBrk="1" hangingPunct="1"/>
              <a:t>10</a:t>
            </a:fld>
            <a:endParaRPr lang="en-US" smtClean="0"/>
          </a:p>
        </p:txBody>
      </p:sp>
      <p:pic>
        <p:nvPicPr>
          <p:cNvPr id="3075" name="Picture 2" descr="D:\DoMesTiK\foto\FOTO 01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4587875"/>
            <a:ext cx="3040063" cy="228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3" descr="D:\DoMesTiK\foto\FOTO 00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2825" y="0"/>
            <a:ext cx="3051175"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descr="D:\DoMesTiK\foto\FOTO 00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0063" y="4587875"/>
            <a:ext cx="3041650" cy="228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5" descr="D:\DoMesTiK\foto\FOTO 00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0"/>
            <a:ext cx="3060700"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6" descr="D:\DoMesTiK\foto\FOTO 012.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0"/>
            <a:ext cx="3051175" cy="228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7" descr="C:\Users\pretty_p\AppData\Local\Microsoft\Windows\Temporary Internet Files\Content.Outlook\4UK3IB8H\phot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2825" y="4581525"/>
            <a:ext cx="3036888"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
          <p:cNvSpPr>
            <a:spLocks noChangeArrowheads="1"/>
          </p:cNvSpPr>
          <p:nvPr/>
        </p:nvSpPr>
        <p:spPr bwMode="auto">
          <a:xfrm>
            <a:off x="2506663" y="3103127"/>
            <a:ext cx="627062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id-ID" sz="4400" b="1" dirty="0" err="1" smtClean="0">
                <a:solidFill>
                  <a:srgbClr val="333399"/>
                </a:solidFill>
                <a:latin typeface="Franklin Gothic Medium Cond" pitchFamily="34" charset="0"/>
              </a:rPr>
              <a:t>Tekanan</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Nilai</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Tukar</a:t>
            </a:r>
            <a:r>
              <a:rPr lang="en-US" altLang="id-ID" sz="4400" b="1" dirty="0" smtClean="0">
                <a:solidFill>
                  <a:srgbClr val="333399"/>
                </a:solidFill>
                <a:latin typeface="Franklin Gothic Medium Cond" pitchFamily="34" charset="0"/>
              </a:rPr>
              <a:t> Rupiah</a:t>
            </a:r>
            <a:endParaRPr lang="en-US" altLang="id-ID" sz="4400" b="1" dirty="0">
              <a:solidFill>
                <a:srgbClr val="333399"/>
              </a:solidFill>
              <a:latin typeface="Franklin Gothic Medium Cond" pitchFamily="34" charset="0"/>
            </a:endParaRPr>
          </a:p>
        </p:txBody>
      </p:sp>
      <p:sp>
        <p:nvSpPr>
          <p:cNvPr id="12" name="Rectangle 11"/>
          <p:cNvSpPr/>
          <p:nvPr/>
        </p:nvSpPr>
        <p:spPr>
          <a:xfrm>
            <a:off x="2528888" y="2811027"/>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3" name="Picture 2" descr="https://encrypted-tbn3.gstatic.com/images?q=tbn:ANd9GcT3_bcJQ2gQiMx0q32zASCHQJIOt6HZZHluc-sUBZeTHClfQszm-3DjzLxh">
            <a:hlinkClick r:id="rId8"/>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04800" y="2341127"/>
            <a:ext cx="2125710" cy="2078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1026"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3000" t="44362" r="12454" b="30441"/>
          <a:stretch/>
        </p:blipFill>
        <p:spPr bwMode="auto">
          <a:xfrm>
            <a:off x="304800" y="187733"/>
            <a:ext cx="8589818" cy="192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02828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3"/>
          <p:cNvGrpSpPr/>
          <p:nvPr/>
        </p:nvGrpSpPr>
        <p:grpSpPr>
          <a:xfrm>
            <a:off x="0" y="0"/>
            <a:ext cx="8656320" cy="548640"/>
            <a:chOff x="0" y="0"/>
            <a:chExt cx="8656320" cy="548640"/>
          </a:xfrm>
        </p:grpSpPr>
        <p:sp>
          <p:nvSpPr>
            <p:cNvPr id="6" name="Rectangle 5"/>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7" name="Rectangle 6"/>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8" name="Title 1"/>
          <p:cNvSpPr>
            <a:spLocks noGrp="1"/>
          </p:cNvSpPr>
          <p:nvPr>
            <p:ph type="title"/>
          </p:nvPr>
        </p:nvSpPr>
        <p:spPr>
          <a:xfrm>
            <a:off x="0" y="26894"/>
            <a:ext cx="9144000" cy="487362"/>
          </a:xfrm>
        </p:spPr>
        <p:txBody>
          <a:bodyPr/>
          <a:lstStyle/>
          <a:p>
            <a:pPr algn="just"/>
            <a:r>
              <a:rPr lang="id-ID" sz="2400" dirty="0" smtClean="0">
                <a:solidFill>
                  <a:srgbClr val="000066"/>
                </a:solidFill>
                <a:latin typeface="Eras Demi ITC" pitchFamily="34" charset="0"/>
              </a:rPr>
              <a:t>Everybody Care about Rp</a:t>
            </a:r>
            <a:endParaRPr lang="en-US" sz="2400" dirty="0">
              <a:solidFill>
                <a:srgbClr val="000066"/>
              </a:solidFill>
              <a:latin typeface="Eras Demi ITC" pitchFamily="34" charset="0"/>
            </a:endParaRPr>
          </a:p>
        </p:txBody>
      </p:sp>
      <p:sp>
        <p:nvSpPr>
          <p:cNvPr id="9" name="TextBox 8"/>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1</a:t>
            </a:fld>
            <a:endParaRPr lang="en-US" altLang="id-ID" sz="1800" b="1" dirty="0" smtClean="0">
              <a:solidFill>
                <a:srgbClr val="C00000"/>
              </a:solidFill>
              <a:cs typeface="Arial" pitchFamily="34" charset="0"/>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7036" y="943521"/>
            <a:ext cx="4572000" cy="2571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943521"/>
            <a:ext cx="3680460" cy="2579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0" y="3585483"/>
            <a:ext cx="3680460" cy="2967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0891" y="3674450"/>
            <a:ext cx="4559207" cy="2526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52999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p:cNvGraphicFramePr>
            <a:graphicFrameLocks/>
          </p:cNvGraphicFramePr>
          <p:nvPr>
            <p:extLst>
              <p:ext uri="{D42A27DB-BD31-4B8C-83A1-F6EECF244321}">
                <p14:modId xmlns:p14="http://schemas.microsoft.com/office/powerpoint/2010/main" val="1716808721"/>
              </p:ext>
            </p:extLst>
          </p:nvPr>
        </p:nvGraphicFramePr>
        <p:xfrm>
          <a:off x="88186" y="552032"/>
          <a:ext cx="8944533" cy="58487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53474" name="Object 2" hidden="1"/>
          <p:cNvGraphicFramePr>
            <a:graphicFrameLocks noChangeAspect="1"/>
          </p:cNvGraphicFramePr>
          <p:nvPr>
            <p:custDataLst>
              <p:tags r:id="rId2"/>
            </p:custDataLst>
            <p:extLst/>
          </p:nvPr>
        </p:nvGraphicFramePr>
        <p:xfrm>
          <a:off x="1"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1"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Title 2"/>
          <p:cNvSpPr>
            <a:spLocks noGrp="1"/>
          </p:cNvSpPr>
          <p:nvPr>
            <p:ph type="title"/>
          </p:nvPr>
        </p:nvSpPr>
        <p:spPr>
          <a:xfrm>
            <a:off x="457200" y="0"/>
            <a:ext cx="8229600" cy="585172"/>
          </a:xfrm>
        </p:spPr>
        <p:txBody>
          <a:bodyPr/>
          <a:lstStyle/>
          <a:p>
            <a:r>
              <a:rPr lang="id-ID" dirty="0" smtClean="0"/>
              <a:t>Pergerakan Nilai Tukar</a:t>
            </a:r>
            <a:endParaRPr lang="id-ID" dirty="0"/>
          </a:p>
        </p:txBody>
      </p:sp>
      <p:cxnSp>
        <p:nvCxnSpPr>
          <p:cNvPr id="14" name="Straight Arrow Connector 13"/>
          <p:cNvCxnSpPr/>
          <p:nvPr/>
        </p:nvCxnSpPr>
        <p:spPr>
          <a:xfrm flipV="1">
            <a:off x="1314326" y="859810"/>
            <a:ext cx="1" cy="4406590"/>
          </a:xfrm>
          <a:prstGeom prst="straightConnector1">
            <a:avLst/>
          </a:prstGeom>
          <a:ln w="1905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1343751" y="859808"/>
            <a:ext cx="36957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2153481" name="Straight Connector 2153480"/>
          <p:cNvCxnSpPr/>
          <p:nvPr/>
        </p:nvCxnSpPr>
        <p:spPr>
          <a:xfrm flipH="1">
            <a:off x="5858030" y="2060811"/>
            <a:ext cx="100793"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153484" name="TextBox 2153483"/>
          <p:cNvSpPr txBox="1"/>
          <p:nvPr/>
        </p:nvSpPr>
        <p:spPr>
          <a:xfrm>
            <a:off x="1060288" y="552032"/>
            <a:ext cx="816767" cy="307777"/>
          </a:xfrm>
          <a:prstGeom prst="rect">
            <a:avLst/>
          </a:prstGeom>
          <a:noFill/>
        </p:spPr>
        <p:txBody>
          <a:bodyPr wrap="square" rtlCol="0">
            <a:spAutoFit/>
          </a:bodyPr>
          <a:lstStyle/>
          <a:p>
            <a:pPr algn="ctr"/>
            <a:r>
              <a:rPr lang="id-ID" sz="1400" b="1" dirty="0" smtClean="0">
                <a:latin typeface="+mj-lt"/>
              </a:rPr>
              <a:t>12 bln</a:t>
            </a:r>
            <a:endParaRPr lang="id-ID" sz="1400" b="1" dirty="0">
              <a:latin typeface="+mj-lt"/>
            </a:endParaRPr>
          </a:p>
        </p:txBody>
      </p:sp>
      <p:sp>
        <p:nvSpPr>
          <p:cNvPr id="46" name="TextBox 45"/>
          <p:cNvSpPr txBox="1"/>
          <p:nvPr/>
        </p:nvSpPr>
        <p:spPr>
          <a:xfrm>
            <a:off x="593145" y="2750025"/>
            <a:ext cx="816767" cy="307777"/>
          </a:xfrm>
          <a:prstGeom prst="rect">
            <a:avLst/>
          </a:prstGeom>
          <a:noFill/>
        </p:spPr>
        <p:txBody>
          <a:bodyPr wrap="square" rtlCol="0">
            <a:spAutoFit/>
          </a:bodyPr>
          <a:lstStyle/>
          <a:p>
            <a:pPr algn="ctr"/>
            <a:r>
              <a:rPr lang="id-ID" sz="1400" b="1" dirty="0" smtClean="0">
                <a:latin typeface="+mj-lt"/>
              </a:rPr>
              <a:t>580%</a:t>
            </a:r>
            <a:endParaRPr lang="id-ID" sz="1400" b="1" dirty="0">
              <a:latin typeface="+mj-lt"/>
            </a:endParaRPr>
          </a:p>
        </p:txBody>
      </p:sp>
      <p:sp>
        <p:nvSpPr>
          <p:cNvPr id="47" name="TextBox 46"/>
          <p:cNvSpPr txBox="1"/>
          <p:nvPr/>
        </p:nvSpPr>
        <p:spPr>
          <a:xfrm>
            <a:off x="5185104" y="2562016"/>
            <a:ext cx="529099" cy="307777"/>
          </a:xfrm>
          <a:prstGeom prst="rect">
            <a:avLst/>
          </a:prstGeom>
          <a:noFill/>
        </p:spPr>
        <p:txBody>
          <a:bodyPr wrap="square" rtlCol="0">
            <a:spAutoFit/>
          </a:bodyPr>
          <a:lstStyle/>
          <a:p>
            <a:pPr algn="r"/>
            <a:r>
              <a:rPr lang="id-ID" sz="1400" b="1" dirty="0" smtClean="0">
                <a:latin typeface="+mj-lt"/>
              </a:rPr>
              <a:t>36%</a:t>
            </a:r>
            <a:endParaRPr lang="id-ID" sz="1400" b="1" dirty="0">
              <a:latin typeface="+mj-lt"/>
            </a:endParaRPr>
          </a:p>
        </p:txBody>
      </p:sp>
      <p:sp>
        <p:nvSpPr>
          <p:cNvPr id="48" name="TextBox 47"/>
          <p:cNvSpPr txBox="1"/>
          <p:nvPr/>
        </p:nvSpPr>
        <p:spPr>
          <a:xfrm>
            <a:off x="5449654" y="1773504"/>
            <a:ext cx="816767" cy="307777"/>
          </a:xfrm>
          <a:prstGeom prst="rect">
            <a:avLst/>
          </a:prstGeom>
          <a:noFill/>
        </p:spPr>
        <p:txBody>
          <a:bodyPr wrap="square" rtlCol="0">
            <a:spAutoFit/>
          </a:bodyPr>
          <a:lstStyle/>
          <a:p>
            <a:pPr algn="ctr"/>
            <a:r>
              <a:rPr lang="id-ID" sz="1400" b="1" dirty="0" smtClean="0">
                <a:latin typeface="+mj-lt"/>
              </a:rPr>
              <a:t>2 bln</a:t>
            </a:r>
            <a:endParaRPr lang="id-ID" sz="1400" b="1" dirty="0">
              <a:latin typeface="+mj-lt"/>
            </a:endParaRPr>
          </a:p>
        </p:txBody>
      </p:sp>
      <p:cxnSp>
        <p:nvCxnSpPr>
          <p:cNvPr id="2153486" name="Straight Connector 2153485"/>
          <p:cNvCxnSpPr/>
          <p:nvPr/>
        </p:nvCxnSpPr>
        <p:spPr>
          <a:xfrm flipH="1">
            <a:off x="7805419" y="1577883"/>
            <a:ext cx="951720" cy="1929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5858030" y="2081281"/>
            <a:ext cx="0" cy="1115741"/>
          </a:xfrm>
          <a:prstGeom prst="straightConnector1">
            <a:avLst/>
          </a:prstGeom>
          <a:ln w="1905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7805419" y="1577882"/>
            <a:ext cx="0" cy="1460626"/>
          </a:xfrm>
          <a:prstGeom prst="straightConnector1">
            <a:avLst/>
          </a:prstGeom>
          <a:ln w="1905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7207045" y="2154308"/>
            <a:ext cx="529099" cy="307777"/>
          </a:xfrm>
          <a:prstGeom prst="rect">
            <a:avLst/>
          </a:prstGeom>
          <a:noFill/>
        </p:spPr>
        <p:txBody>
          <a:bodyPr wrap="square" rtlCol="0">
            <a:spAutoFit/>
          </a:bodyPr>
          <a:lstStyle/>
          <a:p>
            <a:pPr algn="r"/>
            <a:r>
              <a:rPr lang="id-ID" sz="1400" b="1" dirty="0" smtClean="0">
                <a:latin typeface="+mj-lt"/>
              </a:rPr>
              <a:t>50%</a:t>
            </a:r>
            <a:endParaRPr lang="id-ID" sz="1400" b="1" dirty="0">
              <a:latin typeface="+mj-lt"/>
            </a:endParaRPr>
          </a:p>
        </p:txBody>
      </p:sp>
      <p:sp>
        <p:nvSpPr>
          <p:cNvPr id="80" name="TextBox 79"/>
          <p:cNvSpPr txBox="1"/>
          <p:nvPr/>
        </p:nvSpPr>
        <p:spPr>
          <a:xfrm>
            <a:off x="7555604" y="1365643"/>
            <a:ext cx="816767" cy="307777"/>
          </a:xfrm>
          <a:prstGeom prst="rect">
            <a:avLst/>
          </a:prstGeom>
          <a:noFill/>
        </p:spPr>
        <p:txBody>
          <a:bodyPr wrap="square" rtlCol="0">
            <a:spAutoFit/>
          </a:bodyPr>
          <a:lstStyle/>
          <a:p>
            <a:pPr algn="ctr"/>
            <a:r>
              <a:rPr lang="id-ID" sz="1400" b="1" dirty="0" smtClean="0">
                <a:latin typeface="+mj-lt"/>
              </a:rPr>
              <a:t>28 bln</a:t>
            </a:r>
            <a:endParaRPr lang="id-ID" sz="1400" b="1" dirty="0">
              <a:latin typeface="+mj-lt"/>
            </a:endParaRPr>
          </a:p>
        </p:txBody>
      </p:sp>
      <p:sp>
        <p:nvSpPr>
          <p:cNvPr id="42" name="Up Arrow Callout 41"/>
          <p:cNvSpPr/>
          <p:nvPr/>
        </p:nvSpPr>
        <p:spPr>
          <a:xfrm>
            <a:off x="7281748" y="3080199"/>
            <a:ext cx="1052016" cy="573200"/>
          </a:xfrm>
          <a:prstGeom prst="upArrowCallou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b="1" dirty="0" smtClean="0">
                <a:solidFill>
                  <a:schemeClr val="tx1"/>
                </a:solidFill>
              </a:rPr>
              <a:t>Fed Tapering </a:t>
            </a:r>
          </a:p>
          <a:p>
            <a:pPr algn="ctr"/>
            <a:r>
              <a:rPr lang="id-ID" sz="1000" b="1" dirty="0" smtClean="0">
                <a:solidFill>
                  <a:schemeClr val="tx1"/>
                </a:solidFill>
              </a:rPr>
              <a:t>22 Mei’15</a:t>
            </a:r>
            <a:endParaRPr lang="id-ID" sz="1000" b="1" dirty="0">
              <a:solidFill>
                <a:schemeClr val="tx1"/>
              </a:solidFill>
            </a:endParaRPr>
          </a:p>
        </p:txBody>
      </p:sp>
      <p:sp>
        <p:nvSpPr>
          <p:cNvPr id="86" name="Up Arrow Callout 85"/>
          <p:cNvSpPr/>
          <p:nvPr/>
        </p:nvSpPr>
        <p:spPr>
          <a:xfrm>
            <a:off x="5080888" y="3277744"/>
            <a:ext cx="1579480" cy="529984"/>
          </a:xfrm>
          <a:prstGeom prst="upArrowCallou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00" b="1" dirty="0" smtClean="0">
                <a:solidFill>
                  <a:schemeClr val="tx1"/>
                </a:solidFill>
              </a:rPr>
              <a:t>Kejatuhan Lehman Brothers 15 Sep ‘08</a:t>
            </a:r>
            <a:endParaRPr lang="id-ID" sz="1000" b="1" dirty="0">
              <a:solidFill>
                <a:schemeClr val="tx1"/>
              </a:solidFill>
            </a:endParaRPr>
          </a:p>
        </p:txBody>
      </p:sp>
      <p:sp>
        <p:nvSpPr>
          <p:cNvPr id="19" name="TextBox 18"/>
          <p:cNvSpPr txBox="1"/>
          <p:nvPr/>
        </p:nvSpPr>
        <p:spPr>
          <a:xfrm>
            <a:off x="6173666" y="6262689"/>
            <a:ext cx="2583473" cy="276225"/>
          </a:xfrm>
          <a:prstGeom prst="rect">
            <a:avLst/>
          </a:prstGeom>
          <a:noFill/>
        </p:spPr>
        <p:txBody>
          <a:bodyPr>
            <a:spAutoFit/>
          </a:bodyPr>
          <a:lstStyle/>
          <a:p>
            <a:pPr algn="r">
              <a:defRPr/>
            </a:pPr>
            <a:r>
              <a:rPr lang="id-ID" sz="1200" b="1" dirty="0">
                <a:latin typeface="+mj-lt"/>
              </a:rPr>
              <a:t>Sumber</a:t>
            </a:r>
            <a:r>
              <a:rPr lang="en-US" sz="1200" b="1" dirty="0">
                <a:latin typeface="+mj-lt"/>
              </a:rPr>
              <a:t>: </a:t>
            </a:r>
            <a:r>
              <a:rPr lang="id-ID" sz="1200" b="1" dirty="0" smtClean="0">
                <a:latin typeface="+mj-lt"/>
              </a:rPr>
              <a:t>Bloomberg</a:t>
            </a:r>
            <a:endParaRPr lang="en-US" sz="1200" b="1" dirty="0">
              <a:latin typeface="+mj-lt"/>
            </a:endParaRPr>
          </a:p>
        </p:txBody>
      </p:sp>
      <p:sp>
        <p:nvSpPr>
          <p:cNvPr id="21" name="TextBox 20"/>
          <p:cNvSpPr txBox="1"/>
          <p:nvPr/>
        </p:nvSpPr>
        <p:spPr>
          <a:xfrm>
            <a:off x="6263867" y="5128288"/>
            <a:ext cx="2583473" cy="276225"/>
          </a:xfrm>
          <a:prstGeom prst="rect">
            <a:avLst/>
          </a:prstGeom>
          <a:noFill/>
        </p:spPr>
        <p:txBody>
          <a:bodyPr>
            <a:spAutoFit/>
          </a:bodyPr>
          <a:lstStyle/>
          <a:p>
            <a:pPr algn="r">
              <a:defRPr/>
            </a:pPr>
            <a:r>
              <a:rPr lang="id-ID" sz="1200" b="1" dirty="0" smtClean="0">
                <a:latin typeface="+mj-lt"/>
              </a:rPr>
              <a:t>Data 25 Sep’15</a:t>
            </a:r>
            <a:endParaRPr lang="en-US" sz="1200" b="1" dirty="0">
              <a:latin typeface="+mj-lt"/>
            </a:endParaRPr>
          </a:p>
        </p:txBody>
      </p:sp>
    </p:spTree>
    <p:extLst>
      <p:ext uri="{BB962C8B-B14F-4D97-AF65-F5344CB8AC3E}">
        <p14:creationId xmlns:p14="http://schemas.microsoft.com/office/powerpoint/2010/main" val="1546590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685800"/>
            <a:ext cx="712470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 y="4343400"/>
            <a:ext cx="7124700" cy="237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13"/>
          <p:cNvGrpSpPr/>
          <p:nvPr/>
        </p:nvGrpSpPr>
        <p:grpSpPr>
          <a:xfrm>
            <a:off x="0" y="0"/>
            <a:ext cx="8656320" cy="548640"/>
            <a:chOff x="0" y="0"/>
            <a:chExt cx="8656320" cy="548640"/>
          </a:xfrm>
        </p:grpSpPr>
        <p:sp>
          <p:nvSpPr>
            <p:cNvPr id="8" name="Rectangle 7"/>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9" name="Rectangle 8"/>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0"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11" name="TextBox 10"/>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3</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17727697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09601"/>
            <a:ext cx="8839200"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1" y="2271228"/>
            <a:ext cx="4572000" cy="4510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1" y="2514600"/>
            <a:ext cx="4191000" cy="344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152401" y="3909294"/>
            <a:ext cx="4572000" cy="1143000"/>
          </a:xfrm>
          <a:prstGeom prst="rect">
            <a:avLst/>
          </a:prstGeom>
          <a:noFill/>
          <a:ln>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3"/>
          <p:cNvGrpSpPr/>
          <p:nvPr/>
        </p:nvGrpSpPr>
        <p:grpSpPr>
          <a:xfrm>
            <a:off x="0" y="0"/>
            <a:ext cx="8656320" cy="548640"/>
            <a:chOff x="0" y="0"/>
            <a:chExt cx="8656320" cy="548640"/>
          </a:xfrm>
        </p:grpSpPr>
        <p:sp>
          <p:nvSpPr>
            <p:cNvPr id="9" name="Rectangle 8"/>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0" name="Rectangle 9"/>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1"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12" name="TextBox 11"/>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4</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6044696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2400" y="685800"/>
            <a:ext cx="4129241" cy="5286375"/>
            <a:chOff x="152400" y="533400"/>
            <a:chExt cx="4129241" cy="5286375"/>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316" y="2743200"/>
              <a:ext cx="4124325" cy="307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533400"/>
              <a:ext cx="412432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0" name="Picture 7"/>
          <p:cNvPicPr>
            <a:picLocks noChangeAspect="1" noChangeArrowheads="1"/>
          </p:cNvPicPr>
          <p:nvPr/>
        </p:nvPicPr>
        <p:blipFill rotWithShape="1">
          <a:blip r:embed="rId4">
            <a:extLst>
              <a:ext uri="{28A0092B-C50C-407E-A947-70E740481C1C}">
                <a14:useLocalDpi xmlns:a14="http://schemas.microsoft.com/office/drawing/2010/main" val="0"/>
              </a:ext>
            </a:extLst>
          </a:blip>
          <a:srcRect l="17335" t="26250" r="70484" b="69583"/>
          <a:stretch/>
        </p:blipFill>
        <p:spPr bwMode="auto">
          <a:xfrm>
            <a:off x="4419600" y="609600"/>
            <a:ext cx="158496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358148" y="855583"/>
            <a:ext cx="4572000" cy="1508105"/>
          </a:xfrm>
          <a:prstGeom prst="rect">
            <a:avLst/>
          </a:prstGeom>
        </p:spPr>
        <p:txBody>
          <a:bodyPr>
            <a:spAutoFit/>
          </a:bodyPr>
          <a:lstStyle/>
          <a:p>
            <a:r>
              <a:rPr lang="en-US" kern="1800" dirty="0" smtClean="0">
                <a:solidFill>
                  <a:srgbClr val="000000"/>
                </a:solidFill>
                <a:effectLst/>
                <a:latin typeface="Helvetica"/>
                <a:ea typeface="Times New Roman"/>
                <a:cs typeface="Times New Roman"/>
              </a:rPr>
              <a:t>Bank Indonesia Steps Up Intervention to Narrow Rupiah </a:t>
            </a:r>
            <a:r>
              <a:rPr lang="en-US" kern="1800" dirty="0" smtClean="0">
                <a:solidFill>
                  <a:srgbClr val="000000"/>
                </a:solidFill>
                <a:effectLst/>
                <a:highlight>
                  <a:srgbClr val="FFFF00"/>
                </a:highlight>
                <a:latin typeface="Helvetica"/>
                <a:ea typeface="Times New Roman"/>
                <a:cs typeface="Times New Roman"/>
              </a:rPr>
              <a:t>Price Gap</a:t>
            </a:r>
            <a:endParaRPr lang="en-US" dirty="0" smtClean="0">
              <a:ea typeface="Calibri"/>
              <a:cs typeface="Times New Roman"/>
            </a:endParaRPr>
          </a:p>
          <a:p>
            <a:r>
              <a:rPr lang="en-US" sz="1600" dirty="0" smtClean="0">
                <a:solidFill>
                  <a:srgbClr val="767676"/>
                </a:solidFill>
                <a:effectLst/>
                <a:latin typeface="Georgia"/>
                <a:ea typeface="Times New Roman"/>
                <a:cs typeface="Times New Roman"/>
              </a:rPr>
              <a:t>by </a:t>
            </a:r>
            <a:r>
              <a:rPr lang="en-US" sz="1600" u="none" strike="noStrike" dirty="0" err="1" smtClean="0">
                <a:solidFill>
                  <a:srgbClr val="262626"/>
                </a:solidFill>
                <a:effectLst/>
                <a:latin typeface="Georgia"/>
                <a:ea typeface="Times New Roman"/>
                <a:cs typeface="Times New Roman"/>
                <a:hlinkClick r:id="rId5"/>
              </a:rPr>
              <a:t>Novrida</a:t>
            </a:r>
            <a:r>
              <a:rPr lang="en-US" sz="1600" u="none" strike="noStrike" dirty="0" smtClean="0">
                <a:solidFill>
                  <a:srgbClr val="262626"/>
                </a:solidFill>
                <a:effectLst/>
                <a:latin typeface="Georgia"/>
                <a:ea typeface="Times New Roman"/>
                <a:cs typeface="Times New Roman"/>
                <a:hlinkClick r:id="rId5"/>
              </a:rPr>
              <a:t> </a:t>
            </a:r>
            <a:r>
              <a:rPr lang="en-US" sz="1600" u="none" strike="noStrike" dirty="0" err="1" smtClean="0">
                <a:solidFill>
                  <a:srgbClr val="262626"/>
                </a:solidFill>
                <a:effectLst/>
                <a:latin typeface="Georgia"/>
                <a:ea typeface="Times New Roman"/>
                <a:cs typeface="Times New Roman"/>
                <a:hlinkClick r:id="rId5"/>
              </a:rPr>
              <a:t>Manurung</a:t>
            </a:r>
            <a:r>
              <a:rPr lang="en-US" sz="1600" u="none" strike="noStrike" dirty="0" err="1" smtClean="0">
                <a:solidFill>
                  <a:srgbClr val="262626"/>
                </a:solidFill>
                <a:effectLst/>
                <a:latin typeface="Georgia"/>
                <a:ea typeface="Times New Roman"/>
                <a:cs typeface="Times New Roman"/>
                <a:hlinkClick r:id="rId6"/>
              </a:rPr>
              <a:t>Yudith</a:t>
            </a:r>
            <a:r>
              <a:rPr lang="en-US" sz="1600" u="none" strike="noStrike" dirty="0" smtClean="0">
                <a:solidFill>
                  <a:srgbClr val="262626"/>
                </a:solidFill>
                <a:effectLst/>
                <a:latin typeface="Georgia"/>
                <a:ea typeface="Times New Roman"/>
                <a:cs typeface="Times New Roman"/>
                <a:hlinkClick r:id="rId6"/>
              </a:rPr>
              <a:t> Ho</a:t>
            </a:r>
            <a:endParaRPr lang="en-US" sz="1200" dirty="0" smtClean="0">
              <a:ea typeface="Calibri"/>
              <a:cs typeface="Times New Roman"/>
            </a:endParaRPr>
          </a:p>
          <a:p>
            <a:r>
              <a:rPr lang="en-US" sz="1600" dirty="0" smtClean="0">
                <a:solidFill>
                  <a:srgbClr val="262626"/>
                </a:solidFill>
                <a:effectLst/>
                <a:highlight>
                  <a:srgbClr val="FFFF00"/>
                </a:highlight>
                <a:latin typeface="Georgia"/>
                <a:ea typeface="Times New Roman"/>
                <a:cs typeface="Times New Roman"/>
              </a:rPr>
              <a:t>January 29</a:t>
            </a:r>
            <a:r>
              <a:rPr lang="en-US" sz="1600" dirty="0" smtClean="0">
                <a:solidFill>
                  <a:srgbClr val="262626"/>
                </a:solidFill>
                <a:effectLst/>
                <a:latin typeface="Georgia"/>
                <a:ea typeface="Times New Roman"/>
                <a:cs typeface="Times New Roman"/>
              </a:rPr>
              <a:t>, 2013 — 12:00 AM ICT</a:t>
            </a:r>
            <a:endParaRPr lang="en-US" sz="1200" dirty="0" smtClean="0">
              <a:ea typeface="Calibri"/>
              <a:cs typeface="Times New Roman"/>
            </a:endParaRPr>
          </a:p>
          <a:p>
            <a:r>
              <a:rPr lang="en-US" sz="1200" dirty="0" smtClean="0">
                <a:solidFill>
                  <a:srgbClr val="3C3C3C"/>
                </a:solidFill>
                <a:effectLst/>
                <a:latin typeface="Georgia"/>
                <a:ea typeface="Times New Roman"/>
                <a:cs typeface="Times New Roman"/>
                <a:hlinkClick r:id="rId7"/>
              </a:rPr>
              <a:t>http://www.bloomberg.com/news/articles/2013-01-28/bank-indonesia-steps-up-intervention-to-narrow-rupiah-price-gap</a:t>
            </a:r>
            <a:endParaRPr lang="en-US" sz="1200" dirty="0" smtClean="0">
              <a:solidFill>
                <a:srgbClr val="3C3C3C"/>
              </a:solidFill>
              <a:effectLst/>
              <a:latin typeface="Georgia"/>
              <a:ea typeface="Times New Roman"/>
              <a:cs typeface="Times New Roman"/>
            </a:endParaRPr>
          </a:p>
        </p:txBody>
      </p:sp>
      <p:sp>
        <p:nvSpPr>
          <p:cNvPr id="12" name="Rectangle 11"/>
          <p:cNvSpPr/>
          <p:nvPr/>
        </p:nvSpPr>
        <p:spPr>
          <a:xfrm>
            <a:off x="4343400" y="2457033"/>
            <a:ext cx="4650658" cy="4401205"/>
          </a:xfrm>
          <a:prstGeom prst="rect">
            <a:avLst/>
          </a:prstGeom>
        </p:spPr>
        <p:txBody>
          <a:bodyPr wrap="square">
            <a:spAutoFit/>
          </a:bodyPr>
          <a:lstStyle/>
          <a:p>
            <a:r>
              <a:rPr lang="en-US" sz="1400" dirty="0" smtClean="0">
                <a:solidFill>
                  <a:srgbClr val="3C3C3C"/>
                </a:solidFill>
                <a:effectLst/>
                <a:latin typeface="Georgia"/>
                <a:ea typeface="Times New Roman"/>
                <a:cs typeface="Times New Roman"/>
              </a:rPr>
              <a:t>Jan. 29 (Bloomberg) -- Indonesia’s central bank stepped up intervention in the past two weeks …. and narrow the gap between local and overseas prices, said Hendar, executive director for monetary policy…...“We are increasing the supply of dollars in the currency market to restore market confidence,” Hendar, who goes by only one name, said in a telephone interview from Jakarta yesterday. “This is in line with our effort to not have a dual foreign-exchange market. We are leaning toward seeing a narrower gap between the rupiah’s onshore and offshore levels.”</a:t>
            </a:r>
            <a:endParaRPr lang="en-US" sz="1400" dirty="0">
              <a:ea typeface="Calibri"/>
              <a:cs typeface="Times New Roman"/>
            </a:endParaRPr>
          </a:p>
          <a:p>
            <a:r>
              <a:rPr lang="en-US" sz="1400" dirty="0" smtClean="0">
                <a:solidFill>
                  <a:srgbClr val="3C3C3C"/>
                </a:solidFill>
                <a:effectLst/>
                <a:latin typeface="Georgia"/>
                <a:ea typeface="Times New Roman"/>
                <a:cs typeface="Times New Roman"/>
              </a:rPr>
              <a:t>The difference between rupiah quotes within Indonesia and those outside reached 2.6 percent on Jan. 11, the widest since Sept. 22, 2011. Analysts at HSBC Holdings </a:t>
            </a:r>
            <a:r>
              <a:rPr lang="en-US" sz="1400" dirty="0" err="1" smtClean="0">
                <a:solidFill>
                  <a:srgbClr val="3C3C3C"/>
                </a:solidFill>
                <a:effectLst/>
                <a:latin typeface="Georgia"/>
                <a:ea typeface="Times New Roman"/>
                <a:cs typeface="Times New Roman"/>
              </a:rPr>
              <a:t>Plc</a:t>
            </a:r>
            <a:r>
              <a:rPr lang="en-US" sz="1400" dirty="0" smtClean="0">
                <a:solidFill>
                  <a:srgbClr val="3C3C3C"/>
                </a:solidFill>
                <a:effectLst/>
                <a:latin typeface="Georgia"/>
                <a:ea typeface="Times New Roman"/>
                <a:cs typeface="Times New Roman"/>
              </a:rPr>
              <a:t> led by Paul </a:t>
            </a:r>
            <a:r>
              <a:rPr lang="en-US" sz="1400" dirty="0" err="1" smtClean="0">
                <a:solidFill>
                  <a:srgbClr val="3C3C3C"/>
                </a:solidFill>
                <a:effectLst/>
                <a:latin typeface="Georgia"/>
                <a:ea typeface="Times New Roman"/>
                <a:cs typeface="Times New Roman"/>
              </a:rPr>
              <a:t>Mackel</a:t>
            </a:r>
            <a:r>
              <a:rPr lang="en-US" sz="1400" dirty="0" smtClean="0">
                <a:solidFill>
                  <a:srgbClr val="3C3C3C"/>
                </a:solidFill>
                <a:effectLst/>
                <a:latin typeface="Georgia"/>
                <a:ea typeface="Times New Roman"/>
                <a:cs typeface="Times New Roman"/>
              </a:rPr>
              <a:t> in Hong Kong wrote in a research note on Jan. 11 that the “two-tiered market” for the rupiah may prompt companies to hoard dollars and Indonesians to prefer holding foreign currencies.</a:t>
            </a:r>
            <a:endParaRPr lang="en-US" sz="1400" dirty="0">
              <a:ea typeface="Calibri"/>
              <a:cs typeface="Times New Roman"/>
            </a:endParaRPr>
          </a:p>
          <a:p>
            <a:r>
              <a:rPr lang="en-US" sz="1400" dirty="0" smtClean="0">
                <a:solidFill>
                  <a:srgbClr val="3C3C3C"/>
                </a:solidFill>
                <a:effectLst/>
                <a:latin typeface="Georgia"/>
                <a:ea typeface="Times New Roman"/>
                <a:cs typeface="Times New Roman"/>
              </a:rPr>
              <a:t>The spread declined to the least in a month after Hendar said it has increased intervention. </a:t>
            </a:r>
            <a:endParaRPr lang="en-US" sz="1400" dirty="0">
              <a:ea typeface="Calibri"/>
              <a:cs typeface="Times New Roman"/>
            </a:endParaRPr>
          </a:p>
        </p:txBody>
      </p:sp>
      <p:grpSp>
        <p:nvGrpSpPr>
          <p:cNvPr id="11" name="Group 13"/>
          <p:cNvGrpSpPr/>
          <p:nvPr/>
        </p:nvGrpSpPr>
        <p:grpSpPr>
          <a:xfrm>
            <a:off x="0" y="0"/>
            <a:ext cx="8656320" cy="548640"/>
            <a:chOff x="0" y="0"/>
            <a:chExt cx="8656320" cy="548640"/>
          </a:xfrm>
        </p:grpSpPr>
        <p:sp>
          <p:nvSpPr>
            <p:cNvPr id="13" name="Rectangle 12"/>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4" name="Rectangle 13"/>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5"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16" name="TextBox 15"/>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5</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812369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roup 13"/>
          <p:cNvGrpSpPr/>
          <p:nvPr/>
        </p:nvGrpSpPr>
        <p:grpSpPr>
          <a:xfrm>
            <a:off x="0" y="0"/>
            <a:ext cx="8656320" cy="548640"/>
            <a:chOff x="0" y="0"/>
            <a:chExt cx="8656320" cy="548640"/>
          </a:xfrm>
        </p:grpSpPr>
        <p:sp>
          <p:nvSpPr>
            <p:cNvPr id="42" name="Rectangle 41"/>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43" name="Rectangle 42"/>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44" name="Title 1"/>
          <p:cNvSpPr>
            <a:spLocks noGrp="1"/>
          </p:cNvSpPr>
          <p:nvPr>
            <p:ph type="title"/>
          </p:nvPr>
        </p:nvSpPr>
        <p:spPr>
          <a:xfrm>
            <a:off x="0" y="26894"/>
            <a:ext cx="9144000" cy="487362"/>
          </a:xfrm>
        </p:spPr>
        <p:txBody>
          <a:bodyPr/>
          <a:lstStyle/>
          <a:p>
            <a:pPr algn="just"/>
            <a:r>
              <a:rPr lang="id-ID" sz="2400" dirty="0" smtClean="0">
                <a:solidFill>
                  <a:srgbClr val="000066"/>
                </a:solidFill>
                <a:latin typeface="Eras Demi ITC" pitchFamily="34" charset="0"/>
              </a:rPr>
              <a:t>Indikator Market</a:t>
            </a:r>
            <a:endParaRPr lang="en-US" sz="2400" dirty="0">
              <a:solidFill>
                <a:srgbClr val="000066"/>
              </a:solidFill>
              <a:latin typeface="Eras Demi ITC" pitchFamily="34" charset="0"/>
            </a:endParaRPr>
          </a:p>
        </p:txBody>
      </p:sp>
      <p:sp>
        <p:nvSpPr>
          <p:cNvPr id="45" name="TextBox 44"/>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6</a:t>
            </a:fld>
            <a:endParaRPr lang="en-US" altLang="id-ID" sz="1800" b="1" dirty="0" smtClean="0">
              <a:solidFill>
                <a:srgbClr val="C00000"/>
              </a:solidFill>
              <a:cs typeface="Arial" pitchFamily="34" charset="0"/>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0682" t="2425" r="53257" b="24713"/>
          <a:stretch/>
        </p:blipFill>
        <p:spPr bwMode="auto">
          <a:xfrm>
            <a:off x="902855" y="1143000"/>
            <a:ext cx="3177309" cy="4996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3257" t="12256" r="47273" b="43569"/>
          <a:stretch/>
        </p:blipFill>
        <p:spPr bwMode="auto">
          <a:xfrm>
            <a:off x="4484255" y="1295400"/>
            <a:ext cx="3592945" cy="3029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20227" t="63165" r="52187" b="11380"/>
          <a:stretch/>
        </p:blipFill>
        <p:spPr bwMode="auto">
          <a:xfrm>
            <a:off x="4484255" y="4357254"/>
            <a:ext cx="3592945" cy="1864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562010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19" name="Group 2"/>
          <p:cNvGrpSpPr>
            <a:grpSpLocks/>
          </p:cNvGrpSpPr>
          <p:nvPr/>
        </p:nvGrpSpPr>
        <p:grpSpPr bwMode="auto">
          <a:xfrm>
            <a:off x="1295400" y="2209800"/>
            <a:ext cx="6516688" cy="2700337"/>
            <a:chOff x="826" y="10168"/>
            <a:chExt cx="9567" cy="3780"/>
          </a:xfrm>
        </p:grpSpPr>
        <p:sp>
          <p:nvSpPr>
            <p:cNvPr id="9229" name="Rectangle 3"/>
            <p:cNvSpPr>
              <a:spLocks noChangeArrowheads="1"/>
            </p:cNvSpPr>
            <p:nvPr/>
          </p:nvSpPr>
          <p:spPr bwMode="auto">
            <a:xfrm>
              <a:off x="3886" y="10168"/>
              <a:ext cx="3420" cy="2748"/>
            </a:xfrm>
            <a:prstGeom prst="rect">
              <a:avLst/>
            </a:prstGeom>
            <a:solidFill>
              <a:srgbClr val="CCFFFF"/>
            </a:solidFill>
            <a:ln w="9525">
              <a:solidFill>
                <a:srgbClr val="000000"/>
              </a:solidFill>
              <a:miter lim="800000"/>
              <a:headEnd/>
              <a:tailEnd/>
            </a:ln>
          </p:spPr>
          <p:txBody>
            <a:bodyPr/>
            <a:lstStyle/>
            <a:p>
              <a:endParaRPr lang="id-ID">
                <a:latin typeface="Frutiger 55 Roman"/>
              </a:endParaRPr>
            </a:p>
          </p:txBody>
        </p:sp>
        <p:sp>
          <p:nvSpPr>
            <p:cNvPr id="9230" name="Text Box 4"/>
            <p:cNvSpPr txBox="1">
              <a:spLocks noChangeArrowheads="1"/>
            </p:cNvSpPr>
            <p:nvPr/>
          </p:nvSpPr>
          <p:spPr bwMode="auto">
            <a:xfrm>
              <a:off x="4021" y="10396"/>
              <a:ext cx="1125" cy="540"/>
            </a:xfrm>
            <a:prstGeom prst="rect">
              <a:avLst/>
            </a:prstGeom>
            <a:solidFill>
              <a:srgbClr val="FFCC99"/>
            </a:solidFill>
            <a:ln w="9525">
              <a:solidFill>
                <a:srgbClr val="000000"/>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1000"/>
                </a:spcAft>
              </a:pPr>
              <a:r>
                <a:rPr lang="en-US" sz="1000" b="1">
                  <a:latin typeface="Franklin Gothic Book" pitchFamily="34" charset="0"/>
                </a:rPr>
                <a:t>State/GovBanks</a:t>
              </a:r>
              <a:endParaRPr lang="en-US" sz="2000" b="1"/>
            </a:p>
          </p:txBody>
        </p:sp>
        <p:sp>
          <p:nvSpPr>
            <p:cNvPr id="9231" name="Text Box 5"/>
            <p:cNvSpPr txBox="1">
              <a:spLocks noChangeArrowheads="1"/>
            </p:cNvSpPr>
            <p:nvPr/>
          </p:nvSpPr>
          <p:spPr bwMode="auto">
            <a:xfrm>
              <a:off x="6046" y="10396"/>
              <a:ext cx="1080" cy="540"/>
            </a:xfrm>
            <a:prstGeom prst="rect">
              <a:avLst/>
            </a:prstGeom>
            <a:solidFill>
              <a:srgbClr val="C0C0C0"/>
            </a:solidFill>
            <a:ln w="9525">
              <a:solidFill>
                <a:srgbClr val="000000"/>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1000"/>
                </a:spcAft>
              </a:pPr>
              <a:r>
                <a:rPr lang="en-US" sz="1000" b="1">
                  <a:latin typeface="Franklin Gothic Book" pitchFamily="34" charset="0"/>
                </a:rPr>
                <a:t>Private Banks</a:t>
              </a:r>
              <a:endParaRPr lang="en-US" sz="2000" b="1"/>
            </a:p>
          </p:txBody>
        </p:sp>
        <p:sp>
          <p:nvSpPr>
            <p:cNvPr id="9232" name="Text Box 6"/>
            <p:cNvSpPr txBox="1">
              <a:spLocks noChangeArrowheads="1"/>
            </p:cNvSpPr>
            <p:nvPr/>
          </p:nvSpPr>
          <p:spPr bwMode="auto">
            <a:xfrm>
              <a:off x="6046" y="12244"/>
              <a:ext cx="1121" cy="540"/>
            </a:xfrm>
            <a:prstGeom prst="rect">
              <a:avLst/>
            </a:prstGeom>
            <a:solidFill>
              <a:srgbClr val="CCFFCC"/>
            </a:solidFill>
            <a:ln w="9525">
              <a:solidFill>
                <a:srgbClr val="000000"/>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1000"/>
                </a:spcAft>
              </a:pPr>
              <a:r>
                <a:rPr lang="en-US" sz="1000" b="1">
                  <a:latin typeface="Franklin Gothic Book" pitchFamily="34" charset="0"/>
                </a:rPr>
                <a:t>Joint Vent. Banks</a:t>
              </a:r>
              <a:endParaRPr lang="en-US" sz="2400" b="1"/>
            </a:p>
          </p:txBody>
        </p:sp>
        <p:sp>
          <p:nvSpPr>
            <p:cNvPr id="9233" name="Text Box 7"/>
            <p:cNvSpPr txBox="1">
              <a:spLocks noChangeArrowheads="1"/>
            </p:cNvSpPr>
            <p:nvPr/>
          </p:nvSpPr>
          <p:spPr bwMode="auto">
            <a:xfrm>
              <a:off x="4066" y="12244"/>
              <a:ext cx="1080" cy="540"/>
            </a:xfrm>
            <a:prstGeom prst="rect">
              <a:avLst/>
            </a:prstGeom>
            <a:solidFill>
              <a:srgbClr val="FFFF99"/>
            </a:solidFill>
            <a:ln w="9525">
              <a:solidFill>
                <a:srgbClr val="000000"/>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1000"/>
                </a:spcAft>
              </a:pPr>
              <a:r>
                <a:rPr lang="en-US" sz="1000" b="1">
                  <a:latin typeface="Franklin Gothic Book" pitchFamily="34" charset="0"/>
                </a:rPr>
                <a:t>Foreign Banks</a:t>
              </a:r>
              <a:endParaRPr lang="en-US" sz="2000" b="1"/>
            </a:p>
          </p:txBody>
        </p:sp>
        <p:sp>
          <p:nvSpPr>
            <p:cNvPr id="9234" name="Line 8"/>
            <p:cNvSpPr>
              <a:spLocks noChangeShapeType="1"/>
            </p:cNvSpPr>
            <p:nvPr/>
          </p:nvSpPr>
          <p:spPr bwMode="auto">
            <a:xfrm>
              <a:off x="5146" y="10576"/>
              <a:ext cx="900" cy="0"/>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35" name="Line 9"/>
            <p:cNvSpPr>
              <a:spLocks noChangeShapeType="1"/>
            </p:cNvSpPr>
            <p:nvPr/>
          </p:nvSpPr>
          <p:spPr bwMode="auto">
            <a:xfrm>
              <a:off x="5146" y="12604"/>
              <a:ext cx="900" cy="0"/>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36" name="Line 10"/>
            <p:cNvSpPr>
              <a:spLocks noChangeShapeType="1"/>
            </p:cNvSpPr>
            <p:nvPr/>
          </p:nvSpPr>
          <p:spPr bwMode="auto">
            <a:xfrm>
              <a:off x="6766" y="10935"/>
              <a:ext cx="0" cy="1309"/>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37" name="Line 11"/>
            <p:cNvSpPr>
              <a:spLocks noChangeShapeType="1"/>
            </p:cNvSpPr>
            <p:nvPr/>
          </p:nvSpPr>
          <p:spPr bwMode="auto">
            <a:xfrm>
              <a:off x="4426" y="10935"/>
              <a:ext cx="0" cy="1309"/>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15" name="Text Box 12"/>
            <p:cNvSpPr txBox="1">
              <a:spLocks noChangeArrowheads="1"/>
            </p:cNvSpPr>
            <p:nvPr/>
          </p:nvSpPr>
          <p:spPr bwMode="auto">
            <a:xfrm>
              <a:off x="826" y="10381"/>
              <a:ext cx="2519" cy="1098"/>
            </a:xfrm>
            <a:prstGeom prst="rect">
              <a:avLst/>
            </a:prstGeom>
            <a:noFill/>
            <a:ln w="9525">
              <a:solidFill>
                <a:schemeClr val="accent6"/>
              </a:solidFill>
              <a:miter lim="800000"/>
              <a:headEnd/>
              <a:tailEnd/>
            </a:ln>
          </p:spPr>
          <p:txBody>
            <a:bodyPr/>
            <a:lstStyle/>
            <a:p>
              <a:pPr algn="ctr">
                <a:spcAft>
                  <a:spcPts val="1000"/>
                </a:spcAft>
                <a:defRPr/>
              </a:pPr>
              <a:r>
                <a:rPr lang="en-US" sz="1200" b="1" dirty="0">
                  <a:latin typeface="Franklin Gothic Book" pitchFamily="34" charset="0"/>
                  <a:ea typeface="ＭＳ Ｐゴシック" pitchFamily="34" charset="-128"/>
                </a:rPr>
                <a:t>Domestic Corporations</a:t>
              </a:r>
            </a:p>
            <a:p>
              <a:pPr algn="ctr">
                <a:spcAft>
                  <a:spcPts val="1000"/>
                </a:spcAft>
                <a:defRPr/>
              </a:pPr>
              <a:r>
                <a:rPr lang="en-US" sz="1200" dirty="0">
                  <a:latin typeface="Franklin Gothic Book" pitchFamily="34" charset="0"/>
                  <a:ea typeface="ＭＳ Ｐゴシック" pitchFamily="34" charset="-128"/>
                </a:rPr>
                <a:t>Exporters, Importers, Non Bank Fin. Inst, etc</a:t>
              </a:r>
              <a:endParaRPr lang="en-US" sz="2000" dirty="0">
                <a:latin typeface="Arial" charset="0"/>
                <a:ea typeface="ＭＳ Ｐゴシック" pitchFamily="34" charset="-128"/>
              </a:endParaRPr>
            </a:p>
          </p:txBody>
        </p:sp>
        <p:sp>
          <p:nvSpPr>
            <p:cNvPr id="9239" name="Text Box 13"/>
            <p:cNvSpPr txBox="1">
              <a:spLocks noChangeArrowheads="1"/>
            </p:cNvSpPr>
            <p:nvPr/>
          </p:nvSpPr>
          <p:spPr bwMode="auto">
            <a:xfrm>
              <a:off x="4294" y="13474"/>
              <a:ext cx="2769" cy="474"/>
            </a:xfrm>
            <a:prstGeom prst="rect">
              <a:avLst/>
            </a:prstGeom>
            <a:solidFill>
              <a:srgbClr val="99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600" b="1">
                  <a:solidFill>
                    <a:schemeClr val="bg1"/>
                  </a:solidFill>
                </a:rPr>
                <a:t>Bank Indonesia</a:t>
              </a:r>
            </a:p>
          </p:txBody>
        </p:sp>
        <p:sp>
          <p:nvSpPr>
            <p:cNvPr id="17" name="Text Box 14"/>
            <p:cNvSpPr txBox="1">
              <a:spLocks noChangeArrowheads="1"/>
            </p:cNvSpPr>
            <p:nvPr/>
          </p:nvSpPr>
          <p:spPr bwMode="auto">
            <a:xfrm>
              <a:off x="826" y="11835"/>
              <a:ext cx="2519" cy="900"/>
            </a:xfrm>
            <a:prstGeom prst="rect">
              <a:avLst/>
            </a:prstGeom>
            <a:noFill/>
            <a:ln w="9525">
              <a:solidFill>
                <a:schemeClr val="accent6"/>
              </a:solidFill>
              <a:miter lim="800000"/>
              <a:headEnd/>
              <a:tailEnd/>
            </a:ln>
          </p:spPr>
          <p:txBody>
            <a:bodyPr/>
            <a:lstStyle/>
            <a:p>
              <a:pPr algn="ctr">
                <a:spcAft>
                  <a:spcPts val="1000"/>
                </a:spcAft>
                <a:defRPr/>
              </a:pPr>
              <a:r>
                <a:rPr lang="en-US" sz="1200" b="1" dirty="0">
                  <a:latin typeface="Franklin Gothic Book" pitchFamily="34" charset="0"/>
                  <a:ea typeface="ＭＳ Ｐゴシック" pitchFamily="34" charset="-128"/>
                </a:rPr>
                <a:t>Individual  </a:t>
              </a:r>
              <a:r>
                <a:rPr lang="en-US" sz="1200" dirty="0">
                  <a:latin typeface="Franklin Gothic Book" pitchFamily="34" charset="0"/>
                  <a:ea typeface="ＭＳ Ｐゴシック" pitchFamily="34" charset="-128"/>
                </a:rPr>
                <a:t>(Include Money Changers)</a:t>
              </a:r>
              <a:endParaRPr lang="en-US" sz="2000" dirty="0">
                <a:latin typeface="Arial" charset="0"/>
                <a:ea typeface="ＭＳ Ｐゴシック" pitchFamily="34" charset="-128"/>
              </a:endParaRPr>
            </a:p>
          </p:txBody>
        </p:sp>
        <p:sp>
          <p:nvSpPr>
            <p:cNvPr id="18" name="Text Box 15"/>
            <p:cNvSpPr txBox="1">
              <a:spLocks noChangeArrowheads="1"/>
            </p:cNvSpPr>
            <p:nvPr/>
          </p:nvSpPr>
          <p:spPr bwMode="auto">
            <a:xfrm>
              <a:off x="7846" y="11835"/>
              <a:ext cx="2519" cy="873"/>
            </a:xfrm>
            <a:prstGeom prst="rect">
              <a:avLst/>
            </a:prstGeom>
            <a:noFill/>
            <a:ln w="9525">
              <a:solidFill>
                <a:schemeClr val="accent6"/>
              </a:solidFill>
              <a:miter lim="800000"/>
              <a:headEnd/>
              <a:tailEnd/>
            </a:ln>
          </p:spPr>
          <p:txBody>
            <a:bodyPr/>
            <a:lstStyle/>
            <a:p>
              <a:pPr algn="ctr">
                <a:spcAft>
                  <a:spcPts val="1000"/>
                </a:spcAft>
                <a:defRPr/>
              </a:pPr>
              <a:r>
                <a:rPr lang="en-US" sz="1200" b="1" dirty="0">
                  <a:latin typeface="Franklin Gothic Book" pitchFamily="34" charset="0"/>
                  <a:ea typeface="ＭＳ Ｐゴシック" pitchFamily="34" charset="-128"/>
                </a:rPr>
                <a:t>Other Foreign Corporations</a:t>
              </a:r>
            </a:p>
          </p:txBody>
        </p:sp>
        <p:sp>
          <p:nvSpPr>
            <p:cNvPr id="19" name="Text Box 16"/>
            <p:cNvSpPr txBox="1">
              <a:spLocks noChangeArrowheads="1"/>
            </p:cNvSpPr>
            <p:nvPr/>
          </p:nvSpPr>
          <p:spPr bwMode="auto">
            <a:xfrm>
              <a:off x="7874" y="10381"/>
              <a:ext cx="2519" cy="1098"/>
            </a:xfrm>
            <a:prstGeom prst="rect">
              <a:avLst/>
            </a:prstGeom>
            <a:noFill/>
            <a:ln w="9525">
              <a:solidFill>
                <a:schemeClr val="accent6"/>
              </a:solidFill>
              <a:miter lim="800000"/>
              <a:headEnd/>
              <a:tailEnd/>
            </a:ln>
          </p:spPr>
          <p:txBody>
            <a:bodyPr/>
            <a:lstStyle/>
            <a:p>
              <a:pPr algn="ctr">
                <a:spcAft>
                  <a:spcPts val="1000"/>
                </a:spcAft>
                <a:defRPr/>
              </a:pPr>
              <a:r>
                <a:rPr lang="en-US" sz="1200" b="1" dirty="0">
                  <a:latin typeface="Franklin Gothic Book" pitchFamily="34" charset="0"/>
                  <a:ea typeface="ＭＳ Ｐゴシック" pitchFamily="34" charset="-128"/>
                </a:rPr>
                <a:t>Offshore Financial Institutions</a:t>
              </a:r>
              <a:endParaRPr lang="en-US" sz="2000" dirty="0">
                <a:latin typeface="Arial" charset="0"/>
                <a:ea typeface="ＭＳ Ｐゴシック" pitchFamily="34" charset="-128"/>
              </a:endParaRPr>
            </a:p>
          </p:txBody>
        </p:sp>
        <p:sp>
          <p:nvSpPr>
            <p:cNvPr id="9243" name="Line 17"/>
            <p:cNvSpPr>
              <a:spLocks noChangeShapeType="1"/>
            </p:cNvSpPr>
            <p:nvPr/>
          </p:nvSpPr>
          <p:spPr bwMode="auto">
            <a:xfrm flipV="1">
              <a:off x="5686" y="10935"/>
              <a:ext cx="360" cy="360"/>
            </a:xfrm>
            <a:prstGeom prst="line">
              <a:avLst/>
            </a:prstGeom>
            <a:noFill/>
            <a:ln w="9525">
              <a:solidFill>
                <a:srgbClr val="80808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44" name="Line 18"/>
            <p:cNvSpPr>
              <a:spLocks noChangeShapeType="1"/>
            </p:cNvSpPr>
            <p:nvPr/>
          </p:nvSpPr>
          <p:spPr bwMode="auto">
            <a:xfrm flipH="1" flipV="1">
              <a:off x="5146" y="10935"/>
              <a:ext cx="360" cy="360"/>
            </a:xfrm>
            <a:prstGeom prst="line">
              <a:avLst/>
            </a:prstGeom>
            <a:noFill/>
            <a:ln w="9525">
              <a:solidFill>
                <a:srgbClr val="80808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45" name="Line 19"/>
            <p:cNvSpPr>
              <a:spLocks noChangeShapeType="1"/>
            </p:cNvSpPr>
            <p:nvPr/>
          </p:nvSpPr>
          <p:spPr bwMode="auto">
            <a:xfrm flipH="1">
              <a:off x="5146" y="11835"/>
              <a:ext cx="360" cy="360"/>
            </a:xfrm>
            <a:prstGeom prst="line">
              <a:avLst/>
            </a:prstGeom>
            <a:noFill/>
            <a:ln w="9525">
              <a:solidFill>
                <a:srgbClr val="80808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46" name="Line 20"/>
            <p:cNvSpPr>
              <a:spLocks noChangeShapeType="1"/>
            </p:cNvSpPr>
            <p:nvPr/>
          </p:nvSpPr>
          <p:spPr bwMode="auto">
            <a:xfrm>
              <a:off x="5686" y="11835"/>
              <a:ext cx="360" cy="360"/>
            </a:xfrm>
            <a:prstGeom prst="line">
              <a:avLst/>
            </a:prstGeom>
            <a:noFill/>
            <a:ln w="9525">
              <a:solidFill>
                <a:srgbClr val="808080"/>
              </a:solidFill>
              <a:prstDash val="dash"/>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47" name="AutoShape 21"/>
            <p:cNvSpPr>
              <a:spLocks noChangeArrowheads="1"/>
            </p:cNvSpPr>
            <p:nvPr/>
          </p:nvSpPr>
          <p:spPr bwMode="auto">
            <a:xfrm>
              <a:off x="7306" y="12015"/>
              <a:ext cx="540" cy="360"/>
            </a:xfrm>
            <a:prstGeom prst="leftRightArrow">
              <a:avLst>
                <a:gd name="adj1" fmla="val 33333"/>
                <a:gd name="adj2" fmla="val 30000"/>
              </a:avLst>
            </a:prstGeom>
            <a:solidFill>
              <a:srgbClr val="FFFFFF"/>
            </a:solidFill>
            <a:ln w="9525">
              <a:solidFill>
                <a:srgbClr val="000000"/>
              </a:solidFill>
              <a:miter lim="800000"/>
              <a:headEnd/>
              <a:tailEnd/>
            </a:ln>
          </p:spPr>
          <p:txBody>
            <a:bodyPr/>
            <a:lstStyle/>
            <a:p>
              <a:endParaRPr lang="id-ID">
                <a:latin typeface="Frutiger 55 Roman"/>
              </a:endParaRPr>
            </a:p>
          </p:txBody>
        </p:sp>
        <p:sp>
          <p:nvSpPr>
            <p:cNvPr id="9248" name="AutoShape 22"/>
            <p:cNvSpPr>
              <a:spLocks noChangeArrowheads="1"/>
            </p:cNvSpPr>
            <p:nvPr/>
          </p:nvSpPr>
          <p:spPr bwMode="auto">
            <a:xfrm>
              <a:off x="3346" y="12015"/>
              <a:ext cx="540" cy="360"/>
            </a:xfrm>
            <a:prstGeom prst="leftRightArrow">
              <a:avLst>
                <a:gd name="adj1" fmla="val 33333"/>
                <a:gd name="adj2" fmla="val 30000"/>
              </a:avLst>
            </a:prstGeom>
            <a:solidFill>
              <a:srgbClr val="FFFFFF"/>
            </a:solidFill>
            <a:ln w="9525">
              <a:solidFill>
                <a:srgbClr val="000000"/>
              </a:solidFill>
              <a:miter lim="800000"/>
              <a:headEnd/>
              <a:tailEnd/>
            </a:ln>
          </p:spPr>
          <p:txBody>
            <a:bodyPr/>
            <a:lstStyle/>
            <a:p>
              <a:endParaRPr lang="id-ID">
                <a:latin typeface="Frutiger 55 Roman"/>
              </a:endParaRPr>
            </a:p>
          </p:txBody>
        </p:sp>
        <p:sp>
          <p:nvSpPr>
            <p:cNvPr id="9249" name="AutoShape 23"/>
            <p:cNvSpPr>
              <a:spLocks noChangeArrowheads="1"/>
            </p:cNvSpPr>
            <p:nvPr/>
          </p:nvSpPr>
          <p:spPr bwMode="auto">
            <a:xfrm>
              <a:off x="3346" y="10756"/>
              <a:ext cx="540" cy="360"/>
            </a:xfrm>
            <a:prstGeom prst="leftRightArrow">
              <a:avLst>
                <a:gd name="adj1" fmla="val 33333"/>
                <a:gd name="adj2" fmla="val 30000"/>
              </a:avLst>
            </a:prstGeom>
            <a:solidFill>
              <a:srgbClr val="FFFFFF"/>
            </a:solidFill>
            <a:ln w="9525">
              <a:solidFill>
                <a:srgbClr val="000000"/>
              </a:solidFill>
              <a:miter lim="800000"/>
              <a:headEnd/>
              <a:tailEnd/>
            </a:ln>
          </p:spPr>
          <p:txBody>
            <a:bodyPr/>
            <a:lstStyle/>
            <a:p>
              <a:endParaRPr lang="id-ID">
                <a:latin typeface="Frutiger 55 Roman"/>
              </a:endParaRPr>
            </a:p>
          </p:txBody>
        </p:sp>
        <p:sp>
          <p:nvSpPr>
            <p:cNvPr id="9250" name="AutoShape 24"/>
            <p:cNvSpPr>
              <a:spLocks noChangeArrowheads="1"/>
            </p:cNvSpPr>
            <p:nvPr/>
          </p:nvSpPr>
          <p:spPr bwMode="auto">
            <a:xfrm>
              <a:off x="7306" y="10756"/>
              <a:ext cx="540" cy="360"/>
            </a:xfrm>
            <a:prstGeom prst="leftRightArrow">
              <a:avLst>
                <a:gd name="adj1" fmla="val 33333"/>
                <a:gd name="adj2" fmla="val 30000"/>
              </a:avLst>
            </a:prstGeom>
            <a:solidFill>
              <a:srgbClr val="FFFFFF"/>
            </a:solidFill>
            <a:ln w="9525">
              <a:solidFill>
                <a:srgbClr val="000000"/>
              </a:solidFill>
              <a:miter lim="800000"/>
              <a:headEnd/>
              <a:tailEnd/>
            </a:ln>
          </p:spPr>
          <p:txBody>
            <a:bodyPr/>
            <a:lstStyle/>
            <a:p>
              <a:endParaRPr lang="id-ID">
                <a:latin typeface="Frutiger 55 Roman"/>
              </a:endParaRPr>
            </a:p>
          </p:txBody>
        </p:sp>
        <p:sp>
          <p:nvSpPr>
            <p:cNvPr id="9251" name="AutoShape 25"/>
            <p:cNvSpPr>
              <a:spLocks noChangeArrowheads="1"/>
            </p:cNvSpPr>
            <p:nvPr/>
          </p:nvSpPr>
          <p:spPr bwMode="auto">
            <a:xfrm>
              <a:off x="5506" y="12930"/>
              <a:ext cx="360" cy="540"/>
            </a:xfrm>
            <a:prstGeom prst="upDownArrow">
              <a:avLst>
                <a:gd name="adj1" fmla="val 33333"/>
                <a:gd name="adj2" fmla="val 30000"/>
              </a:avLst>
            </a:prstGeom>
            <a:solidFill>
              <a:srgbClr val="FFFFFF"/>
            </a:solidFill>
            <a:ln w="9525">
              <a:solidFill>
                <a:srgbClr val="000000"/>
              </a:solidFill>
              <a:miter lim="800000"/>
              <a:headEnd/>
              <a:tailEnd/>
            </a:ln>
          </p:spPr>
          <p:txBody>
            <a:bodyPr/>
            <a:lstStyle/>
            <a:p>
              <a:endParaRPr lang="id-ID">
                <a:latin typeface="Frutiger 55 Roman"/>
              </a:endParaRPr>
            </a:p>
          </p:txBody>
        </p:sp>
        <p:sp>
          <p:nvSpPr>
            <p:cNvPr id="9252" name="Line 26"/>
            <p:cNvSpPr>
              <a:spLocks noChangeShapeType="1"/>
            </p:cNvSpPr>
            <p:nvPr/>
          </p:nvSpPr>
          <p:spPr bwMode="auto">
            <a:xfrm>
              <a:off x="4966" y="10950"/>
              <a:ext cx="1260" cy="1260"/>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53" name="Line 27"/>
            <p:cNvSpPr>
              <a:spLocks noChangeShapeType="1"/>
            </p:cNvSpPr>
            <p:nvPr/>
          </p:nvSpPr>
          <p:spPr bwMode="auto">
            <a:xfrm flipV="1">
              <a:off x="4966" y="10950"/>
              <a:ext cx="1260" cy="1260"/>
            </a:xfrm>
            <a:prstGeom prst="line">
              <a:avLst/>
            </a:prstGeom>
            <a:noFill/>
            <a:ln w="9525">
              <a:solidFill>
                <a:srgbClr val="0000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id-ID"/>
            </a:p>
          </p:txBody>
        </p:sp>
        <p:sp>
          <p:nvSpPr>
            <p:cNvPr id="9254" name="Text Box 28"/>
            <p:cNvSpPr txBox="1">
              <a:spLocks noChangeArrowheads="1"/>
            </p:cNvSpPr>
            <p:nvPr/>
          </p:nvSpPr>
          <p:spPr bwMode="auto">
            <a:xfrm>
              <a:off x="5146" y="11295"/>
              <a:ext cx="900" cy="540"/>
            </a:xfrm>
            <a:prstGeom prst="rect">
              <a:avLst/>
            </a:prstGeom>
            <a:solidFill>
              <a:srgbClr val="FFC000"/>
            </a:solidFill>
            <a:ln w="9525">
              <a:solidFill>
                <a:srgbClr val="000000"/>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Aft>
                  <a:spcPts val="1000"/>
                </a:spcAft>
              </a:pPr>
              <a:r>
                <a:rPr lang="en-US" sz="1000" b="1">
                  <a:latin typeface="Franklin Gothic Book" pitchFamily="34" charset="0"/>
                </a:rPr>
                <a:t>Money Brokers</a:t>
              </a:r>
              <a:endParaRPr lang="en-US" sz="2000" b="1"/>
            </a:p>
          </p:txBody>
        </p:sp>
      </p:grpSp>
      <p:sp>
        <p:nvSpPr>
          <p:cNvPr id="9220" name="TextBox 36"/>
          <p:cNvSpPr txBox="1">
            <a:spLocks noChangeArrowheads="1"/>
          </p:cNvSpPr>
          <p:nvPr/>
        </p:nvSpPr>
        <p:spPr bwMode="auto">
          <a:xfrm>
            <a:off x="1552575" y="4572000"/>
            <a:ext cx="1752600" cy="338137"/>
          </a:xfrm>
          <a:prstGeom prst="rect">
            <a:avLst/>
          </a:prstGeom>
          <a:solidFill>
            <a:srgbClr val="FFCC6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1600" b="1"/>
              <a:t>Government </a:t>
            </a:r>
          </a:p>
        </p:txBody>
      </p:sp>
      <p:sp>
        <p:nvSpPr>
          <p:cNvPr id="36" name="Rounded Rectangle 35"/>
          <p:cNvSpPr/>
          <p:nvPr/>
        </p:nvSpPr>
        <p:spPr>
          <a:xfrm>
            <a:off x="1400175" y="4414837"/>
            <a:ext cx="4286250" cy="609600"/>
          </a:xfrm>
          <a:prstGeom prst="round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7" name="Left-Right Arrow 36"/>
          <p:cNvSpPr/>
          <p:nvPr/>
        </p:nvSpPr>
        <p:spPr>
          <a:xfrm>
            <a:off x="3328988" y="4648200"/>
            <a:ext cx="304800" cy="152400"/>
          </a:xfrm>
          <a:prstGeom prst="leftRightArrow">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8" name="Rectangle 37"/>
          <p:cNvSpPr/>
          <p:nvPr/>
        </p:nvSpPr>
        <p:spPr>
          <a:xfrm>
            <a:off x="1295400" y="1524000"/>
            <a:ext cx="1716088" cy="508000"/>
          </a:xfrm>
          <a:prstGeom prst="rect">
            <a:avLst/>
          </a:prstGeom>
          <a:solidFill>
            <a:srgbClr val="A3C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600" dirty="0">
                <a:solidFill>
                  <a:schemeClr val="accent6">
                    <a:lumMod val="75000"/>
                  </a:schemeClr>
                </a:solidFill>
              </a:rPr>
              <a:t>Domestic Non-Banks</a:t>
            </a:r>
          </a:p>
        </p:txBody>
      </p:sp>
      <p:sp>
        <p:nvSpPr>
          <p:cNvPr id="39" name="Rectangle 38"/>
          <p:cNvSpPr/>
          <p:nvPr/>
        </p:nvSpPr>
        <p:spPr>
          <a:xfrm>
            <a:off x="3379788" y="1524000"/>
            <a:ext cx="2330450" cy="508000"/>
          </a:xfrm>
          <a:prstGeom prst="rect">
            <a:avLst/>
          </a:prstGeom>
          <a:solidFill>
            <a:srgbClr val="A3C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600" dirty="0">
                <a:solidFill>
                  <a:schemeClr val="accent6">
                    <a:lumMod val="75000"/>
                  </a:schemeClr>
                </a:solidFill>
              </a:rPr>
              <a:t>Domestic Banks (Market Makers)</a:t>
            </a:r>
          </a:p>
        </p:txBody>
      </p:sp>
      <p:sp>
        <p:nvSpPr>
          <p:cNvPr id="40" name="Rectangle 39"/>
          <p:cNvSpPr/>
          <p:nvPr/>
        </p:nvSpPr>
        <p:spPr>
          <a:xfrm>
            <a:off x="6076950" y="1524000"/>
            <a:ext cx="1735138" cy="508000"/>
          </a:xfrm>
          <a:prstGeom prst="rect">
            <a:avLst/>
          </a:prstGeom>
          <a:solidFill>
            <a:srgbClr val="A3C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d-ID" sz="1600" dirty="0">
                <a:solidFill>
                  <a:schemeClr val="accent6">
                    <a:lumMod val="75000"/>
                  </a:schemeClr>
                </a:solidFill>
              </a:rPr>
              <a:t>Offshore</a:t>
            </a:r>
          </a:p>
        </p:txBody>
      </p:sp>
      <p:grpSp>
        <p:nvGrpSpPr>
          <p:cNvPr id="41" name="Group 13"/>
          <p:cNvGrpSpPr/>
          <p:nvPr/>
        </p:nvGrpSpPr>
        <p:grpSpPr>
          <a:xfrm>
            <a:off x="0" y="0"/>
            <a:ext cx="8656320" cy="548640"/>
            <a:chOff x="0" y="0"/>
            <a:chExt cx="8656320" cy="548640"/>
          </a:xfrm>
        </p:grpSpPr>
        <p:sp>
          <p:nvSpPr>
            <p:cNvPr id="42" name="Rectangle 41"/>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43" name="Rectangle 42"/>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44"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45" name="TextBox 44"/>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7</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4310190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7"/>
          <p:cNvSpPr txBox="1">
            <a:spLocks noChangeArrowheads="1"/>
          </p:cNvSpPr>
          <p:nvPr/>
        </p:nvSpPr>
        <p:spPr bwMode="auto">
          <a:xfrm>
            <a:off x="468313" y="4837113"/>
            <a:ext cx="7961312" cy="14001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9538" indent="-1095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eaLnBrk="1" hangingPunct="1">
              <a:buFont typeface="Arial" pitchFamily="34" charset="0"/>
              <a:buChar char="•"/>
            </a:pPr>
            <a:r>
              <a:rPr lang="en-US" sz="1600" dirty="0">
                <a:latin typeface="Georgia" pitchFamily="18" charset="0"/>
              </a:rPr>
              <a:t>The instruments in </a:t>
            </a:r>
            <a:r>
              <a:rPr lang="id-ID" sz="1600" dirty="0">
                <a:latin typeface="Georgia" pitchFamily="18" charset="0"/>
              </a:rPr>
              <a:t>fx</a:t>
            </a:r>
            <a:r>
              <a:rPr lang="en-US" sz="1600" dirty="0">
                <a:latin typeface="Georgia" pitchFamily="18" charset="0"/>
              </a:rPr>
              <a:t> market is dominated by spot transactions rather than other </a:t>
            </a:r>
            <a:r>
              <a:rPr lang="en-US" sz="1600" dirty="0" err="1">
                <a:latin typeface="Georgia" pitchFamily="18" charset="0"/>
              </a:rPr>
              <a:t>fx</a:t>
            </a:r>
            <a:r>
              <a:rPr lang="en-US" sz="1600" dirty="0">
                <a:latin typeface="Georgia" pitchFamily="18" charset="0"/>
              </a:rPr>
              <a:t> derivative</a:t>
            </a:r>
            <a:r>
              <a:rPr lang="id-ID" sz="1600" dirty="0">
                <a:latin typeface="Georgia" pitchFamily="18" charset="0"/>
              </a:rPr>
              <a:t>s</a:t>
            </a:r>
            <a:r>
              <a:rPr lang="en-US" sz="1600" dirty="0">
                <a:latin typeface="Georgia" pitchFamily="18" charset="0"/>
              </a:rPr>
              <a:t> instrument such as forward and </a:t>
            </a:r>
            <a:r>
              <a:rPr lang="en-US" sz="1600" dirty="0" err="1">
                <a:latin typeface="Georgia" pitchFamily="18" charset="0"/>
              </a:rPr>
              <a:t>fx</a:t>
            </a:r>
            <a:r>
              <a:rPr lang="en-US" sz="1600" dirty="0">
                <a:latin typeface="Georgia" pitchFamily="18" charset="0"/>
              </a:rPr>
              <a:t>-swap</a:t>
            </a:r>
          </a:p>
          <a:p>
            <a:pPr algn="just" eaLnBrk="1" hangingPunct="1">
              <a:spcBef>
                <a:spcPts val="600"/>
              </a:spcBef>
              <a:buFont typeface="Arial" pitchFamily="34" charset="0"/>
              <a:buChar char="•"/>
            </a:pPr>
            <a:r>
              <a:rPr lang="en-US" sz="1600" dirty="0">
                <a:latin typeface="Georgia" pitchFamily="18" charset="0"/>
              </a:rPr>
              <a:t>USD/IDR is still the most active traded currency, but the proportion of other currencies pair transaction (other FX currencies against IDR and FX/FX major currencies) tend to grow up.</a:t>
            </a:r>
          </a:p>
        </p:txBody>
      </p:sp>
      <p:pic>
        <p:nvPicPr>
          <p:cNvPr id="102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6238" y="1790700"/>
            <a:ext cx="2876550" cy="284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750" y="1827213"/>
            <a:ext cx="4537075" cy="2805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245" name="TextBox 4"/>
          <p:cNvSpPr txBox="1">
            <a:spLocks noChangeArrowheads="1"/>
          </p:cNvSpPr>
          <p:nvPr/>
        </p:nvSpPr>
        <p:spPr bwMode="auto">
          <a:xfrm>
            <a:off x="539750" y="4581525"/>
            <a:ext cx="18716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id-ID" sz="800"/>
              <a:t>Source: LHBU</a:t>
            </a:r>
          </a:p>
        </p:txBody>
      </p:sp>
      <p:sp>
        <p:nvSpPr>
          <p:cNvPr id="10246" name="TextBox 13"/>
          <p:cNvSpPr txBox="1">
            <a:spLocks noChangeArrowheads="1"/>
          </p:cNvSpPr>
          <p:nvPr/>
        </p:nvSpPr>
        <p:spPr bwMode="auto">
          <a:xfrm>
            <a:off x="5795963" y="4581525"/>
            <a:ext cx="1871662"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id-ID" sz="800"/>
              <a:t>Source: LHBU</a:t>
            </a:r>
          </a:p>
        </p:txBody>
      </p:sp>
      <p:grpSp>
        <p:nvGrpSpPr>
          <p:cNvPr id="10" name="Group 13"/>
          <p:cNvGrpSpPr/>
          <p:nvPr/>
        </p:nvGrpSpPr>
        <p:grpSpPr>
          <a:xfrm>
            <a:off x="0" y="0"/>
            <a:ext cx="8656320" cy="548640"/>
            <a:chOff x="0" y="0"/>
            <a:chExt cx="8656320" cy="548640"/>
          </a:xfrm>
        </p:grpSpPr>
        <p:sp>
          <p:nvSpPr>
            <p:cNvPr id="11" name="Rectangle 10"/>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2" name="Rectangle 11"/>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3"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14" name="TextBox 13"/>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8</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19424428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7"/>
          <p:cNvSpPr txBox="1">
            <a:spLocks noChangeArrowheads="1"/>
          </p:cNvSpPr>
          <p:nvPr/>
        </p:nvSpPr>
        <p:spPr bwMode="auto">
          <a:xfrm>
            <a:off x="4356100" y="4233863"/>
            <a:ext cx="4176713" cy="19383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6213" indent="-176213"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50000"/>
              </a:lnSpc>
              <a:buFont typeface="Arial" pitchFamily="34" charset="0"/>
              <a:buChar char="•"/>
            </a:pPr>
            <a:r>
              <a:rPr lang="en-US" sz="1600" dirty="0"/>
              <a:t>Foreign players, particularly portfolio investors, are significant market movers</a:t>
            </a:r>
          </a:p>
          <a:p>
            <a:pPr eaLnBrk="1" hangingPunct="1">
              <a:lnSpc>
                <a:spcPct val="150000"/>
              </a:lnSpc>
              <a:buFont typeface="Arial" pitchFamily="34" charset="0"/>
              <a:buChar char="•"/>
            </a:pPr>
            <a:r>
              <a:rPr lang="en-US" sz="1600" dirty="0"/>
              <a:t>Foreign portfolio flow of funds mainly related to government bonds and equity assets portfolio Non-FDI, and FDI </a:t>
            </a:r>
          </a:p>
        </p:txBody>
      </p:sp>
      <p:pic>
        <p:nvPicPr>
          <p:cNvPr id="1126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713" y="1250950"/>
            <a:ext cx="3635375" cy="247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79913" y="1219200"/>
            <a:ext cx="3754437" cy="255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713" y="4035425"/>
            <a:ext cx="3886200" cy="228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70" name="TextBox 17"/>
          <p:cNvSpPr txBox="1">
            <a:spLocks noChangeArrowheads="1"/>
          </p:cNvSpPr>
          <p:nvPr/>
        </p:nvSpPr>
        <p:spPr bwMode="auto">
          <a:xfrm>
            <a:off x="436563" y="3668713"/>
            <a:ext cx="187166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id-ID" sz="800"/>
              <a:t>Source: LHBU</a:t>
            </a:r>
          </a:p>
        </p:txBody>
      </p:sp>
      <p:sp>
        <p:nvSpPr>
          <p:cNvPr id="11271" name="TextBox 18"/>
          <p:cNvSpPr txBox="1">
            <a:spLocks noChangeArrowheads="1"/>
          </p:cNvSpPr>
          <p:nvPr/>
        </p:nvSpPr>
        <p:spPr bwMode="auto">
          <a:xfrm>
            <a:off x="4356100" y="3667125"/>
            <a:ext cx="18716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id-ID" sz="800"/>
              <a:t>Source: LHBU</a:t>
            </a:r>
          </a:p>
        </p:txBody>
      </p:sp>
      <p:sp>
        <p:nvSpPr>
          <p:cNvPr id="11272" name="TextBox 19"/>
          <p:cNvSpPr txBox="1">
            <a:spLocks noChangeArrowheads="1"/>
          </p:cNvSpPr>
          <p:nvPr/>
        </p:nvSpPr>
        <p:spPr bwMode="auto">
          <a:xfrm>
            <a:off x="438150" y="6043613"/>
            <a:ext cx="18716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id-ID" sz="800"/>
              <a:t>Source: LHBU</a:t>
            </a:r>
          </a:p>
        </p:txBody>
      </p:sp>
      <p:sp>
        <p:nvSpPr>
          <p:cNvPr id="12" name="Title 1"/>
          <p:cNvSpPr txBox="1">
            <a:spLocks/>
          </p:cNvSpPr>
          <p:nvPr/>
        </p:nvSpPr>
        <p:spPr bwMode="auto">
          <a:xfrm>
            <a:off x="316924" y="1417638"/>
            <a:ext cx="7313612"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54013" indent="-354013"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endParaRPr lang="en-US" sz="2800" dirty="0">
              <a:solidFill>
                <a:srgbClr val="000066"/>
              </a:solidFill>
              <a:latin typeface="Eras Demi ITC" pitchFamily="34" charset="0"/>
            </a:endParaRPr>
          </a:p>
        </p:txBody>
      </p:sp>
      <p:grpSp>
        <p:nvGrpSpPr>
          <p:cNvPr id="13" name="Group 13"/>
          <p:cNvGrpSpPr/>
          <p:nvPr/>
        </p:nvGrpSpPr>
        <p:grpSpPr>
          <a:xfrm>
            <a:off x="0" y="0"/>
            <a:ext cx="8656320" cy="548640"/>
            <a:chOff x="0" y="0"/>
            <a:chExt cx="8656320" cy="548640"/>
          </a:xfrm>
        </p:grpSpPr>
        <p:sp>
          <p:nvSpPr>
            <p:cNvPr id="14" name="Rectangle 13"/>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5" name="Rectangle 14"/>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6"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17" name="TextBox 16"/>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19</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2805747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4610100" y="5181600"/>
            <a:ext cx="4457700" cy="1295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Rectangle 32"/>
          <p:cNvSpPr/>
          <p:nvPr/>
        </p:nvSpPr>
        <p:spPr>
          <a:xfrm>
            <a:off x="0" y="3500735"/>
            <a:ext cx="2099468" cy="221426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3490" name="Title 1"/>
          <p:cNvSpPr>
            <a:spLocks noGrp="1"/>
          </p:cNvSpPr>
          <p:nvPr>
            <p:ph type="title"/>
          </p:nvPr>
        </p:nvSpPr>
        <p:spPr bwMode="auto">
          <a:xfrm>
            <a:off x="0" y="26988"/>
            <a:ext cx="9144000"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id-ID" dirty="0" err="1" smtClean="0"/>
              <a:t>Alur</a:t>
            </a:r>
            <a:r>
              <a:rPr lang="en-US" altLang="id-ID" dirty="0" smtClean="0"/>
              <a:t> </a:t>
            </a:r>
            <a:r>
              <a:rPr lang="en-US" altLang="id-ID" dirty="0" err="1" smtClean="0"/>
              <a:t>Pemikiran</a:t>
            </a:r>
            <a:endParaRPr lang="en-US" altLang="id-ID" dirty="0" smtClean="0"/>
          </a:p>
        </p:txBody>
      </p:sp>
      <p:sp>
        <p:nvSpPr>
          <p:cNvPr id="9" name="Rectangle 1"/>
          <p:cNvSpPr>
            <a:spLocks noChangeArrowheads="1"/>
          </p:cNvSpPr>
          <p:nvPr/>
        </p:nvSpPr>
        <p:spPr bwMode="auto">
          <a:xfrm>
            <a:off x="381000" y="533400"/>
            <a:ext cx="3436937" cy="8309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rgbClr val="333399"/>
                </a:solidFill>
                <a:latin typeface="Franklin Gothic Medium Cond" pitchFamily="34" charset="0"/>
              </a:rPr>
              <a:t>Tantangan</a:t>
            </a:r>
            <a:r>
              <a:rPr lang="en-US" altLang="id-ID" sz="2400" dirty="0" smtClean="0">
                <a:solidFill>
                  <a:srgbClr val="333399"/>
                </a:solidFill>
                <a:latin typeface="Franklin Gothic Medium Cond" pitchFamily="34" charset="0"/>
              </a:rPr>
              <a:t> </a:t>
            </a:r>
            <a:r>
              <a:rPr lang="en-US" altLang="id-ID" sz="2400" dirty="0" err="1" smtClean="0">
                <a:solidFill>
                  <a:srgbClr val="333399"/>
                </a:solidFill>
                <a:latin typeface="Franklin Gothic Medium Cond" pitchFamily="34" charset="0"/>
              </a:rPr>
              <a:t>Perekonomian</a:t>
            </a:r>
            <a:r>
              <a:rPr lang="en-US" altLang="id-ID" sz="2400" dirty="0" smtClean="0">
                <a:solidFill>
                  <a:srgbClr val="333399"/>
                </a:solidFill>
                <a:latin typeface="Franklin Gothic Medium Cond" pitchFamily="34" charset="0"/>
              </a:rPr>
              <a:t> Indonesia</a:t>
            </a:r>
            <a:endParaRPr lang="en-US" altLang="id-ID" sz="2400" dirty="0">
              <a:solidFill>
                <a:srgbClr val="333399"/>
              </a:solidFill>
              <a:latin typeface="Franklin Gothic Medium Cond" pitchFamily="34" charset="0"/>
            </a:endParaRPr>
          </a:p>
        </p:txBody>
      </p:sp>
      <p:sp>
        <p:nvSpPr>
          <p:cNvPr id="11" name="Rectangle 1"/>
          <p:cNvSpPr>
            <a:spLocks noChangeArrowheads="1"/>
          </p:cNvSpPr>
          <p:nvPr/>
        </p:nvSpPr>
        <p:spPr bwMode="auto">
          <a:xfrm>
            <a:off x="76201" y="1683603"/>
            <a:ext cx="1981199" cy="46166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rgbClr val="333399"/>
                </a:solidFill>
                <a:latin typeface="Franklin Gothic Medium Cond" pitchFamily="34" charset="0"/>
              </a:rPr>
              <a:t>Domestik</a:t>
            </a:r>
            <a:endParaRPr lang="en-US" altLang="id-ID" sz="2400" dirty="0">
              <a:solidFill>
                <a:srgbClr val="333399"/>
              </a:solidFill>
              <a:latin typeface="Franklin Gothic Medium Cond" pitchFamily="34" charset="0"/>
            </a:endParaRPr>
          </a:p>
        </p:txBody>
      </p:sp>
      <p:sp>
        <p:nvSpPr>
          <p:cNvPr id="12" name="Rectangle 1"/>
          <p:cNvSpPr>
            <a:spLocks noChangeArrowheads="1"/>
          </p:cNvSpPr>
          <p:nvPr/>
        </p:nvSpPr>
        <p:spPr bwMode="auto">
          <a:xfrm>
            <a:off x="2209800" y="1676400"/>
            <a:ext cx="1981199" cy="46166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rgbClr val="333399"/>
                </a:solidFill>
                <a:latin typeface="Franklin Gothic Medium Cond" pitchFamily="34" charset="0"/>
              </a:rPr>
              <a:t>Eksternal</a:t>
            </a:r>
            <a:endParaRPr lang="en-US" altLang="id-ID" sz="2400" dirty="0">
              <a:solidFill>
                <a:srgbClr val="333399"/>
              </a:solidFill>
              <a:latin typeface="Franklin Gothic Medium Cond" pitchFamily="34" charset="0"/>
            </a:endParaRPr>
          </a:p>
        </p:txBody>
      </p:sp>
      <p:cxnSp>
        <p:nvCxnSpPr>
          <p:cNvPr id="3" name="Straight Arrow Connector 2"/>
          <p:cNvCxnSpPr/>
          <p:nvPr/>
        </p:nvCxnSpPr>
        <p:spPr>
          <a:xfrm>
            <a:off x="3200400" y="1364397"/>
            <a:ext cx="0" cy="312003"/>
          </a:xfrm>
          <a:prstGeom prst="straightConnector1">
            <a:avLst/>
          </a:prstGeom>
          <a:ln w="38100">
            <a:solidFill>
              <a:srgbClr val="0000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143000" y="1364397"/>
            <a:ext cx="0" cy="312003"/>
          </a:xfrm>
          <a:prstGeom prst="straightConnector1">
            <a:avLst/>
          </a:prstGeom>
          <a:ln w="38100">
            <a:solidFill>
              <a:srgbClr val="0000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Rectangle 1"/>
          <p:cNvSpPr>
            <a:spLocks noChangeArrowheads="1"/>
          </p:cNvSpPr>
          <p:nvPr/>
        </p:nvSpPr>
        <p:spPr bwMode="auto">
          <a:xfrm>
            <a:off x="4876801" y="1066800"/>
            <a:ext cx="3809999"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000" dirty="0" err="1" smtClean="0">
                <a:solidFill>
                  <a:srgbClr val="333399"/>
                </a:solidFill>
                <a:latin typeface="Franklin Gothic Medium Cond" pitchFamily="34" charset="0"/>
              </a:rPr>
              <a:t>Perlambatan</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ekonomi</a:t>
            </a:r>
            <a:r>
              <a:rPr lang="en-US" altLang="id-ID" sz="2000" dirty="0" smtClean="0">
                <a:solidFill>
                  <a:srgbClr val="333399"/>
                </a:solidFill>
                <a:latin typeface="Franklin Gothic Medium Cond" pitchFamily="34" charset="0"/>
              </a:rPr>
              <a:t> global</a:t>
            </a:r>
            <a:endParaRPr lang="en-US" altLang="id-ID" sz="2000" dirty="0">
              <a:solidFill>
                <a:srgbClr val="333399"/>
              </a:solidFill>
              <a:latin typeface="Franklin Gothic Medium Cond" pitchFamily="34" charset="0"/>
            </a:endParaRPr>
          </a:p>
        </p:txBody>
      </p:sp>
      <p:sp>
        <p:nvSpPr>
          <p:cNvPr id="15" name="Rectangle 1"/>
          <p:cNvSpPr>
            <a:spLocks noChangeArrowheads="1"/>
          </p:cNvSpPr>
          <p:nvPr/>
        </p:nvSpPr>
        <p:spPr bwMode="auto">
          <a:xfrm>
            <a:off x="4876801" y="1748135"/>
            <a:ext cx="3809999"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000" dirty="0" err="1" smtClean="0">
                <a:solidFill>
                  <a:srgbClr val="333399"/>
                </a:solidFill>
                <a:latin typeface="Franklin Gothic Medium Cond" pitchFamily="34" charset="0"/>
              </a:rPr>
              <a:t>Penurunan</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harga</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komoditas</a:t>
            </a:r>
            <a:endParaRPr lang="en-US" altLang="id-ID" sz="2000" dirty="0">
              <a:solidFill>
                <a:srgbClr val="333399"/>
              </a:solidFill>
              <a:latin typeface="Franklin Gothic Medium Cond" pitchFamily="34" charset="0"/>
            </a:endParaRPr>
          </a:p>
        </p:txBody>
      </p:sp>
      <p:sp>
        <p:nvSpPr>
          <p:cNvPr id="16" name="Rectangle 1"/>
          <p:cNvSpPr>
            <a:spLocks noChangeArrowheads="1"/>
          </p:cNvSpPr>
          <p:nvPr/>
        </p:nvSpPr>
        <p:spPr bwMode="auto">
          <a:xfrm>
            <a:off x="4876801" y="2438400"/>
            <a:ext cx="3809999" cy="40011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000" dirty="0" err="1" smtClean="0">
                <a:solidFill>
                  <a:srgbClr val="333399"/>
                </a:solidFill>
                <a:latin typeface="Franklin Gothic Medium Cond" pitchFamily="34" charset="0"/>
              </a:rPr>
              <a:t>Ketidakpastian</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keuangan</a:t>
            </a:r>
            <a:r>
              <a:rPr lang="en-US" altLang="id-ID" sz="2000" dirty="0" smtClean="0">
                <a:solidFill>
                  <a:srgbClr val="333399"/>
                </a:solidFill>
                <a:latin typeface="Franklin Gothic Medium Cond" pitchFamily="34" charset="0"/>
              </a:rPr>
              <a:t> global</a:t>
            </a:r>
            <a:endParaRPr lang="en-US" altLang="id-ID" sz="2000" dirty="0">
              <a:solidFill>
                <a:srgbClr val="333399"/>
              </a:solidFill>
              <a:latin typeface="Franklin Gothic Medium Cond" pitchFamily="34" charset="0"/>
            </a:endParaRPr>
          </a:p>
        </p:txBody>
      </p:sp>
      <p:cxnSp>
        <p:nvCxnSpPr>
          <p:cNvPr id="17" name="Straight Arrow Connector 16"/>
          <p:cNvCxnSpPr>
            <a:stCxn id="12" idx="3"/>
          </p:cNvCxnSpPr>
          <p:nvPr/>
        </p:nvCxnSpPr>
        <p:spPr>
          <a:xfrm flipV="1">
            <a:off x="4190999" y="1905000"/>
            <a:ext cx="685801" cy="2233"/>
          </a:xfrm>
          <a:prstGeom prst="straightConnector1">
            <a:avLst/>
          </a:prstGeom>
          <a:ln w="12700">
            <a:solidFill>
              <a:srgbClr val="000099"/>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endCxn id="14" idx="1"/>
          </p:cNvCxnSpPr>
          <p:nvPr/>
        </p:nvCxnSpPr>
        <p:spPr>
          <a:xfrm flipV="1">
            <a:off x="4190999" y="1266855"/>
            <a:ext cx="685802" cy="487978"/>
          </a:xfrm>
          <a:prstGeom prst="straightConnector1">
            <a:avLst/>
          </a:prstGeom>
          <a:ln w="12700">
            <a:solidFill>
              <a:srgbClr val="000099"/>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191000" y="1978967"/>
            <a:ext cx="685801" cy="688033"/>
          </a:xfrm>
          <a:prstGeom prst="straightConnector1">
            <a:avLst/>
          </a:prstGeom>
          <a:ln w="12700">
            <a:solidFill>
              <a:srgbClr val="000099"/>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Rectangle 1"/>
          <p:cNvSpPr>
            <a:spLocks noChangeArrowheads="1"/>
          </p:cNvSpPr>
          <p:nvPr/>
        </p:nvSpPr>
        <p:spPr bwMode="auto">
          <a:xfrm>
            <a:off x="2209800" y="2667000"/>
            <a:ext cx="1981199" cy="830997"/>
          </a:xfrm>
          <a:prstGeom prst="rect">
            <a:avLst/>
          </a:prstGeom>
          <a:solidFill>
            <a:srgbClr val="C00000"/>
          </a:solidFill>
          <a:ln w="9525">
            <a:solidFill>
              <a:srgbClr val="000000"/>
            </a:solidFill>
            <a:miter lim="800000"/>
            <a:headEnd/>
            <a:tailEnd/>
          </a:ln>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chemeClr val="bg1"/>
                </a:solidFill>
                <a:latin typeface="Franklin Gothic Medium Cond" pitchFamily="34" charset="0"/>
              </a:rPr>
              <a:t>Tekanan</a:t>
            </a:r>
            <a:r>
              <a:rPr lang="en-US" altLang="id-ID" sz="2400" dirty="0" smtClean="0">
                <a:solidFill>
                  <a:schemeClr val="bg1"/>
                </a:solidFill>
                <a:latin typeface="Franklin Gothic Medium Cond" pitchFamily="34" charset="0"/>
              </a:rPr>
              <a:t> NT Rupiah</a:t>
            </a:r>
            <a:endParaRPr lang="en-US" altLang="id-ID" sz="2400" dirty="0">
              <a:solidFill>
                <a:schemeClr val="bg1"/>
              </a:solidFill>
              <a:latin typeface="Franklin Gothic Medium Cond" pitchFamily="34" charset="0"/>
            </a:endParaRPr>
          </a:p>
        </p:txBody>
      </p:sp>
      <p:cxnSp>
        <p:nvCxnSpPr>
          <p:cNvPr id="28" name="Straight Arrow Connector 27"/>
          <p:cNvCxnSpPr/>
          <p:nvPr/>
        </p:nvCxnSpPr>
        <p:spPr>
          <a:xfrm>
            <a:off x="3200400" y="2133600"/>
            <a:ext cx="0" cy="535632"/>
          </a:xfrm>
          <a:prstGeom prst="straightConnector1">
            <a:avLst/>
          </a:prstGeom>
          <a:ln w="38100">
            <a:solidFill>
              <a:srgbClr val="0000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1"/>
          <p:cNvSpPr>
            <a:spLocks noChangeArrowheads="1"/>
          </p:cNvSpPr>
          <p:nvPr/>
        </p:nvSpPr>
        <p:spPr bwMode="auto">
          <a:xfrm>
            <a:off x="4724400" y="3436203"/>
            <a:ext cx="1981199" cy="70788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000" dirty="0" err="1" smtClean="0">
                <a:solidFill>
                  <a:srgbClr val="333399"/>
                </a:solidFill>
                <a:latin typeface="Franklin Gothic Medium Cond" pitchFamily="34" charset="0"/>
              </a:rPr>
              <a:t>Ketidakpastian</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kenaikan</a:t>
            </a:r>
            <a:r>
              <a:rPr lang="en-US" altLang="id-ID" sz="2000" dirty="0" smtClean="0">
                <a:solidFill>
                  <a:srgbClr val="333399"/>
                </a:solidFill>
                <a:latin typeface="Franklin Gothic Medium Cond" pitchFamily="34" charset="0"/>
              </a:rPr>
              <a:t> FFR</a:t>
            </a:r>
            <a:endParaRPr lang="en-US" altLang="id-ID" sz="2000" dirty="0">
              <a:solidFill>
                <a:srgbClr val="333399"/>
              </a:solidFill>
              <a:latin typeface="Franklin Gothic Medium Cond" pitchFamily="34" charset="0"/>
            </a:endParaRPr>
          </a:p>
        </p:txBody>
      </p:sp>
      <p:sp>
        <p:nvSpPr>
          <p:cNvPr id="31" name="Rectangle 1"/>
          <p:cNvSpPr>
            <a:spLocks noChangeArrowheads="1"/>
          </p:cNvSpPr>
          <p:nvPr/>
        </p:nvSpPr>
        <p:spPr bwMode="auto">
          <a:xfrm>
            <a:off x="6781800" y="3429000"/>
            <a:ext cx="1981199" cy="10156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000" dirty="0" err="1" smtClean="0">
                <a:solidFill>
                  <a:srgbClr val="333399"/>
                </a:solidFill>
                <a:latin typeface="Franklin Gothic Medium Cond" pitchFamily="34" charset="0"/>
              </a:rPr>
              <a:t>Kebijakan</a:t>
            </a:r>
            <a:r>
              <a:rPr lang="en-US" altLang="id-ID" sz="2000" dirty="0" smtClean="0">
                <a:solidFill>
                  <a:srgbClr val="333399"/>
                </a:solidFill>
                <a:latin typeface="Franklin Gothic Medium Cond" pitchFamily="34" charset="0"/>
              </a:rPr>
              <a:t> </a:t>
            </a:r>
            <a:r>
              <a:rPr lang="en-US" altLang="id-ID" sz="2000" dirty="0" err="1" smtClean="0">
                <a:solidFill>
                  <a:srgbClr val="333399"/>
                </a:solidFill>
                <a:latin typeface="Franklin Gothic Medium Cond" pitchFamily="34" charset="0"/>
              </a:rPr>
              <a:t>penyesuaian</a:t>
            </a:r>
            <a:r>
              <a:rPr lang="en-US" altLang="id-ID" sz="2000" dirty="0" smtClean="0">
                <a:solidFill>
                  <a:srgbClr val="333399"/>
                </a:solidFill>
                <a:latin typeface="Franklin Gothic Medium Cond" pitchFamily="34" charset="0"/>
              </a:rPr>
              <a:t> NT Yuan</a:t>
            </a:r>
            <a:endParaRPr lang="en-US" altLang="id-ID" sz="2000" dirty="0">
              <a:solidFill>
                <a:srgbClr val="333399"/>
              </a:solidFill>
              <a:latin typeface="Franklin Gothic Medium Cond" pitchFamily="34" charset="0"/>
            </a:endParaRPr>
          </a:p>
        </p:txBody>
      </p:sp>
      <p:cxnSp>
        <p:nvCxnSpPr>
          <p:cNvPr id="32" name="Straight Arrow Connector 31"/>
          <p:cNvCxnSpPr/>
          <p:nvPr/>
        </p:nvCxnSpPr>
        <p:spPr>
          <a:xfrm>
            <a:off x="5715000" y="2819400"/>
            <a:ext cx="0" cy="681335"/>
          </a:xfrm>
          <a:prstGeom prst="straightConnector1">
            <a:avLst/>
          </a:prstGeom>
          <a:ln w="12700">
            <a:solidFill>
              <a:srgbClr val="000099"/>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7772400" y="2819400"/>
            <a:ext cx="0" cy="681335"/>
          </a:xfrm>
          <a:prstGeom prst="straightConnector1">
            <a:avLst/>
          </a:prstGeom>
          <a:ln w="12700">
            <a:solidFill>
              <a:srgbClr val="000099"/>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Rectangle 1"/>
          <p:cNvSpPr>
            <a:spLocks noChangeArrowheads="1"/>
          </p:cNvSpPr>
          <p:nvPr/>
        </p:nvSpPr>
        <p:spPr bwMode="auto">
          <a:xfrm>
            <a:off x="2362201" y="4114800"/>
            <a:ext cx="1981199" cy="120032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rgbClr val="333399"/>
                </a:solidFill>
                <a:latin typeface="Franklin Gothic Medium Cond" pitchFamily="34" charset="0"/>
              </a:rPr>
              <a:t>Kebijakan</a:t>
            </a:r>
            <a:r>
              <a:rPr lang="en-US" altLang="id-ID" sz="2400" dirty="0" smtClean="0">
                <a:solidFill>
                  <a:srgbClr val="333399"/>
                </a:solidFill>
                <a:latin typeface="Franklin Gothic Medium Cond" pitchFamily="34" charset="0"/>
              </a:rPr>
              <a:t> </a:t>
            </a:r>
            <a:r>
              <a:rPr lang="en-US" altLang="id-ID" sz="2400" dirty="0" err="1" smtClean="0">
                <a:solidFill>
                  <a:srgbClr val="333399"/>
                </a:solidFill>
                <a:latin typeface="Franklin Gothic Medium Cond" pitchFamily="34" charset="0"/>
              </a:rPr>
              <a:t>Stabilitas</a:t>
            </a:r>
            <a:r>
              <a:rPr lang="en-US" altLang="id-ID" sz="2400" dirty="0" smtClean="0">
                <a:solidFill>
                  <a:srgbClr val="333399"/>
                </a:solidFill>
                <a:latin typeface="Franklin Gothic Medium Cond" pitchFamily="34" charset="0"/>
              </a:rPr>
              <a:t> </a:t>
            </a:r>
            <a:r>
              <a:rPr lang="en-US" altLang="id-ID" sz="2400" dirty="0" err="1" smtClean="0">
                <a:solidFill>
                  <a:srgbClr val="333399"/>
                </a:solidFill>
                <a:latin typeface="Franklin Gothic Medium Cond" pitchFamily="34" charset="0"/>
              </a:rPr>
              <a:t>makroekonomi</a:t>
            </a:r>
            <a:endParaRPr lang="en-US" altLang="id-ID" sz="2400" dirty="0">
              <a:solidFill>
                <a:srgbClr val="333399"/>
              </a:solidFill>
              <a:latin typeface="Franklin Gothic Medium Cond" pitchFamily="34" charset="0"/>
            </a:endParaRPr>
          </a:p>
        </p:txBody>
      </p:sp>
      <p:cxnSp>
        <p:nvCxnSpPr>
          <p:cNvPr id="37" name="Straight Arrow Connector 36"/>
          <p:cNvCxnSpPr/>
          <p:nvPr/>
        </p:nvCxnSpPr>
        <p:spPr>
          <a:xfrm>
            <a:off x="3200400" y="3581400"/>
            <a:ext cx="0" cy="535632"/>
          </a:xfrm>
          <a:prstGeom prst="straightConnector1">
            <a:avLst/>
          </a:prstGeom>
          <a:ln w="38100">
            <a:solidFill>
              <a:srgbClr val="0000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1"/>
          <p:cNvSpPr>
            <a:spLocks noChangeArrowheads="1"/>
          </p:cNvSpPr>
          <p:nvPr/>
        </p:nvSpPr>
        <p:spPr bwMode="auto">
          <a:xfrm>
            <a:off x="1828801" y="3581400"/>
            <a:ext cx="289559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FF0000"/>
                </a:solidFill>
                <a:latin typeface="Franklin Gothic Medium Cond" pitchFamily="34" charset="0"/>
              </a:rPr>
              <a:t>Potensi</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gangguan</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stabilitas</a:t>
            </a:r>
            <a:r>
              <a:rPr lang="en-US" altLang="id-ID" sz="1600" dirty="0" smtClean="0">
                <a:solidFill>
                  <a:srgbClr val="FF0000"/>
                </a:solidFill>
                <a:latin typeface="Franklin Gothic Medium Cond" pitchFamily="34" charset="0"/>
              </a:rPr>
              <a:t> </a:t>
            </a:r>
            <a:endParaRPr lang="en-US" altLang="id-ID" sz="1600" dirty="0">
              <a:solidFill>
                <a:srgbClr val="FF0000"/>
              </a:solidFill>
              <a:latin typeface="Franklin Gothic Medium Cond" pitchFamily="34" charset="0"/>
            </a:endParaRPr>
          </a:p>
        </p:txBody>
      </p:sp>
      <p:cxnSp>
        <p:nvCxnSpPr>
          <p:cNvPr id="41" name="Straight Arrow Connector 40"/>
          <p:cNvCxnSpPr/>
          <p:nvPr/>
        </p:nvCxnSpPr>
        <p:spPr>
          <a:xfrm>
            <a:off x="3200400" y="5334000"/>
            <a:ext cx="0" cy="535632"/>
          </a:xfrm>
          <a:prstGeom prst="straightConnector1">
            <a:avLst/>
          </a:prstGeom>
          <a:ln w="38100">
            <a:solidFill>
              <a:srgbClr val="0000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2" name="Rectangle 1"/>
          <p:cNvSpPr>
            <a:spLocks noChangeArrowheads="1"/>
          </p:cNvSpPr>
          <p:nvPr/>
        </p:nvSpPr>
        <p:spPr bwMode="auto">
          <a:xfrm>
            <a:off x="2209800" y="5939135"/>
            <a:ext cx="1981199" cy="461665"/>
          </a:xfrm>
          <a:prstGeom prst="rect">
            <a:avLst/>
          </a:prstGeom>
          <a:solidFill>
            <a:srgbClr val="C00000"/>
          </a:solidFill>
          <a:ln w="9525">
            <a:solidFill>
              <a:srgbClr val="000000"/>
            </a:solidFill>
            <a:miter lim="800000"/>
            <a:headEnd/>
            <a:tailEnd/>
          </a:ln>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2400" dirty="0" err="1" smtClean="0">
                <a:solidFill>
                  <a:schemeClr val="bg1"/>
                </a:solidFill>
                <a:latin typeface="Franklin Gothic Medium Cond" pitchFamily="34" charset="0"/>
              </a:rPr>
              <a:t>Stabilisasi</a:t>
            </a:r>
            <a:r>
              <a:rPr lang="en-US" altLang="id-ID" sz="2400" dirty="0" smtClean="0">
                <a:solidFill>
                  <a:schemeClr val="bg1"/>
                </a:solidFill>
                <a:latin typeface="Franklin Gothic Medium Cond" pitchFamily="34" charset="0"/>
              </a:rPr>
              <a:t> NT</a:t>
            </a:r>
            <a:endParaRPr lang="en-US" altLang="id-ID" sz="2400" dirty="0">
              <a:solidFill>
                <a:schemeClr val="bg1"/>
              </a:solidFill>
              <a:latin typeface="Franklin Gothic Medium Cond" pitchFamily="34" charset="0"/>
            </a:endParaRPr>
          </a:p>
        </p:txBody>
      </p:sp>
      <p:sp>
        <p:nvSpPr>
          <p:cNvPr id="43" name="Rectangle 1"/>
          <p:cNvSpPr>
            <a:spLocks noChangeArrowheads="1"/>
          </p:cNvSpPr>
          <p:nvPr/>
        </p:nvSpPr>
        <p:spPr bwMode="auto">
          <a:xfrm>
            <a:off x="4648201" y="5266492"/>
            <a:ext cx="4343399" cy="33855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Memperkuat</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pengelolaan</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likuiditas</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Rp</a:t>
            </a:r>
            <a:r>
              <a:rPr lang="en-US" altLang="id-ID" sz="1600" dirty="0" smtClean="0">
                <a:solidFill>
                  <a:srgbClr val="333399"/>
                </a:solidFill>
                <a:latin typeface="Franklin Gothic Medium Cond" pitchFamily="34" charset="0"/>
              </a:rPr>
              <a:t> di </a:t>
            </a:r>
            <a:r>
              <a:rPr lang="en-US" altLang="id-ID" sz="1600" dirty="0" err="1" smtClean="0">
                <a:solidFill>
                  <a:srgbClr val="333399"/>
                </a:solidFill>
                <a:latin typeface="Franklin Gothic Medium Cond" pitchFamily="34" charset="0"/>
              </a:rPr>
              <a:t>pasar</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uang</a:t>
            </a:r>
            <a:endParaRPr lang="en-US" altLang="id-ID" sz="1600" dirty="0">
              <a:solidFill>
                <a:srgbClr val="333399"/>
              </a:solidFill>
              <a:latin typeface="Franklin Gothic Medium Cond" pitchFamily="34" charset="0"/>
            </a:endParaRPr>
          </a:p>
        </p:txBody>
      </p:sp>
      <p:sp>
        <p:nvSpPr>
          <p:cNvPr id="46" name="Rectangle 1"/>
          <p:cNvSpPr>
            <a:spLocks noChangeArrowheads="1"/>
          </p:cNvSpPr>
          <p:nvPr/>
        </p:nvSpPr>
        <p:spPr bwMode="auto">
          <a:xfrm>
            <a:off x="4648200" y="5647492"/>
            <a:ext cx="4343399" cy="33855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Memperkuat</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pengelolaan</a:t>
            </a:r>
            <a:r>
              <a:rPr lang="en-US" altLang="id-ID" sz="1600" dirty="0" smtClean="0">
                <a:solidFill>
                  <a:srgbClr val="333399"/>
                </a:solidFill>
                <a:latin typeface="Franklin Gothic Medium Cond" pitchFamily="34" charset="0"/>
              </a:rPr>
              <a:t> supply </a:t>
            </a:r>
            <a:r>
              <a:rPr lang="en-US" altLang="id-ID" sz="1600" dirty="0" err="1" smtClean="0">
                <a:solidFill>
                  <a:srgbClr val="333399"/>
                </a:solidFill>
                <a:latin typeface="Franklin Gothic Medium Cond" pitchFamily="34" charset="0"/>
              </a:rPr>
              <a:t>dan</a:t>
            </a:r>
            <a:r>
              <a:rPr lang="en-US" altLang="id-ID" sz="1600" dirty="0" smtClean="0">
                <a:solidFill>
                  <a:srgbClr val="333399"/>
                </a:solidFill>
                <a:latin typeface="Franklin Gothic Medium Cond" pitchFamily="34" charset="0"/>
              </a:rPr>
              <a:t> demand </a:t>
            </a:r>
            <a:r>
              <a:rPr lang="en-US" altLang="id-ID" sz="1600" dirty="0" err="1" smtClean="0">
                <a:solidFill>
                  <a:srgbClr val="333399"/>
                </a:solidFill>
                <a:latin typeface="Franklin Gothic Medium Cond" pitchFamily="34" charset="0"/>
              </a:rPr>
              <a:t>valas</a:t>
            </a:r>
            <a:endParaRPr lang="en-US" altLang="id-ID" sz="1600" dirty="0">
              <a:solidFill>
                <a:srgbClr val="333399"/>
              </a:solidFill>
              <a:latin typeface="Franklin Gothic Medium Cond" pitchFamily="34" charset="0"/>
            </a:endParaRPr>
          </a:p>
        </p:txBody>
      </p:sp>
      <p:sp>
        <p:nvSpPr>
          <p:cNvPr id="47" name="Rectangle 1"/>
          <p:cNvSpPr>
            <a:spLocks noChangeArrowheads="1"/>
          </p:cNvSpPr>
          <p:nvPr/>
        </p:nvSpPr>
        <p:spPr bwMode="auto">
          <a:xfrm>
            <a:off x="4648200" y="6062246"/>
            <a:ext cx="4343399" cy="33855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Memperkuat</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kecukupan</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cadangan</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devisa</a:t>
            </a:r>
            <a:endParaRPr lang="en-US" altLang="id-ID" sz="1600" dirty="0">
              <a:solidFill>
                <a:srgbClr val="333399"/>
              </a:solidFill>
              <a:latin typeface="Franklin Gothic Medium Cond" pitchFamily="34" charset="0"/>
            </a:endParaRPr>
          </a:p>
        </p:txBody>
      </p:sp>
      <p:sp>
        <p:nvSpPr>
          <p:cNvPr id="48" name="Rectangle 1"/>
          <p:cNvSpPr>
            <a:spLocks noChangeArrowheads="1"/>
          </p:cNvSpPr>
          <p:nvPr/>
        </p:nvSpPr>
        <p:spPr bwMode="auto">
          <a:xfrm>
            <a:off x="76201" y="3765828"/>
            <a:ext cx="1981199" cy="5847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Kebj</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moneter</a:t>
            </a:r>
            <a:r>
              <a:rPr lang="en-US" altLang="id-ID" sz="1600" dirty="0" smtClean="0">
                <a:solidFill>
                  <a:srgbClr val="333399"/>
                </a:solidFill>
                <a:latin typeface="Franklin Gothic Medium Cond" pitchFamily="34" charset="0"/>
              </a:rPr>
              <a:t>  prudent &amp; </a:t>
            </a:r>
            <a:r>
              <a:rPr lang="en-US" altLang="id-ID" sz="1600" dirty="0" err="1" smtClean="0">
                <a:solidFill>
                  <a:srgbClr val="333399"/>
                </a:solidFill>
                <a:latin typeface="Franklin Gothic Medium Cond" pitchFamily="34" charset="0"/>
              </a:rPr>
              <a:t>konsisten</a:t>
            </a:r>
            <a:endParaRPr lang="en-US" altLang="id-ID" sz="1600" dirty="0">
              <a:solidFill>
                <a:srgbClr val="333399"/>
              </a:solidFill>
              <a:latin typeface="Franklin Gothic Medium Cond" pitchFamily="34" charset="0"/>
            </a:endParaRPr>
          </a:p>
        </p:txBody>
      </p:sp>
      <p:sp>
        <p:nvSpPr>
          <p:cNvPr id="49" name="Rectangle 1"/>
          <p:cNvSpPr>
            <a:spLocks noChangeArrowheads="1"/>
          </p:cNvSpPr>
          <p:nvPr/>
        </p:nvSpPr>
        <p:spPr bwMode="auto">
          <a:xfrm>
            <a:off x="76201" y="4393050"/>
            <a:ext cx="1981199" cy="5847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Kebj</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Makroprudensial</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akomodatif</a:t>
            </a:r>
            <a:endParaRPr lang="en-US" altLang="id-ID" sz="1600" dirty="0">
              <a:solidFill>
                <a:srgbClr val="333399"/>
              </a:solidFill>
              <a:latin typeface="Franklin Gothic Medium Cond" pitchFamily="34" charset="0"/>
            </a:endParaRPr>
          </a:p>
        </p:txBody>
      </p:sp>
      <p:sp>
        <p:nvSpPr>
          <p:cNvPr id="50" name="Rectangle 1"/>
          <p:cNvSpPr>
            <a:spLocks noChangeArrowheads="1"/>
          </p:cNvSpPr>
          <p:nvPr/>
        </p:nvSpPr>
        <p:spPr bwMode="auto">
          <a:xfrm>
            <a:off x="1752600" y="5376446"/>
            <a:ext cx="289559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FF0000"/>
                </a:solidFill>
                <a:latin typeface="Franklin Gothic Medium Cond" pitchFamily="34" charset="0"/>
              </a:rPr>
              <a:t>Kebijakan</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jangka</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pendek</a:t>
            </a:r>
            <a:r>
              <a:rPr lang="en-US" altLang="id-ID" sz="1600" dirty="0" smtClean="0">
                <a:solidFill>
                  <a:srgbClr val="FF0000"/>
                </a:solidFill>
                <a:latin typeface="Franklin Gothic Medium Cond" pitchFamily="34" charset="0"/>
              </a:rPr>
              <a:t> </a:t>
            </a:r>
            <a:endParaRPr lang="en-US" altLang="id-ID" sz="1600" dirty="0">
              <a:solidFill>
                <a:srgbClr val="FF0000"/>
              </a:solidFill>
              <a:latin typeface="Franklin Gothic Medium Cond" pitchFamily="34" charset="0"/>
            </a:endParaRPr>
          </a:p>
        </p:txBody>
      </p:sp>
      <p:sp>
        <p:nvSpPr>
          <p:cNvPr id="51" name="Rectangle 1"/>
          <p:cNvSpPr>
            <a:spLocks noChangeArrowheads="1"/>
          </p:cNvSpPr>
          <p:nvPr/>
        </p:nvSpPr>
        <p:spPr bwMode="auto">
          <a:xfrm>
            <a:off x="-380999" y="3429000"/>
            <a:ext cx="2895599" cy="33855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FF0000"/>
                </a:solidFill>
                <a:latin typeface="Franklin Gothic Medium Cond" pitchFamily="34" charset="0"/>
              </a:rPr>
              <a:t>Kebijakan</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jangka</a:t>
            </a:r>
            <a:r>
              <a:rPr lang="en-US" altLang="id-ID" sz="1600" dirty="0" smtClean="0">
                <a:solidFill>
                  <a:srgbClr val="FF0000"/>
                </a:solidFill>
                <a:latin typeface="Franklin Gothic Medium Cond" pitchFamily="34" charset="0"/>
              </a:rPr>
              <a:t> </a:t>
            </a:r>
            <a:r>
              <a:rPr lang="en-US" altLang="id-ID" sz="1600" dirty="0" err="1" smtClean="0">
                <a:solidFill>
                  <a:srgbClr val="FF0000"/>
                </a:solidFill>
                <a:latin typeface="Franklin Gothic Medium Cond" pitchFamily="34" charset="0"/>
              </a:rPr>
              <a:t>panjang</a:t>
            </a:r>
            <a:r>
              <a:rPr lang="en-US" altLang="id-ID" sz="1600" dirty="0" smtClean="0">
                <a:solidFill>
                  <a:srgbClr val="FF0000"/>
                </a:solidFill>
                <a:latin typeface="Franklin Gothic Medium Cond" pitchFamily="34" charset="0"/>
              </a:rPr>
              <a:t> </a:t>
            </a:r>
            <a:endParaRPr lang="en-US" altLang="id-ID" sz="1600" dirty="0">
              <a:solidFill>
                <a:srgbClr val="FF0000"/>
              </a:solidFill>
              <a:latin typeface="Franklin Gothic Medium Cond" pitchFamily="34" charset="0"/>
            </a:endParaRPr>
          </a:p>
        </p:txBody>
      </p:sp>
      <p:sp>
        <p:nvSpPr>
          <p:cNvPr id="52" name="Rectangle 1"/>
          <p:cNvSpPr>
            <a:spLocks noChangeArrowheads="1"/>
          </p:cNvSpPr>
          <p:nvPr/>
        </p:nvSpPr>
        <p:spPr bwMode="auto">
          <a:xfrm>
            <a:off x="76201" y="5054025"/>
            <a:ext cx="1981199" cy="5847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id-ID" sz="1600" dirty="0" err="1" smtClean="0">
                <a:solidFill>
                  <a:srgbClr val="333399"/>
                </a:solidFill>
                <a:latin typeface="Franklin Gothic Medium Cond" pitchFamily="34" charset="0"/>
              </a:rPr>
              <a:t>Percepatan</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reformasi</a:t>
            </a:r>
            <a:r>
              <a:rPr lang="en-US" altLang="id-ID" sz="1600" dirty="0" smtClean="0">
                <a:solidFill>
                  <a:srgbClr val="333399"/>
                </a:solidFill>
                <a:latin typeface="Franklin Gothic Medium Cond" pitchFamily="34" charset="0"/>
              </a:rPr>
              <a:t> </a:t>
            </a:r>
            <a:r>
              <a:rPr lang="en-US" altLang="id-ID" sz="1600" dirty="0" err="1" smtClean="0">
                <a:solidFill>
                  <a:srgbClr val="333399"/>
                </a:solidFill>
                <a:latin typeface="Franklin Gothic Medium Cond" pitchFamily="34" charset="0"/>
              </a:rPr>
              <a:t>struktural</a:t>
            </a:r>
            <a:endParaRPr lang="en-US" altLang="id-ID" sz="1600" dirty="0">
              <a:solidFill>
                <a:srgbClr val="333399"/>
              </a:solidFill>
              <a:latin typeface="Franklin Gothic Medium Cond" pitchFamily="34" charset="0"/>
            </a:endParaRPr>
          </a:p>
        </p:txBody>
      </p:sp>
      <p:cxnSp>
        <p:nvCxnSpPr>
          <p:cNvPr id="55" name="Straight Arrow Connector 54"/>
          <p:cNvCxnSpPr>
            <a:endCxn id="36" idx="1"/>
          </p:cNvCxnSpPr>
          <p:nvPr/>
        </p:nvCxnSpPr>
        <p:spPr>
          <a:xfrm flipV="1">
            <a:off x="2057400" y="4714965"/>
            <a:ext cx="304801" cy="9436"/>
          </a:xfrm>
          <a:prstGeom prst="straightConnector1">
            <a:avLst/>
          </a:prstGeom>
          <a:ln w="38100">
            <a:solidFill>
              <a:srgbClr val="000099"/>
            </a:solidFill>
            <a:prstDash val="soli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190999" y="6172200"/>
            <a:ext cx="419101" cy="0"/>
          </a:xfrm>
          <a:prstGeom prst="straightConnector1">
            <a:avLst/>
          </a:prstGeom>
          <a:ln w="38100">
            <a:solidFill>
              <a:srgbClr val="000099"/>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6389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9944" y="3886200"/>
            <a:ext cx="5982855" cy="2820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TextBox 7"/>
          <p:cNvSpPr txBox="1">
            <a:spLocks noChangeArrowheads="1"/>
          </p:cNvSpPr>
          <p:nvPr/>
        </p:nvSpPr>
        <p:spPr bwMode="auto">
          <a:xfrm>
            <a:off x="2819400" y="4038600"/>
            <a:ext cx="25130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b="1" dirty="0"/>
              <a:t>Turnover - </a:t>
            </a:r>
            <a:r>
              <a:rPr lang="id-ID" sz="1200" b="1" dirty="0"/>
              <a:t>Daily Average </a:t>
            </a:r>
            <a:r>
              <a:rPr lang="en-US" sz="1200" b="1" dirty="0"/>
              <a:t>($ Mill)</a:t>
            </a:r>
          </a:p>
        </p:txBody>
      </p:sp>
      <p:pic>
        <p:nvPicPr>
          <p:cNvPr id="122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1004787"/>
            <a:ext cx="6019800" cy="2771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13"/>
          <p:cNvGrpSpPr/>
          <p:nvPr/>
        </p:nvGrpSpPr>
        <p:grpSpPr>
          <a:xfrm>
            <a:off x="0" y="0"/>
            <a:ext cx="8656320" cy="548640"/>
            <a:chOff x="0" y="0"/>
            <a:chExt cx="8656320" cy="548640"/>
          </a:xfrm>
        </p:grpSpPr>
        <p:sp>
          <p:nvSpPr>
            <p:cNvPr id="17" name="Rectangle 16"/>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8" name="Rectangle 17"/>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9" name="Title 1"/>
          <p:cNvSpPr>
            <a:spLocks noGrp="1"/>
          </p:cNvSpPr>
          <p:nvPr>
            <p:ph type="title"/>
          </p:nvPr>
        </p:nvSpPr>
        <p:spPr>
          <a:xfrm>
            <a:off x="0" y="26894"/>
            <a:ext cx="9144000" cy="487362"/>
          </a:xfrm>
        </p:spPr>
        <p:txBody>
          <a:bodyPr/>
          <a:lstStyle/>
          <a:p>
            <a:pPr algn="just"/>
            <a:r>
              <a:rPr lang="en-US" sz="2400" dirty="0" err="1">
                <a:solidFill>
                  <a:srgbClr val="000066"/>
                </a:solidFill>
                <a:latin typeface="Eras Demi ITC" pitchFamily="34" charset="0"/>
              </a:rPr>
              <a:t>Gambaran</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Umum</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Pasar</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Valas</a:t>
            </a:r>
            <a:r>
              <a:rPr lang="en-US" sz="2400" dirty="0">
                <a:solidFill>
                  <a:srgbClr val="000066"/>
                </a:solidFill>
                <a:latin typeface="Eras Demi ITC" pitchFamily="34" charset="0"/>
              </a:rPr>
              <a:t> </a:t>
            </a:r>
            <a:r>
              <a:rPr lang="en-US" sz="2400" dirty="0" err="1">
                <a:solidFill>
                  <a:srgbClr val="000066"/>
                </a:solidFill>
                <a:latin typeface="Eras Demi ITC" pitchFamily="34" charset="0"/>
              </a:rPr>
              <a:t>Domestik</a:t>
            </a:r>
            <a:endParaRPr lang="en-US" sz="2400" dirty="0">
              <a:solidFill>
                <a:srgbClr val="000066"/>
              </a:solidFill>
              <a:latin typeface="Eras Demi ITC" pitchFamily="34" charset="0"/>
            </a:endParaRPr>
          </a:p>
        </p:txBody>
      </p:sp>
      <p:sp>
        <p:nvSpPr>
          <p:cNvPr id="20" name="TextBox 19"/>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20</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4415499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Title 1"/>
          <p:cNvSpPr>
            <a:spLocks noGrp="1"/>
          </p:cNvSpPr>
          <p:nvPr>
            <p:ph type="title"/>
          </p:nvPr>
        </p:nvSpPr>
        <p:spPr bwMode="auto">
          <a:xfrm>
            <a:off x="0" y="26988"/>
            <a:ext cx="9144000"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id-ID" dirty="0" err="1" smtClean="0"/>
              <a:t>Perkembangan</a:t>
            </a:r>
            <a:r>
              <a:rPr lang="en-US" altLang="id-ID" dirty="0" smtClean="0"/>
              <a:t> </a:t>
            </a:r>
            <a:r>
              <a:rPr lang="id-ID" altLang="id-ID" dirty="0" smtClean="0"/>
              <a:t>Nilai Tukar Rupiah</a:t>
            </a:r>
            <a:endParaRPr lang="en-US" altLang="id-ID" dirty="0" smtClean="0"/>
          </a:p>
        </p:txBody>
      </p:sp>
      <p:sp>
        <p:nvSpPr>
          <p:cNvPr id="33" name="Text Box 14"/>
          <p:cNvSpPr txBox="1">
            <a:spLocks noChangeArrowheads="1"/>
          </p:cNvSpPr>
          <p:nvPr/>
        </p:nvSpPr>
        <p:spPr bwMode="auto">
          <a:xfrm>
            <a:off x="419100" y="1568450"/>
            <a:ext cx="7772400" cy="588963"/>
          </a:xfrm>
          <a:prstGeom prst="rect">
            <a:avLst/>
          </a:prstGeom>
          <a:noFill/>
          <a:ln w="9525">
            <a:noFill/>
            <a:miter lim="800000"/>
            <a:headEnd/>
            <a:tailEnd/>
          </a:ln>
          <a:effectLst/>
        </p:spPr>
        <p:txBody>
          <a:bodyPr>
            <a:spAutoFit/>
          </a:bodyPr>
          <a:lstStyle/>
          <a:p>
            <a:pPr algn="ctr" fontAlgn="auto">
              <a:lnSpc>
                <a:spcPct val="85000"/>
              </a:lnSpc>
              <a:spcBef>
                <a:spcPts val="0"/>
              </a:spcBef>
              <a:spcAft>
                <a:spcPts val="0"/>
              </a:spcAft>
              <a:defRPr/>
            </a:pPr>
            <a:endParaRPr lang="en-US" sz="3800" b="1">
              <a:solidFill>
                <a:schemeClr val="accent2"/>
              </a:solidFill>
              <a:effectLst>
                <a:outerShdw blurRad="38100" dist="38100" dir="2700000" algn="tl">
                  <a:srgbClr val="C0C0C0"/>
                </a:outerShdw>
              </a:effectLst>
              <a:latin typeface="High Tower Text" pitchFamily="18" charset="0"/>
              <a:ea typeface="+mn-ea"/>
            </a:endParaRPr>
          </a:p>
        </p:txBody>
      </p:sp>
      <p:sp>
        <p:nvSpPr>
          <p:cNvPr id="84997" name="Rectangle 8"/>
          <p:cNvSpPr>
            <a:spLocks noChangeArrowheads="1"/>
          </p:cNvSpPr>
          <p:nvPr/>
        </p:nvSpPr>
        <p:spPr bwMode="auto">
          <a:xfrm>
            <a:off x="-11113" y="533400"/>
            <a:ext cx="91551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id-ID" altLang="id-ID" sz="2000" b="1" i="1" dirty="0">
                <a:solidFill>
                  <a:srgbClr val="C00000"/>
                </a:solidFill>
              </a:rPr>
              <a:t>Nilai tukar rupiah mengalami depresiasi sejalan dengan kuatnya tekanan eksternal</a:t>
            </a:r>
            <a:r>
              <a:rPr lang="id-ID" altLang="id-ID" sz="2000" b="1" i="1" dirty="0" smtClean="0">
                <a:solidFill>
                  <a:srgbClr val="C00000"/>
                </a:solidFill>
              </a:rPr>
              <a:t>.</a:t>
            </a:r>
            <a:r>
              <a:rPr lang="en-US" altLang="id-ID" sz="2000" b="1" i="1" dirty="0" smtClean="0">
                <a:solidFill>
                  <a:srgbClr val="C00000"/>
                </a:solidFill>
              </a:rPr>
              <a:t>.</a:t>
            </a:r>
            <a:r>
              <a:rPr lang="id-ID" altLang="id-ID" sz="2000" b="1" i="1" dirty="0" smtClean="0">
                <a:solidFill>
                  <a:srgbClr val="C00000"/>
                </a:solidFill>
              </a:rPr>
              <a:t>.</a:t>
            </a:r>
            <a:endParaRPr lang="id-ID" altLang="id-ID" sz="2000" b="1" i="1" dirty="0">
              <a:solidFill>
                <a:srgbClr val="C00000"/>
              </a:solidFill>
            </a:endParaRPr>
          </a:p>
        </p:txBody>
      </p:sp>
      <p:sp>
        <p:nvSpPr>
          <p:cNvPr id="84998" name="TextBox 21"/>
          <p:cNvSpPr txBox="1">
            <a:spLocks noChangeArrowheads="1"/>
          </p:cNvSpPr>
          <p:nvPr/>
        </p:nvSpPr>
        <p:spPr bwMode="auto">
          <a:xfrm>
            <a:off x="0" y="884581"/>
            <a:ext cx="9144000" cy="201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36538" indent="-236538" eaLnBrk="0" hangingPunct="0">
              <a:tabLst>
                <a:tab pos="176213" algn="l"/>
              </a:tabLst>
              <a:defRPr>
                <a:solidFill>
                  <a:schemeClr val="tx1"/>
                </a:solidFill>
                <a:latin typeface="Calibri" pitchFamily="34" charset="0"/>
                <a:ea typeface="MS PGothic" pitchFamily="34" charset="-128"/>
              </a:defRPr>
            </a:lvl1pPr>
            <a:lvl2pPr marL="742950" indent="-285750" eaLnBrk="0" hangingPunct="0">
              <a:tabLst>
                <a:tab pos="176213" algn="l"/>
              </a:tabLst>
              <a:defRPr>
                <a:solidFill>
                  <a:schemeClr val="tx1"/>
                </a:solidFill>
                <a:latin typeface="Calibri" pitchFamily="34" charset="0"/>
                <a:ea typeface="MS PGothic" pitchFamily="34" charset="-128"/>
              </a:defRPr>
            </a:lvl2pPr>
            <a:lvl3pPr marL="1143000" indent="-228600" eaLnBrk="0" hangingPunct="0">
              <a:tabLst>
                <a:tab pos="176213" algn="l"/>
              </a:tabLst>
              <a:defRPr>
                <a:solidFill>
                  <a:schemeClr val="tx1"/>
                </a:solidFill>
                <a:latin typeface="Calibri" pitchFamily="34" charset="0"/>
                <a:ea typeface="MS PGothic" pitchFamily="34" charset="-128"/>
              </a:defRPr>
            </a:lvl3pPr>
            <a:lvl4pPr marL="1600200" indent="-228600" eaLnBrk="0" hangingPunct="0">
              <a:tabLst>
                <a:tab pos="176213" algn="l"/>
              </a:tabLst>
              <a:defRPr>
                <a:solidFill>
                  <a:schemeClr val="tx1"/>
                </a:solidFill>
                <a:latin typeface="Calibri" pitchFamily="34" charset="0"/>
                <a:ea typeface="MS PGothic" pitchFamily="34" charset="-128"/>
              </a:defRPr>
            </a:lvl4pPr>
            <a:lvl5pPr marL="2057400" indent="-228600" eaLnBrk="0" hangingPunct="0">
              <a:tabLst>
                <a:tab pos="176213" algn="l"/>
              </a:tabLst>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9pPr>
          </a:lstStyle>
          <a:p>
            <a:pPr eaLnBrk="1" hangingPunct="1">
              <a:spcBef>
                <a:spcPct val="20000"/>
              </a:spcBef>
              <a:buFont typeface="Wingdings" pitchFamily="2" charset="2"/>
              <a:buChar char="§"/>
            </a:pPr>
            <a:r>
              <a:rPr lang="id-ID" altLang="id-ID" dirty="0"/>
              <a:t>Pada bulan Agustus 2015, rupiah secara rata-rata melemah sebesar 2,9% (mtm) ke level Rp13.789 per dolar AS dari bulan sebelumnya sebesar Rp13.382 per dolar </a:t>
            </a:r>
            <a:r>
              <a:rPr lang="id-ID" altLang="id-ID" dirty="0" smtClean="0"/>
              <a:t>AS.</a:t>
            </a:r>
          </a:p>
          <a:p>
            <a:pPr eaLnBrk="1" hangingPunct="1">
              <a:spcBef>
                <a:spcPct val="20000"/>
              </a:spcBef>
              <a:buFont typeface="Wingdings" pitchFamily="2" charset="2"/>
              <a:buChar char="§"/>
            </a:pPr>
            <a:r>
              <a:rPr lang="id-ID" altLang="id-ID" dirty="0">
                <a:solidFill>
                  <a:prstClr val="black"/>
                </a:solidFill>
              </a:rPr>
              <a:t>Sumber tekanan terutama berasal dari dampak devaluasi Yuan oleh Bank Sentral Tiongkok serta kembali meningkatnya ketidakpastian </a:t>
            </a:r>
            <a:r>
              <a:rPr lang="id-ID" altLang="id-ID" dirty="0" smtClean="0">
                <a:solidFill>
                  <a:prstClr val="black"/>
                </a:solidFill>
              </a:rPr>
              <a:t>rencana </a:t>
            </a:r>
            <a:r>
              <a:rPr lang="id-ID" altLang="id-ID" dirty="0">
                <a:solidFill>
                  <a:prstClr val="black"/>
                </a:solidFill>
              </a:rPr>
              <a:t>kenaikan suku bunga oleh The </a:t>
            </a:r>
            <a:r>
              <a:rPr lang="id-ID" altLang="id-ID" dirty="0" smtClean="0">
                <a:solidFill>
                  <a:prstClr val="black"/>
                </a:solidFill>
              </a:rPr>
              <a:t>Fed.</a:t>
            </a:r>
          </a:p>
          <a:p>
            <a:pPr eaLnBrk="1" hangingPunct="1">
              <a:spcBef>
                <a:spcPct val="20000"/>
              </a:spcBef>
              <a:buFont typeface="Wingdings" pitchFamily="2" charset="2"/>
              <a:buChar char="§"/>
            </a:pPr>
            <a:r>
              <a:rPr lang="id-ID" altLang="id-ID" dirty="0" smtClean="0">
                <a:solidFill>
                  <a:prstClr val="black"/>
                </a:solidFill>
              </a:rPr>
              <a:t>Sementara </a:t>
            </a:r>
            <a:r>
              <a:rPr lang="id-ID" altLang="id-ID" dirty="0">
                <a:solidFill>
                  <a:prstClr val="black"/>
                </a:solidFill>
              </a:rPr>
              <a:t>dari sisi domestik, tekanan terhadap rupiah didorong oleh permintaan terhadap dolar AS, untuk pembayaran utang luar </a:t>
            </a:r>
            <a:r>
              <a:rPr lang="id-ID" altLang="id-ID" dirty="0" smtClean="0">
                <a:solidFill>
                  <a:prstClr val="black"/>
                </a:solidFill>
              </a:rPr>
              <a:t>negeri.</a:t>
            </a:r>
          </a:p>
          <a:p>
            <a:pPr eaLnBrk="1" hangingPunct="1">
              <a:spcBef>
                <a:spcPct val="20000"/>
              </a:spcBef>
              <a:buFont typeface="Wingdings" pitchFamily="2" charset="2"/>
              <a:buChar char="§"/>
            </a:pPr>
            <a:r>
              <a:rPr lang="id-ID" altLang="id-ID" dirty="0" smtClean="0">
                <a:solidFill>
                  <a:prstClr val="black"/>
                </a:solidFill>
              </a:rPr>
              <a:t>Depresiasi</a:t>
            </a:r>
            <a:r>
              <a:rPr lang="sv-SE" altLang="id-ID" dirty="0" smtClean="0">
                <a:solidFill>
                  <a:prstClr val="black"/>
                </a:solidFill>
              </a:rPr>
              <a:t> </a:t>
            </a:r>
            <a:r>
              <a:rPr lang="sv-SE" altLang="id-ID" dirty="0">
                <a:solidFill>
                  <a:prstClr val="black"/>
                </a:solidFill>
              </a:rPr>
              <a:t>rupiah sejalan dengan </a:t>
            </a:r>
            <a:r>
              <a:rPr lang="id-ID" altLang="id-ID" dirty="0" smtClean="0">
                <a:solidFill>
                  <a:prstClr val="black"/>
                </a:solidFill>
              </a:rPr>
              <a:t>depresiasi </a:t>
            </a:r>
            <a:r>
              <a:rPr lang="sv-SE" altLang="id-ID" dirty="0" smtClean="0">
                <a:solidFill>
                  <a:prstClr val="black"/>
                </a:solidFill>
              </a:rPr>
              <a:t>mata </a:t>
            </a:r>
            <a:r>
              <a:rPr lang="sv-SE" altLang="id-ID" dirty="0">
                <a:solidFill>
                  <a:prstClr val="black"/>
                </a:solidFill>
              </a:rPr>
              <a:t>uang lain di </a:t>
            </a:r>
            <a:r>
              <a:rPr lang="sv-SE" altLang="id-ID" dirty="0" smtClean="0">
                <a:solidFill>
                  <a:prstClr val="black"/>
                </a:solidFill>
              </a:rPr>
              <a:t>dunia</a:t>
            </a:r>
            <a:r>
              <a:rPr lang="id-ID" altLang="id-ID" dirty="0" smtClean="0">
                <a:solidFill>
                  <a:prstClr val="black"/>
                </a:solidFill>
              </a:rPr>
              <a:t>, bahkan lebih rendah dari beberapa negara </a:t>
            </a:r>
            <a:r>
              <a:rPr lang="id-ID" altLang="id-ID" i="1" dirty="0" smtClean="0">
                <a:solidFill>
                  <a:prstClr val="black"/>
                </a:solidFill>
              </a:rPr>
              <a:t>peers</a:t>
            </a:r>
            <a:r>
              <a:rPr lang="id-ID" altLang="id-ID" dirty="0" smtClean="0">
                <a:solidFill>
                  <a:prstClr val="black"/>
                </a:solidFill>
              </a:rPr>
              <a:t>.</a:t>
            </a:r>
            <a:endParaRPr lang="id-ID" altLang="id-ID" dirty="0" smtClean="0"/>
          </a:p>
        </p:txBody>
      </p:sp>
      <p:sp>
        <p:nvSpPr>
          <p:cNvPr id="84999" name="Rectangle 35"/>
          <p:cNvSpPr>
            <a:spLocks noChangeArrowheads="1"/>
          </p:cNvSpPr>
          <p:nvPr/>
        </p:nvSpPr>
        <p:spPr bwMode="auto">
          <a:xfrm>
            <a:off x="6038850" y="1828800"/>
            <a:ext cx="107156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just" eaLnBrk="1" hangingPunct="1">
              <a:spcBef>
                <a:spcPct val="10000"/>
              </a:spcBef>
              <a:buFontTx/>
              <a:buChar char="•"/>
            </a:pPr>
            <a:endParaRPr lang="id-ID" altLang="id-ID" sz="1600" b="1" i="1" dirty="0"/>
          </a:p>
        </p:txBody>
      </p:sp>
      <p:sp>
        <p:nvSpPr>
          <p:cNvPr id="82954"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latin typeface="Calibri" charset="0"/>
              <a:ea typeface="ＭＳ Ｐゴシック" charset="0"/>
              <a:cs typeface="Arial" charset="0"/>
            </a:endParaRPr>
          </a:p>
        </p:txBody>
      </p:sp>
      <p:sp>
        <p:nvSpPr>
          <p:cNvPr id="82956"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latin typeface="Calibri" charset="0"/>
              <a:ea typeface="ＭＳ Ｐゴシック" charset="0"/>
              <a:cs typeface="Arial" charset="0"/>
            </a:endParaRPr>
          </a:p>
        </p:txBody>
      </p:sp>
      <p:sp>
        <p:nvSpPr>
          <p:cNvPr id="82958"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latin typeface="Calibri" charset="0"/>
              <a:ea typeface="ＭＳ Ｐゴシック" charset="0"/>
              <a:cs typeface="Arial" charset="0"/>
            </a:endParaRP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3"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grpSp>
        <p:nvGrpSpPr>
          <p:cNvPr id="25" name="Group 3"/>
          <p:cNvGrpSpPr>
            <a:grpSpLocks/>
          </p:cNvGrpSpPr>
          <p:nvPr/>
        </p:nvGrpSpPr>
        <p:grpSpPr bwMode="auto">
          <a:xfrm>
            <a:off x="327818" y="3352800"/>
            <a:ext cx="8488363" cy="343802"/>
            <a:chOff x="228600" y="2870092"/>
            <a:chExt cx="8488933" cy="376831"/>
          </a:xfrm>
        </p:grpSpPr>
        <p:sp>
          <p:nvSpPr>
            <p:cNvPr id="26" name="Rectangle 25"/>
            <p:cNvSpPr>
              <a:spLocks noChangeArrowheads="1"/>
            </p:cNvSpPr>
            <p:nvPr/>
          </p:nvSpPr>
          <p:spPr bwMode="auto">
            <a:xfrm>
              <a:off x="228600" y="2870092"/>
              <a:ext cx="3799143" cy="354212"/>
            </a:xfrm>
            <a:prstGeom prst="rect">
              <a:avLst/>
            </a:prstGeom>
            <a:solidFill>
              <a:srgbClr val="00206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r>
                <a:rPr lang="id-ID" sz="1500" b="1" dirty="0" smtClean="0">
                  <a:solidFill>
                    <a:prstClr val="white"/>
                  </a:solidFill>
                  <a:ea typeface="ＭＳ Ｐゴシック" charset="0"/>
                  <a:cs typeface="ＭＳ Ｐゴシック" charset="0"/>
                </a:rPr>
                <a:t>Pergerakan Nilai Tukar Rupiah</a:t>
              </a:r>
              <a:endParaRPr lang="id-ID" sz="1500" b="1" i="1" dirty="0">
                <a:solidFill>
                  <a:prstClr val="white"/>
                </a:solidFill>
                <a:ea typeface="ＭＳ Ｐゴシック" charset="0"/>
                <a:cs typeface="ＭＳ Ｐゴシック" charset="0"/>
              </a:endParaRPr>
            </a:p>
          </p:txBody>
        </p:sp>
        <p:sp>
          <p:nvSpPr>
            <p:cNvPr id="27" name="Rectangle 26"/>
            <p:cNvSpPr>
              <a:spLocks noChangeArrowheads="1"/>
            </p:cNvSpPr>
            <p:nvPr/>
          </p:nvSpPr>
          <p:spPr bwMode="auto">
            <a:xfrm>
              <a:off x="4764393" y="2892711"/>
              <a:ext cx="3635619" cy="354212"/>
            </a:xfrm>
            <a:prstGeom prst="rect">
              <a:avLst/>
            </a:prstGeom>
            <a:solidFill>
              <a:srgbClr val="00206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defRPr/>
              </a:pPr>
              <a:r>
                <a:rPr lang="id-ID" sz="1500" b="1" dirty="0" smtClean="0">
                  <a:solidFill>
                    <a:prstClr val="white"/>
                  </a:solidFill>
                  <a:ea typeface="ＭＳ Ｐゴシック" charset="0"/>
                  <a:cs typeface="ＭＳ Ｐゴシック" charset="0"/>
                </a:rPr>
                <a:t>Perbandingan Nilai Tukar Kawasan</a:t>
              </a:r>
              <a:endParaRPr lang="id-ID" sz="1500" b="1" dirty="0">
                <a:solidFill>
                  <a:prstClr val="white"/>
                </a:solidFill>
                <a:ea typeface="ＭＳ Ｐゴシック" charset="0"/>
                <a:cs typeface="ＭＳ Ｐゴシック" charset="0"/>
              </a:endParaRPr>
            </a:p>
          </p:txBody>
        </p:sp>
        <p:sp>
          <p:nvSpPr>
            <p:cNvPr id="28" name="Rectangle 27"/>
            <p:cNvSpPr>
              <a:spLocks noChangeArrowheads="1"/>
            </p:cNvSpPr>
            <p:nvPr/>
          </p:nvSpPr>
          <p:spPr bwMode="auto">
            <a:xfrm>
              <a:off x="4081722" y="2885375"/>
              <a:ext cx="279419" cy="327123"/>
            </a:xfrm>
            <a:prstGeom prst="rect">
              <a:avLst/>
            </a:prstGeom>
            <a:solidFill>
              <a:srgbClr val="C0000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endParaRPr lang="id-ID" sz="1500" b="1" dirty="0">
                <a:solidFill>
                  <a:prstClr val="white"/>
                </a:solidFill>
                <a:ea typeface="ＭＳ Ｐゴシック" charset="0"/>
              </a:endParaRPr>
            </a:p>
          </p:txBody>
        </p:sp>
        <p:sp>
          <p:nvSpPr>
            <p:cNvPr id="29" name="Rectangle 28"/>
            <p:cNvSpPr>
              <a:spLocks noChangeArrowheads="1"/>
            </p:cNvSpPr>
            <p:nvPr/>
          </p:nvSpPr>
          <p:spPr bwMode="auto">
            <a:xfrm>
              <a:off x="8438114" y="2885373"/>
              <a:ext cx="279419" cy="327123"/>
            </a:xfrm>
            <a:prstGeom prst="rect">
              <a:avLst/>
            </a:prstGeom>
            <a:solidFill>
              <a:srgbClr val="C0000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endParaRPr lang="id-ID" sz="1500" b="1" dirty="0">
                <a:solidFill>
                  <a:prstClr val="white"/>
                </a:solidFill>
                <a:ea typeface="ＭＳ Ｐゴシック" charset="0"/>
              </a:endParaRPr>
            </a:p>
          </p:txBody>
        </p:sp>
      </p:grpSp>
      <p:sp>
        <p:nvSpPr>
          <p:cNvPr id="5"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6"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8"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10"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7"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9"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pic>
        <p:nvPicPr>
          <p:cNvPr id="12"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817" y="3715712"/>
            <a:ext cx="4132263" cy="2685088"/>
          </a:xfrm>
          <a:prstGeom prst="rect">
            <a:avLst/>
          </a:prstGeom>
          <a:noFill/>
          <a:ln w="9525">
            <a:solidFill>
              <a:srgbClr val="BFBFBF"/>
            </a:solidFill>
            <a:miter lim="800000"/>
            <a:headEnd/>
            <a:tailEnd/>
          </a:ln>
          <a:extLst>
            <a:ext uri="{909E8E84-426E-40DD-AFC4-6F175D3DCCD1}">
              <a14:hiddenFill xmlns:a14="http://schemas.microsoft.com/office/drawing/2010/main">
                <a:solidFill>
                  <a:srgbClr val="FFFFFF"/>
                </a:solidFill>
              </a14:hiddenFill>
            </a:ext>
          </a:extLst>
        </p:spPr>
      </p:pic>
      <p:sp>
        <p:nvSpPr>
          <p:cNvPr id="13"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3306" y="3715712"/>
            <a:ext cx="3952875" cy="2685088"/>
          </a:xfrm>
          <a:prstGeom prst="rect">
            <a:avLst/>
          </a:prstGeom>
          <a:noFill/>
          <a:ln w="9525">
            <a:solidFill>
              <a:srgbClr val="BFBFBF"/>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230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Title 1"/>
          <p:cNvSpPr>
            <a:spLocks noGrp="1"/>
          </p:cNvSpPr>
          <p:nvPr>
            <p:ph type="title"/>
          </p:nvPr>
        </p:nvSpPr>
        <p:spPr bwMode="auto">
          <a:xfrm>
            <a:off x="0" y="26988"/>
            <a:ext cx="9144000"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id-ID" dirty="0" err="1" smtClean="0"/>
              <a:t>Volatilitas</a:t>
            </a:r>
            <a:r>
              <a:rPr lang="en-US" altLang="id-ID" dirty="0" smtClean="0"/>
              <a:t> </a:t>
            </a:r>
            <a:r>
              <a:rPr lang="id-ID" altLang="id-ID" dirty="0" smtClean="0"/>
              <a:t>Nilai Tukar Rupiah</a:t>
            </a:r>
            <a:endParaRPr lang="en-US" altLang="id-ID" dirty="0" smtClean="0"/>
          </a:p>
        </p:txBody>
      </p:sp>
      <p:sp>
        <p:nvSpPr>
          <p:cNvPr id="33" name="Text Box 14"/>
          <p:cNvSpPr txBox="1">
            <a:spLocks noChangeArrowheads="1"/>
          </p:cNvSpPr>
          <p:nvPr/>
        </p:nvSpPr>
        <p:spPr bwMode="auto">
          <a:xfrm>
            <a:off x="419100" y="1568450"/>
            <a:ext cx="7772400" cy="588963"/>
          </a:xfrm>
          <a:prstGeom prst="rect">
            <a:avLst/>
          </a:prstGeom>
          <a:noFill/>
          <a:ln w="9525">
            <a:noFill/>
            <a:miter lim="800000"/>
            <a:headEnd/>
            <a:tailEnd/>
          </a:ln>
          <a:effectLst/>
        </p:spPr>
        <p:txBody>
          <a:bodyPr>
            <a:spAutoFit/>
          </a:bodyPr>
          <a:lstStyle/>
          <a:p>
            <a:pPr algn="ctr" fontAlgn="auto">
              <a:lnSpc>
                <a:spcPct val="85000"/>
              </a:lnSpc>
              <a:spcBef>
                <a:spcPts val="0"/>
              </a:spcBef>
              <a:spcAft>
                <a:spcPts val="0"/>
              </a:spcAft>
              <a:defRPr/>
            </a:pPr>
            <a:endParaRPr lang="en-US" sz="3800" b="1">
              <a:solidFill>
                <a:srgbClr val="C0504D"/>
              </a:solidFill>
              <a:effectLst>
                <a:outerShdw blurRad="38100" dist="38100" dir="2700000" algn="tl">
                  <a:srgbClr val="C0C0C0"/>
                </a:outerShdw>
              </a:effectLst>
              <a:latin typeface="High Tower Text" pitchFamily="18" charset="0"/>
              <a:ea typeface="+mn-ea"/>
            </a:endParaRPr>
          </a:p>
        </p:txBody>
      </p:sp>
      <p:sp>
        <p:nvSpPr>
          <p:cNvPr id="84997" name="Rectangle 8"/>
          <p:cNvSpPr>
            <a:spLocks noChangeArrowheads="1"/>
          </p:cNvSpPr>
          <p:nvPr/>
        </p:nvSpPr>
        <p:spPr bwMode="auto">
          <a:xfrm>
            <a:off x="-11113" y="533400"/>
            <a:ext cx="91551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id-ID" altLang="id-ID" sz="2000" b="1" i="1" dirty="0" smtClean="0">
                <a:solidFill>
                  <a:srgbClr val="C00000"/>
                </a:solidFill>
              </a:rPr>
              <a:t>Sejalan dengan perkembangan volatilitas mata uang negara peers, volatilitas rupiah mengalami peningkatan....</a:t>
            </a:r>
            <a:endParaRPr lang="id-ID" altLang="id-ID" sz="2000" b="1" i="1" dirty="0">
              <a:solidFill>
                <a:srgbClr val="C00000"/>
              </a:solidFill>
            </a:endParaRPr>
          </a:p>
        </p:txBody>
      </p:sp>
      <p:sp>
        <p:nvSpPr>
          <p:cNvPr id="84998" name="TextBox 21"/>
          <p:cNvSpPr txBox="1">
            <a:spLocks noChangeArrowheads="1"/>
          </p:cNvSpPr>
          <p:nvPr/>
        </p:nvSpPr>
        <p:spPr bwMode="auto">
          <a:xfrm>
            <a:off x="0" y="1176338"/>
            <a:ext cx="8991600" cy="133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36538" indent="-236538" eaLnBrk="0" hangingPunct="0">
              <a:tabLst>
                <a:tab pos="176213" algn="l"/>
              </a:tabLst>
              <a:defRPr>
                <a:solidFill>
                  <a:schemeClr val="tx1"/>
                </a:solidFill>
                <a:latin typeface="Calibri" pitchFamily="34" charset="0"/>
                <a:ea typeface="MS PGothic" pitchFamily="34" charset="-128"/>
              </a:defRPr>
            </a:lvl1pPr>
            <a:lvl2pPr marL="742950" indent="-285750" eaLnBrk="0" hangingPunct="0">
              <a:tabLst>
                <a:tab pos="176213" algn="l"/>
              </a:tabLst>
              <a:defRPr>
                <a:solidFill>
                  <a:schemeClr val="tx1"/>
                </a:solidFill>
                <a:latin typeface="Calibri" pitchFamily="34" charset="0"/>
                <a:ea typeface="MS PGothic" pitchFamily="34" charset="-128"/>
              </a:defRPr>
            </a:lvl2pPr>
            <a:lvl3pPr marL="1143000" indent="-228600" eaLnBrk="0" hangingPunct="0">
              <a:tabLst>
                <a:tab pos="176213" algn="l"/>
              </a:tabLst>
              <a:defRPr>
                <a:solidFill>
                  <a:schemeClr val="tx1"/>
                </a:solidFill>
                <a:latin typeface="Calibri" pitchFamily="34" charset="0"/>
                <a:ea typeface="MS PGothic" pitchFamily="34" charset="-128"/>
              </a:defRPr>
            </a:lvl3pPr>
            <a:lvl4pPr marL="1600200" indent="-228600" eaLnBrk="0" hangingPunct="0">
              <a:tabLst>
                <a:tab pos="176213" algn="l"/>
              </a:tabLst>
              <a:defRPr>
                <a:solidFill>
                  <a:schemeClr val="tx1"/>
                </a:solidFill>
                <a:latin typeface="Calibri" pitchFamily="34" charset="0"/>
                <a:ea typeface="MS PGothic" pitchFamily="34" charset="-128"/>
              </a:defRPr>
            </a:lvl4pPr>
            <a:lvl5pPr marL="2057400" indent="-228600" eaLnBrk="0" hangingPunct="0">
              <a:tabLst>
                <a:tab pos="176213" algn="l"/>
              </a:tabLst>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tabLst>
                <a:tab pos="176213" algn="l"/>
              </a:tabLst>
              <a:defRPr>
                <a:solidFill>
                  <a:schemeClr val="tx1"/>
                </a:solidFill>
                <a:latin typeface="Calibri" pitchFamily="34" charset="0"/>
                <a:ea typeface="MS PGothic" pitchFamily="34" charset="-128"/>
              </a:defRPr>
            </a:lvl9pPr>
          </a:lstStyle>
          <a:p>
            <a:pPr eaLnBrk="1" hangingPunct="1">
              <a:spcBef>
                <a:spcPct val="20000"/>
              </a:spcBef>
              <a:buFont typeface="Wingdings" pitchFamily="2" charset="2"/>
              <a:buChar char="§"/>
            </a:pPr>
            <a:r>
              <a:rPr lang="id-ID" altLang="id-ID" dirty="0" smtClean="0">
                <a:solidFill>
                  <a:prstClr val="black"/>
                </a:solidFill>
              </a:rPr>
              <a:t>Volatilitas rupiah pada Agustus 2015 lebih tinggi dibandingkan bulan sebelumnya.</a:t>
            </a:r>
          </a:p>
          <a:p>
            <a:pPr eaLnBrk="1" hangingPunct="1">
              <a:spcBef>
                <a:spcPct val="20000"/>
              </a:spcBef>
              <a:buFont typeface="Wingdings" pitchFamily="2" charset="2"/>
              <a:buChar char="§"/>
            </a:pPr>
            <a:r>
              <a:rPr lang="id-ID" altLang="id-ID" dirty="0" smtClean="0">
                <a:solidFill>
                  <a:prstClr val="black"/>
                </a:solidFill>
              </a:rPr>
              <a:t>Namun, volatilitas </a:t>
            </a:r>
            <a:r>
              <a:rPr lang="id-ID" altLang="id-ID" dirty="0">
                <a:solidFill>
                  <a:prstClr val="black"/>
                </a:solidFill>
              </a:rPr>
              <a:t>rupiah lebih rendah </a:t>
            </a:r>
            <a:r>
              <a:rPr lang="id-ID" altLang="id-ID" dirty="0" smtClean="0">
                <a:solidFill>
                  <a:prstClr val="black"/>
                </a:solidFill>
              </a:rPr>
              <a:t>dari </a:t>
            </a:r>
            <a:r>
              <a:rPr lang="id-ID" altLang="id-ID" dirty="0">
                <a:solidFill>
                  <a:prstClr val="black"/>
                </a:solidFill>
              </a:rPr>
              <a:t>Ringgit Malaysia, Real Brasil, Lira Turki, dan Rand Afrika </a:t>
            </a:r>
            <a:r>
              <a:rPr lang="id-ID" altLang="id-ID" dirty="0" smtClean="0">
                <a:solidFill>
                  <a:prstClr val="black"/>
                </a:solidFill>
              </a:rPr>
              <a:t>Selatan.</a:t>
            </a:r>
          </a:p>
          <a:p>
            <a:pPr eaLnBrk="1" hangingPunct="1">
              <a:spcBef>
                <a:spcPct val="20000"/>
              </a:spcBef>
              <a:buFont typeface="Wingdings" pitchFamily="2" charset="2"/>
              <a:buChar char="§"/>
            </a:pPr>
            <a:r>
              <a:rPr lang="id-ID" altLang="id-ID" dirty="0" smtClean="0">
                <a:solidFill>
                  <a:prstClr val="black"/>
                </a:solidFill>
              </a:rPr>
              <a:t>Bank </a:t>
            </a:r>
            <a:r>
              <a:rPr lang="id-ID" altLang="id-ID" dirty="0">
                <a:solidFill>
                  <a:prstClr val="black"/>
                </a:solidFill>
              </a:rPr>
              <a:t>Indonesia terus berada di pasar untuk melakukan upaya stabilisasi nilai tukar rupiah sesuai dengan nilai </a:t>
            </a:r>
            <a:r>
              <a:rPr lang="id-ID" altLang="id-ID" dirty="0" smtClean="0">
                <a:solidFill>
                  <a:prstClr val="black"/>
                </a:solidFill>
              </a:rPr>
              <a:t>fundamentalnya. BI </a:t>
            </a:r>
            <a:r>
              <a:rPr lang="id-ID" altLang="id-ID" dirty="0">
                <a:solidFill>
                  <a:prstClr val="black"/>
                </a:solidFill>
              </a:rPr>
              <a:t>juga terus melakukan penguatan operasi moneter guna mengendalikan permintaan </a:t>
            </a:r>
            <a:r>
              <a:rPr lang="id-ID" altLang="id-ID" dirty="0" smtClean="0">
                <a:solidFill>
                  <a:prstClr val="black"/>
                </a:solidFill>
              </a:rPr>
              <a:t> </a:t>
            </a:r>
            <a:r>
              <a:rPr lang="id-ID" altLang="id-ID" dirty="0">
                <a:solidFill>
                  <a:prstClr val="black"/>
                </a:solidFill>
              </a:rPr>
              <a:t>memperkuat pasokan valas.</a:t>
            </a:r>
            <a:endParaRPr lang="id-ID" altLang="id-ID" dirty="0" smtClean="0">
              <a:solidFill>
                <a:prstClr val="black"/>
              </a:solidFill>
            </a:endParaRPr>
          </a:p>
        </p:txBody>
      </p:sp>
      <p:sp>
        <p:nvSpPr>
          <p:cNvPr id="84999" name="Rectangle 35"/>
          <p:cNvSpPr>
            <a:spLocks noChangeArrowheads="1"/>
          </p:cNvSpPr>
          <p:nvPr/>
        </p:nvSpPr>
        <p:spPr bwMode="auto">
          <a:xfrm>
            <a:off x="6038850" y="1828800"/>
            <a:ext cx="107156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342900" indent="-2286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just" eaLnBrk="1" hangingPunct="1">
              <a:spcBef>
                <a:spcPct val="10000"/>
              </a:spcBef>
              <a:buFontTx/>
              <a:buChar char="•"/>
            </a:pPr>
            <a:endParaRPr lang="id-ID" altLang="id-ID" sz="1600" b="1" i="1">
              <a:solidFill>
                <a:prstClr val="black"/>
              </a:solidFill>
            </a:endParaRPr>
          </a:p>
        </p:txBody>
      </p:sp>
      <p:sp>
        <p:nvSpPr>
          <p:cNvPr id="82954"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solidFill>
                <a:prstClr val="black"/>
              </a:solidFill>
              <a:latin typeface="Calibri" charset="0"/>
              <a:ea typeface="ＭＳ Ｐゴシック" charset="0"/>
              <a:cs typeface="Arial" charset="0"/>
            </a:endParaRPr>
          </a:p>
        </p:txBody>
      </p:sp>
      <p:sp>
        <p:nvSpPr>
          <p:cNvPr id="82956"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solidFill>
                <a:prstClr val="black"/>
              </a:solidFill>
              <a:latin typeface="Calibri" charset="0"/>
              <a:ea typeface="ＭＳ Ｐゴシック" charset="0"/>
              <a:cs typeface="Arial" charset="0"/>
            </a:endParaRPr>
          </a:p>
        </p:txBody>
      </p:sp>
      <p:sp>
        <p:nvSpPr>
          <p:cNvPr id="82958"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defRPr/>
            </a:pPr>
            <a:endParaRPr lang="id-ID">
              <a:solidFill>
                <a:prstClr val="black"/>
              </a:solidFill>
              <a:latin typeface="Calibri" charset="0"/>
              <a:ea typeface="ＭＳ Ｐゴシック" charset="0"/>
              <a:cs typeface="Arial" charset="0"/>
            </a:endParaRP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solidFill>
                <a:prstClr val="black"/>
              </a:solidFill>
            </a:endParaRPr>
          </a:p>
        </p:txBody>
      </p:sp>
      <p:sp>
        <p:nvSpPr>
          <p:cNvPr id="3"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solidFill>
                <a:prstClr val="black"/>
              </a:solidFill>
            </a:endParaRPr>
          </a:p>
        </p:txBody>
      </p:sp>
      <p:grpSp>
        <p:nvGrpSpPr>
          <p:cNvPr id="18" name="Group 3"/>
          <p:cNvGrpSpPr>
            <a:grpSpLocks/>
          </p:cNvGrpSpPr>
          <p:nvPr/>
        </p:nvGrpSpPr>
        <p:grpSpPr bwMode="auto">
          <a:xfrm>
            <a:off x="533400" y="3017830"/>
            <a:ext cx="7914480" cy="334970"/>
            <a:chOff x="4764393" y="2885373"/>
            <a:chExt cx="3953140" cy="361550"/>
          </a:xfrm>
        </p:grpSpPr>
        <p:sp>
          <p:nvSpPr>
            <p:cNvPr id="21" name="Rectangle 20"/>
            <p:cNvSpPr>
              <a:spLocks noChangeArrowheads="1"/>
            </p:cNvSpPr>
            <p:nvPr/>
          </p:nvSpPr>
          <p:spPr bwMode="auto">
            <a:xfrm>
              <a:off x="4764393" y="2892711"/>
              <a:ext cx="3635619" cy="354212"/>
            </a:xfrm>
            <a:prstGeom prst="rect">
              <a:avLst/>
            </a:prstGeom>
            <a:solidFill>
              <a:srgbClr val="00206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defRPr/>
              </a:pPr>
              <a:r>
                <a:rPr lang="id-ID" sz="1500" b="1" dirty="0" smtClean="0">
                  <a:solidFill>
                    <a:prstClr val="white"/>
                  </a:solidFill>
                  <a:ea typeface="ＭＳ Ｐゴシック" charset="0"/>
                  <a:cs typeface="ＭＳ Ｐゴシック" charset="0"/>
                </a:rPr>
                <a:t>Volatilitas Nilai Tukar – </a:t>
              </a:r>
              <a:r>
                <a:rPr lang="id-ID" sz="1500" b="1" i="1" dirty="0" smtClean="0">
                  <a:solidFill>
                    <a:prstClr val="white"/>
                  </a:solidFill>
                  <a:ea typeface="ＭＳ Ｐゴシック" charset="0"/>
                  <a:cs typeface="ＭＳ Ｐゴシック" charset="0"/>
                </a:rPr>
                <a:t>Peer Group</a:t>
              </a:r>
              <a:endParaRPr lang="id-ID" sz="1500" b="1" i="1" dirty="0">
                <a:solidFill>
                  <a:prstClr val="white"/>
                </a:solidFill>
                <a:ea typeface="ＭＳ Ｐゴシック" charset="0"/>
                <a:cs typeface="ＭＳ Ｐゴシック" charset="0"/>
              </a:endParaRPr>
            </a:p>
          </p:txBody>
        </p:sp>
        <p:sp>
          <p:nvSpPr>
            <p:cNvPr id="23" name="Rectangle 22"/>
            <p:cNvSpPr>
              <a:spLocks noChangeArrowheads="1"/>
            </p:cNvSpPr>
            <p:nvPr/>
          </p:nvSpPr>
          <p:spPr bwMode="auto">
            <a:xfrm>
              <a:off x="8438114" y="2885373"/>
              <a:ext cx="279419" cy="327123"/>
            </a:xfrm>
            <a:prstGeom prst="rect">
              <a:avLst/>
            </a:prstGeom>
            <a:solidFill>
              <a:srgbClr val="C0000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endParaRPr lang="id-ID" sz="1500" b="1" dirty="0">
                <a:solidFill>
                  <a:prstClr val="white"/>
                </a:solidFill>
                <a:ea typeface="ＭＳ Ｐゴシック" charset="0"/>
              </a:endParaRPr>
            </a:p>
          </p:txBody>
        </p:sp>
      </p:gr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pic>
        <p:nvPicPr>
          <p:cNvPr id="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764" y="3352800"/>
            <a:ext cx="7949116"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89389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152" y="-12144"/>
            <a:ext cx="9312072" cy="432048"/>
          </a:xfrm>
        </p:spPr>
        <p:txBody>
          <a:bodyPr/>
          <a:lstStyle/>
          <a:p>
            <a:r>
              <a:rPr lang="id-ID" sz="2600" dirty="0" smtClean="0">
                <a:effectLst>
                  <a:outerShdw blurRad="38100" dist="38100" dir="2700000" algn="tl">
                    <a:srgbClr val="000000">
                      <a:alpha val="43137"/>
                    </a:srgbClr>
                  </a:outerShdw>
                </a:effectLst>
              </a:rPr>
              <a:t>Supply-Demand di Pasar Valas Membaik Signifikan pd Okt’15...</a:t>
            </a:r>
            <a:endParaRPr lang="id-ID" sz="26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72007" y="494892"/>
            <a:ext cx="9036498" cy="663421"/>
          </a:xfrm>
        </p:spPr>
        <p:txBody>
          <a:bodyPr>
            <a:noAutofit/>
          </a:bodyPr>
          <a:lstStyle/>
          <a:p>
            <a:pPr algn="just"/>
            <a:r>
              <a:rPr lang="id-ID" sz="1800" dirty="0"/>
              <a:t>Net supply NR </a:t>
            </a:r>
            <a:r>
              <a:rPr lang="id-ID" sz="1800" dirty="0" smtClean="0"/>
              <a:t>kembali positif sejalan dengan net inflows; sementara net </a:t>
            </a:r>
            <a:r>
              <a:rPr lang="id-ID" sz="1800" dirty="0"/>
              <a:t>demand residen </a:t>
            </a:r>
            <a:r>
              <a:rPr lang="id-ID" sz="1800" dirty="0" smtClean="0"/>
              <a:t>menurun yg mengindikasikan pemilik valas spt eksportir mulai melepas ke pasar</a:t>
            </a:r>
            <a:endParaRPr lang="id-ID" sz="1800" dirty="0"/>
          </a:p>
        </p:txBody>
      </p:sp>
      <p:sp>
        <p:nvSpPr>
          <p:cNvPr id="4" name="Content Placeholder 3"/>
          <p:cNvSpPr>
            <a:spLocks noGrp="1"/>
          </p:cNvSpPr>
          <p:nvPr>
            <p:ph idx="4294967295"/>
          </p:nvPr>
        </p:nvSpPr>
        <p:spPr>
          <a:xfrm>
            <a:off x="118792" y="1123417"/>
            <a:ext cx="9025208" cy="1147343"/>
          </a:xfrm>
          <a:prstGeom prst="rect">
            <a:avLst/>
          </a:prstGeom>
        </p:spPr>
        <p:txBody>
          <a:bodyPr>
            <a:noAutofit/>
          </a:bodyPr>
          <a:lstStyle/>
          <a:p>
            <a:pPr marL="168275" indent="-168275">
              <a:spcBef>
                <a:spcPts val="600"/>
              </a:spcBef>
              <a:buFont typeface="Wingdings" panose="05000000000000000000" pitchFamily="2" charset="2"/>
              <a:buChar char="§"/>
            </a:pPr>
            <a:r>
              <a:rPr lang="id-ID" sz="1600" dirty="0" smtClean="0"/>
              <a:t>Net demand di pasar spot pada Okt-15 menurun didorong net supply non-residen, setelah sebelumnya pada Sep-15 terjadi net demand USD3,42 miliar. </a:t>
            </a:r>
          </a:p>
          <a:p>
            <a:pPr marL="168275" indent="-168275">
              <a:spcBef>
                <a:spcPts val="600"/>
              </a:spcBef>
              <a:buFont typeface="Wingdings" panose="05000000000000000000" pitchFamily="2" charset="2"/>
              <a:buChar char="§"/>
            </a:pPr>
            <a:r>
              <a:rPr lang="id-ID" sz="1600" dirty="0" smtClean="0"/>
              <a:t>Penurunan net demand juga terjadi di transaksi forward juga dipengaruhi net supply non-residen dan penurunan net demand residen.</a:t>
            </a:r>
          </a:p>
        </p:txBody>
      </p:sp>
      <p:sp>
        <p:nvSpPr>
          <p:cNvPr id="12" name="Rectangle 11"/>
          <p:cNvSpPr>
            <a:spLocks noChangeArrowheads="1"/>
          </p:cNvSpPr>
          <p:nvPr/>
        </p:nvSpPr>
        <p:spPr bwMode="auto">
          <a:xfrm>
            <a:off x="4708292" y="2293325"/>
            <a:ext cx="4199973" cy="296051"/>
          </a:xfrm>
          <a:prstGeom prst="rect">
            <a:avLst/>
          </a:prstGeom>
          <a:solidFill>
            <a:srgbClr val="002060"/>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wrap="square" lIns="79827" tIns="39914" rIns="79827" bIns="39914">
            <a:spAutoFit/>
          </a:bodyPr>
          <a:lstStyle/>
          <a:p>
            <a:pPr algn="ctr" defTabSz="798513" fontAlgn="base">
              <a:spcBef>
                <a:spcPct val="0"/>
              </a:spcBef>
              <a:spcAft>
                <a:spcPct val="0"/>
              </a:spcAft>
            </a:pPr>
            <a:r>
              <a:rPr lang="id-ID" sz="1400" b="1" dirty="0">
                <a:solidFill>
                  <a:prstClr val="white"/>
                </a:solidFill>
              </a:rPr>
              <a:t>Net SDV Bulanan Transaksi FORWARD</a:t>
            </a:r>
          </a:p>
        </p:txBody>
      </p:sp>
      <p:sp>
        <p:nvSpPr>
          <p:cNvPr id="13" name="Rectangle 12"/>
          <p:cNvSpPr>
            <a:spLocks noChangeArrowheads="1"/>
          </p:cNvSpPr>
          <p:nvPr/>
        </p:nvSpPr>
        <p:spPr bwMode="auto">
          <a:xfrm>
            <a:off x="321085" y="2284230"/>
            <a:ext cx="4199973" cy="296051"/>
          </a:xfrm>
          <a:prstGeom prst="rect">
            <a:avLst/>
          </a:prstGeom>
          <a:solidFill>
            <a:srgbClr val="002060"/>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wrap="square" lIns="79827" tIns="39914" rIns="79827" bIns="39914">
            <a:spAutoFit/>
          </a:bodyPr>
          <a:lstStyle/>
          <a:p>
            <a:pPr algn="ctr" defTabSz="798513" fontAlgn="base">
              <a:spcBef>
                <a:spcPct val="0"/>
              </a:spcBef>
              <a:spcAft>
                <a:spcPct val="0"/>
              </a:spcAft>
            </a:pPr>
            <a:r>
              <a:rPr lang="id-ID" sz="1400" b="1" dirty="0">
                <a:solidFill>
                  <a:prstClr val="white"/>
                </a:solidFill>
              </a:rPr>
              <a:t>Net SDV Bulanan Transaksi SPOT</a:t>
            </a: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910" y="2589377"/>
            <a:ext cx="4249147" cy="4268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8292" y="2589377"/>
            <a:ext cx="4299230" cy="4268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Left Arrow 4"/>
          <p:cNvSpPr/>
          <p:nvPr/>
        </p:nvSpPr>
        <p:spPr>
          <a:xfrm rot="16200000">
            <a:off x="8425394" y="3521674"/>
            <a:ext cx="642551" cy="284205"/>
          </a:xfrm>
          <a:prstGeom prst="lef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1" name="Left Arrow 10"/>
          <p:cNvSpPr/>
          <p:nvPr/>
        </p:nvSpPr>
        <p:spPr>
          <a:xfrm rot="16200000">
            <a:off x="3733945" y="3674073"/>
            <a:ext cx="642551" cy="284205"/>
          </a:xfrm>
          <a:prstGeom prst="lef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20475994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08" y="-27384"/>
            <a:ext cx="8976792" cy="432048"/>
          </a:xfrm>
        </p:spPr>
        <p:txBody>
          <a:bodyPr/>
          <a:lstStyle/>
          <a:p>
            <a:r>
              <a:rPr lang="id-ID" sz="2400" dirty="0" smtClean="0"/>
              <a:t>Rupiah</a:t>
            </a:r>
            <a:r>
              <a:rPr lang="en-US" sz="2400" dirty="0" smtClean="0"/>
              <a:t>, IHSG, </a:t>
            </a:r>
            <a:r>
              <a:rPr lang="en-US" sz="2400" dirty="0" err="1" smtClean="0"/>
              <a:t>dan</a:t>
            </a:r>
            <a:r>
              <a:rPr lang="en-US" sz="2400" dirty="0" smtClean="0"/>
              <a:t> Yield SBN</a:t>
            </a:r>
            <a:r>
              <a:rPr lang="id-ID" sz="2400" dirty="0" smtClean="0"/>
              <a:t> menguat sejak awal Okt 2015...</a:t>
            </a:r>
            <a:endParaRPr lang="id-ID" sz="2400" dirty="0"/>
          </a:p>
        </p:txBody>
      </p:sp>
      <p:sp>
        <p:nvSpPr>
          <p:cNvPr id="3" name="Content Placeholder 2"/>
          <p:cNvSpPr>
            <a:spLocks noGrp="1"/>
          </p:cNvSpPr>
          <p:nvPr>
            <p:ph idx="1"/>
          </p:nvPr>
        </p:nvSpPr>
        <p:spPr>
          <a:xfrm>
            <a:off x="77794" y="519398"/>
            <a:ext cx="4513325" cy="1131198"/>
          </a:xfrm>
        </p:spPr>
        <p:txBody>
          <a:bodyPr>
            <a:noAutofit/>
          </a:bodyPr>
          <a:lstStyle/>
          <a:p>
            <a:pPr algn="just">
              <a:lnSpc>
                <a:spcPct val="95000"/>
              </a:lnSpc>
              <a:spcBef>
                <a:spcPts val="0"/>
              </a:spcBef>
            </a:pPr>
            <a:r>
              <a:rPr lang="id-ID" sz="1800" dirty="0" smtClean="0"/>
              <a:t>Sejalan membaiknya sentimen investor, Rupiah apresiasi, setelah </a:t>
            </a:r>
            <a:r>
              <a:rPr lang="en-US" sz="1800" dirty="0" err="1" smtClean="0"/>
              <a:t>melemah</a:t>
            </a:r>
            <a:r>
              <a:rPr lang="en-US" sz="1800" dirty="0" smtClean="0"/>
              <a:t> di </a:t>
            </a:r>
            <a:r>
              <a:rPr lang="id-ID" sz="1800" dirty="0" smtClean="0"/>
              <a:t>5 bulan terakhir</a:t>
            </a:r>
            <a:r>
              <a:rPr lang="en-US" sz="1800" dirty="0" smtClean="0"/>
              <a:t>, </a:t>
            </a:r>
            <a:r>
              <a:rPr lang="en-US" sz="1800" dirty="0" err="1" smtClean="0"/>
              <a:t>serta</a:t>
            </a:r>
            <a:r>
              <a:rPr lang="en-US" sz="1800" dirty="0" smtClean="0"/>
              <a:t> </a:t>
            </a:r>
            <a:r>
              <a:rPr lang="en-US" sz="1800" dirty="0" err="1" smtClean="0"/>
              <a:t>diikuti</a:t>
            </a:r>
            <a:r>
              <a:rPr lang="en-US" sz="1800" dirty="0" smtClean="0"/>
              <a:t> </a:t>
            </a:r>
            <a:r>
              <a:rPr lang="en-US" sz="1800" dirty="0" err="1" smtClean="0"/>
              <a:t>kenaikan</a:t>
            </a:r>
            <a:r>
              <a:rPr lang="en-US" sz="1800" dirty="0" smtClean="0"/>
              <a:t> IHSG </a:t>
            </a:r>
            <a:r>
              <a:rPr lang="en-US" sz="1800" dirty="0" err="1" smtClean="0"/>
              <a:t>dan</a:t>
            </a:r>
            <a:r>
              <a:rPr lang="en-US" sz="1800" dirty="0" smtClean="0"/>
              <a:t> </a:t>
            </a:r>
            <a:r>
              <a:rPr lang="en-US" sz="1800" dirty="0" err="1" smtClean="0"/>
              <a:t>penurunan</a:t>
            </a:r>
            <a:r>
              <a:rPr lang="en-US" sz="1800" dirty="0" smtClean="0"/>
              <a:t> yield SBN</a:t>
            </a:r>
            <a:r>
              <a:rPr lang="id-ID" sz="1800" dirty="0" smtClean="0"/>
              <a:t>...</a:t>
            </a:r>
            <a:endParaRPr lang="id-ID" sz="1800" dirty="0"/>
          </a:p>
        </p:txBody>
      </p:sp>
      <p:sp>
        <p:nvSpPr>
          <p:cNvPr id="4" name="Content Placeholder 3"/>
          <p:cNvSpPr>
            <a:spLocks noGrp="1"/>
          </p:cNvSpPr>
          <p:nvPr>
            <p:ph idx="4294967295"/>
          </p:nvPr>
        </p:nvSpPr>
        <p:spPr>
          <a:xfrm>
            <a:off x="66013" y="1657763"/>
            <a:ext cx="4551557" cy="2109020"/>
          </a:xfrm>
          <a:prstGeom prst="rect">
            <a:avLst/>
          </a:prstGeom>
        </p:spPr>
        <p:txBody>
          <a:bodyPr>
            <a:noAutofit/>
          </a:bodyPr>
          <a:lstStyle/>
          <a:p>
            <a:pPr marL="236538" indent="-236538" algn="just">
              <a:lnSpc>
                <a:spcPct val="95000"/>
              </a:lnSpc>
              <a:spcBef>
                <a:spcPts val="300"/>
              </a:spcBef>
              <a:buFont typeface="Wingdings" panose="05000000000000000000" pitchFamily="2" charset="2"/>
              <a:buChar char="§"/>
            </a:pPr>
            <a:r>
              <a:rPr lang="id-ID" sz="1500" dirty="0" smtClean="0"/>
              <a:t>Di awal Okt’15, scr rata-rata Rp menguat 5,55% (mtd). Penguatan Rp merupakan tertinggi dibandingkan mata uang negara kawasan. Rupiah ditutup pada level Rp. 1</a:t>
            </a:r>
            <a:r>
              <a:rPr lang="en-US" sz="1500" dirty="0" smtClean="0"/>
              <a:t>3</a:t>
            </a:r>
            <a:r>
              <a:rPr lang="id-ID" sz="1500" dirty="0" smtClean="0"/>
              <a:t>.42</a:t>
            </a:r>
            <a:r>
              <a:rPr lang="en-US" sz="1500" dirty="0" smtClean="0"/>
              <a:t>0</a:t>
            </a:r>
            <a:r>
              <a:rPr lang="id-ID" sz="1500" dirty="0" smtClean="0"/>
              <a:t>/USD pada akhir minggu pertama Oktober (9 Oktober 2015)</a:t>
            </a:r>
            <a:r>
              <a:rPr lang="en-US" sz="1500" dirty="0" smtClean="0"/>
              <a:t> </a:t>
            </a:r>
            <a:r>
              <a:rPr lang="en-US" sz="1500" dirty="0" err="1" smtClean="0"/>
              <a:t>menguat</a:t>
            </a:r>
            <a:r>
              <a:rPr lang="en-US" sz="1500" dirty="0" smtClean="0"/>
              <a:t> … % (</a:t>
            </a:r>
            <a:r>
              <a:rPr lang="en-US" sz="1500" dirty="0" err="1" smtClean="0"/>
              <a:t>ptp</a:t>
            </a:r>
            <a:r>
              <a:rPr lang="en-US" sz="1500" dirty="0" smtClean="0"/>
              <a:t>) </a:t>
            </a:r>
            <a:r>
              <a:rPr lang="en-US" sz="1500" dirty="0" err="1" smtClean="0"/>
              <a:t>dibandingkan</a:t>
            </a:r>
            <a:r>
              <a:rPr lang="en-US" sz="1500" dirty="0" smtClean="0"/>
              <a:t> </a:t>
            </a:r>
            <a:r>
              <a:rPr lang="en-US" sz="1500" dirty="0" err="1" smtClean="0"/>
              <a:t>akhir</a:t>
            </a:r>
            <a:r>
              <a:rPr lang="en-US" sz="1500" dirty="0" smtClean="0"/>
              <a:t> September</a:t>
            </a:r>
            <a:r>
              <a:rPr lang="id-ID" sz="1500" dirty="0" smtClean="0"/>
              <a:t>.</a:t>
            </a:r>
          </a:p>
          <a:p>
            <a:pPr marL="236538" indent="-236538" algn="just">
              <a:lnSpc>
                <a:spcPct val="95000"/>
              </a:lnSpc>
              <a:spcBef>
                <a:spcPts val="300"/>
              </a:spcBef>
              <a:buFont typeface="Wingdings" panose="05000000000000000000" pitchFamily="2" charset="2"/>
              <a:buChar char="§"/>
            </a:pPr>
            <a:r>
              <a:rPr lang="en-US" sz="1500" dirty="0" smtClean="0"/>
              <a:t>IHSG </a:t>
            </a:r>
            <a:r>
              <a:rPr lang="en-US" sz="1500" dirty="0" err="1" smtClean="0"/>
              <a:t>pada</a:t>
            </a:r>
            <a:r>
              <a:rPr lang="en-US" sz="1500" dirty="0" smtClean="0"/>
              <a:t> 9 </a:t>
            </a:r>
            <a:r>
              <a:rPr lang="en-US" sz="1500" dirty="0" err="1" smtClean="0"/>
              <a:t>Okt</a:t>
            </a:r>
            <a:r>
              <a:rPr lang="en-US" sz="1500" dirty="0" smtClean="0"/>
              <a:t> </a:t>
            </a:r>
            <a:r>
              <a:rPr lang="en-US" sz="1500" dirty="0" err="1" smtClean="0"/>
              <a:t>meningkat</a:t>
            </a:r>
            <a:r>
              <a:rPr lang="en-US" sz="1500" dirty="0" smtClean="0"/>
              <a:t> </a:t>
            </a:r>
            <a:r>
              <a:rPr lang="en-US" sz="1500" dirty="0" err="1" smtClean="0"/>
              <a:t>menjadi</a:t>
            </a:r>
            <a:r>
              <a:rPr lang="en-US" sz="1500" dirty="0" smtClean="0"/>
              <a:t> 4589 </a:t>
            </a:r>
            <a:r>
              <a:rPr lang="en-US" sz="1500" dirty="0" err="1" smtClean="0"/>
              <a:t>dan</a:t>
            </a:r>
            <a:r>
              <a:rPr lang="en-US" sz="1500" dirty="0" smtClean="0"/>
              <a:t> </a:t>
            </a:r>
            <a:r>
              <a:rPr lang="en-US" sz="1500" dirty="0" err="1" smtClean="0"/>
              <a:t>pada</a:t>
            </a:r>
            <a:r>
              <a:rPr lang="en-US" sz="1500" dirty="0" smtClean="0"/>
              <a:t> 8 </a:t>
            </a:r>
            <a:r>
              <a:rPr lang="en-US" sz="1500" dirty="0" err="1" smtClean="0"/>
              <a:t>Okt</a:t>
            </a:r>
            <a:r>
              <a:rPr lang="en-US" sz="1500" dirty="0" smtClean="0"/>
              <a:t> Yield SBN </a:t>
            </a:r>
            <a:r>
              <a:rPr lang="en-US" sz="1500" dirty="0" err="1" smtClean="0"/>
              <a:t>menurun</a:t>
            </a:r>
            <a:r>
              <a:rPr lang="en-US" sz="1500" dirty="0" smtClean="0"/>
              <a:t> </a:t>
            </a:r>
            <a:r>
              <a:rPr lang="en-US" sz="1500" dirty="0" err="1" smtClean="0"/>
              <a:t>menjadi</a:t>
            </a:r>
            <a:r>
              <a:rPr lang="en-US" sz="1500" dirty="0" smtClean="0"/>
              <a:t> 8,62%</a:t>
            </a:r>
          </a:p>
          <a:p>
            <a:pPr marL="236538" indent="-236538" algn="just">
              <a:lnSpc>
                <a:spcPct val="95000"/>
              </a:lnSpc>
              <a:spcBef>
                <a:spcPts val="300"/>
              </a:spcBef>
              <a:buFont typeface="Wingdings" panose="05000000000000000000" pitchFamily="2" charset="2"/>
              <a:buChar char="§"/>
            </a:pPr>
            <a:r>
              <a:rPr lang="id-ID" sz="1500" dirty="0" smtClean="0"/>
              <a:t>Secara YTD-15 Rupiah melemah 10,8%.</a:t>
            </a:r>
            <a:endParaRPr lang="id-ID" sz="1500" b="1" dirty="0" smtClean="0"/>
          </a:p>
        </p:txBody>
      </p:sp>
      <p:sp>
        <p:nvSpPr>
          <p:cNvPr id="19" name="Rectangle 6"/>
          <p:cNvSpPr>
            <a:spLocks noChangeArrowheads="1"/>
          </p:cNvSpPr>
          <p:nvPr/>
        </p:nvSpPr>
        <p:spPr bwMode="auto">
          <a:xfrm>
            <a:off x="4617570" y="3878470"/>
            <a:ext cx="4417200" cy="296051"/>
          </a:xfrm>
          <a:prstGeom prst="rect">
            <a:avLst/>
          </a:prstGeom>
          <a:solidFill>
            <a:srgbClr val="002060"/>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wrap="square" lIns="79827" tIns="39914" rIns="79827" bIns="39914">
            <a:spAutoFit/>
          </a:bodyPr>
          <a:lstStyle/>
          <a:p>
            <a:pPr algn="ctr" defTabSz="798513" fontAlgn="base">
              <a:spcBef>
                <a:spcPct val="0"/>
              </a:spcBef>
              <a:spcAft>
                <a:spcPct val="0"/>
              </a:spcAft>
            </a:pPr>
            <a:r>
              <a:rPr lang="id-ID" sz="1400" b="1" dirty="0" smtClean="0">
                <a:solidFill>
                  <a:prstClr val="white"/>
                </a:solidFill>
              </a:rPr>
              <a:t>Apre/Depre YTD-15 NT Peers</a:t>
            </a:r>
            <a:endParaRPr lang="id-ID" sz="1400" b="1" dirty="0">
              <a:solidFill>
                <a:prstClr val="white"/>
              </a:solidFill>
            </a:endParaRPr>
          </a:p>
        </p:txBody>
      </p:sp>
      <p:grpSp>
        <p:nvGrpSpPr>
          <p:cNvPr id="9" name="Group 8"/>
          <p:cNvGrpSpPr/>
          <p:nvPr/>
        </p:nvGrpSpPr>
        <p:grpSpPr>
          <a:xfrm>
            <a:off x="4665696" y="4321581"/>
            <a:ext cx="4432440" cy="2476814"/>
            <a:chOff x="32880" y="4259266"/>
            <a:chExt cx="4432440" cy="2476814"/>
          </a:xfrm>
        </p:grpSpPr>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20" y="4259266"/>
              <a:ext cx="4417200" cy="2476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2880" y="5227320"/>
              <a:ext cx="4417200" cy="228600"/>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22" name="Group 21"/>
          <p:cNvGrpSpPr/>
          <p:nvPr/>
        </p:nvGrpSpPr>
        <p:grpSpPr>
          <a:xfrm>
            <a:off x="261066" y="3905766"/>
            <a:ext cx="4082334" cy="2740147"/>
            <a:chOff x="261066" y="3541854"/>
            <a:chExt cx="4322178" cy="2967579"/>
          </a:xfrm>
        </p:grpSpPr>
        <p:sp>
          <p:nvSpPr>
            <p:cNvPr id="24" name="Rectangle 6"/>
            <p:cNvSpPr>
              <a:spLocks noChangeArrowheads="1"/>
            </p:cNvSpPr>
            <p:nvPr/>
          </p:nvSpPr>
          <p:spPr bwMode="auto">
            <a:xfrm>
              <a:off x="293254" y="3541854"/>
              <a:ext cx="4268044" cy="296051"/>
            </a:xfrm>
            <a:prstGeom prst="rect">
              <a:avLst/>
            </a:prstGeom>
            <a:solidFill>
              <a:srgbClr val="002060"/>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wrap="square" lIns="79827" tIns="39914" rIns="79827" bIns="39914">
              <a:spAutoFit/>
            </a:bodyPr>
            <a:lstStyle/>
            <a:p>
              <a:pPr algn="ctr" defTabSz="798513" fontAlgn="base">
                <a:spcBef>
                  <a:spcPct val="0"/>
                </a:spcBef>
                <a:spcAft>
                  <a:spcPct val="0"/>
                </a:spcAft>
              </a:pPr>
              <a:r>
                <a:rPr lang="id-ID" sz="1400" b="1" dirty="0">
                  <a:solidFill>
                    <a:prstClr val="white"/>
                  </a:solidFill>
                </a:rPr>
                <a:t>Apre/Depre Bulanan NT Peers</a:t>
              </a:r>
            </a:p>
          </p:txBody>
        </p:sp>
        <p:pic>
          <p:nvPicPr>
            <p:cNvPr id="2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099" y="3956152"/>
              <a:ext cx="2140138" cy="2553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Rectangle 26"/>
            <p:cNvSpPr/>
            <p:nvPr/>
          </p:nvSpPr>
          <p:spPr>
            <a:xfrm>
              <a:off x="261066" y="4850655"/>
              <a:ext cx="2146007" cy="189997"/>
            </a:xfrm>
            <a:prstGeom prst="rect">
              <a:avLst/>
            </a:prstGeom>
            <a:noFill/>
            <a:ln>
              <a:solidFill>
                <a:srgbClr val="FF0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8" name="Group 27"/>
            <p:cNvGrpSpPr/>
            <p:nvPr/>
          </p:nvGrpSpPr>
          <p:grpSpPr>
            <a:xfrm>
              <a:off x="2437237" y="3956153"/>
              <a:ext cx="2146007" cy="2519030"/>
              <a:chOff x="6974075" y="1437123"/>
              <a:chExt cx="2146007" cy="2519030"/>
            </a:xfrm>
          </p:grpSpPr>
          <p:pic>
            <p:nvPicPr>
              <p:cNvPr id="2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4076" y="1437123"/>
                <a:ext cx="2124060" cy="2519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9"/>
              <p:cNvSpPr/>
              <p:nvPr/>
            </p:nvSpPr>
            <p:spPr>
              <a:xfrm>
                <a:off x="6974075" y="1697997"/>
                <a:ext cx="2146007" cy="189997"/>
              </a:xfrm>
              <a:prstGeom prst="rect">
                <a:avLst/>
              </a:prstGeom>
              <a:noFill/>
              <a:ln>
                <a:solidFill>
                  <a:srgbClr val="FF0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sp>
        <p:nvSpPr>
          <p:cNvPr id="31" name="Rectangle 30"/>
          <p:cNvSpPr/>
          <p:nvPr/>
        </p:nvSpPr>
        <p:spPr>
          <a:xfrm>
            <a:off x="2427276" y="4288311"/>
            <a:ext cx="2190294" cy="2428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33" name="Group 32"/>
          <p:cNvGrpSpPr/>
          <p:nvPr/>
        </p:nvGrpSpPr>
        <p:grpSpPr>
          <a:xfrm>
            <a:off x="2438400" y="4311000"/>
            <a:ext cx="2154225" cy="2448659"/>
            <a:chOff x="135696" y="4218680"/>
            <a:chExt cx="4437098" cy="2563120"/>
          </a:xfrm>
        </p:grpSpPr>
        <p:pic>
          <p:nvPicPr>
            <p:cNvPr id="34"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861" y="4218680"/>
              <a:ext cx="4391933" cy="256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Rectangle 34"/>
            <p:cNvSpPr/>
            <p:nvPr/>
          </p:nvSpPr>
          <p:spPr>
            <a:xfrm>
              <a:off x="135696" y="4495800"/>
              <a:ext cx="4405884" cy="205582"/>
            </a:xfrm>
            <a:prstGeom prst="rect">
              <a:avLst/>
            </a:prstGeom>
            <a:noFill/>
            <a:ln>
              <a:solidFill>
                <a:srgbClr val="C00000"/>
              </a:solidFill>
              <a:prstDash val="sysDash"/>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Rectangle 6"/>
          <p:cNvSpPr>
            <a:spLocks noChangeArrowheads="1"/>
          </p:cNvSpPr>
          <p:nvPr/>
        </p:nvSpPr>
        <p:spPr bwMode="auto">
          <a:xfrm>
            <a:off x="4633569" y="618895"/>
            <a:ext cx="4417200" cy="296051"/>
          </a:xfrm>
          <a:prstGeom prst="rect">
            <a:avLst/>
          </a:prstGeom>
          <a:solidFill>
            <a:srgbClr val="002060"/>
          </a:solidFill>
          <a:ln>
            <a:noFill/>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wrap="square" lIns="79827" tIns="39914" rIns="79827" bIns="39914">
            <a:spAutoFit/>
          </a:bodyPr>
          <a:lstStyle/>
          <a:p>
            <a:pPr algn="ctr" defTabSz="798513" fontAlgn="base">
              <a:spcBef>
                <a:spcPct val="0"/>
              </a:spcBef>
              <a:spcAft>
                <a:spcPct val="0"/>
              </a:spcAft>
            </a:pPr>
            <a:r>
              <a:rPr lang="en-US" sz="1400" b="1" dirty="0" err="1" smtClean="0">
                <a:solidFill>
                  <a:prstClr val="white"/>
                </a:solidFill>
              </a:rPr>
              <a:t>Grafik</a:t>
            </a:r>
            <a:r>
              <a:rPr lang="en-US" sz="1400" b="1" dirty="0" smtClean="0">
                <a:solidFill>
                  <a:prstClr val="white"/>
                </a:solidFill>
              </a:rPr>
              <a:t> IHSG </a:t>
            </a:r>
            <a:r>
              <a:rPr lang="en-US" sz="1400" b="1" dirty="0" err="1" smtClean="0">
                <a:solidFill>
                  <a:prstClr val="white"/>
                </a:solidFill>
              </a:rPr>
              <a:t>dan</a:t>
            </a:r>
            <a:r>
              <a:rPr lang="en-US" sz="1400" b="1" dirty="0" smtClean="0">
                <a:solidFill>
                  <a:prstClr val="white"/>
                </a:solidFill>
              </a:rPr>
              <a:t> Yield</a:t>
            </a:r>
            <a:endParaRPr lang="id-ID" sz="1400" b="1" dirty="0">
              <a:solidFill>
                <a:prstClr val="white"/>
              </a:solidFill>
            </a:endParaRP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2049" y="961969"/>
            <a:ext cx="4398720" cy="275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15519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762" t="23135" r="20701" b="13650"/>
          <a:stretch/>
        </p:blipFill>
        <p:spPr bwMode="auto">
          <a:xfrm>
            <a:off x="152400" y="-152400"/>
            <a:ext cx="8610599"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23225" t="20148" r="21074" b="49232"/>
          <a:stretch/>
        </p:blipFill>
        <p:spPr bwMode="auto">
          <a:xfrm>
            <a:off x="185382" y="4876800"/>
            <a:ext cx="8501418" cy="1981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5564215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
          <p:cNvSpPr>
            <a:spLocks noChangeArrowheads="1"/>
          </p:cNvSpPr>
          <p:nvPr/>
        </p:nvSpPr>
        <p:spPr bwMode="auto">
          <a:xfrm>
            <a:off x="2506663" y="2438400"/>
            <a:ext cx="627062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id-ID" sz="4400" b="1" dirty="0" err="1" smtClean="0">
                <a:solidFill>
                  <a:srgbClr val="333399"/>
                </a:solidFill>
                <a:latin typeface="Franklin Gothic Medium Cond" pitchFamily="34" charset="0"/>
              </a:rPr>
              <a:t>Stabilitas</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Makro</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Terjaga</a:t>
            </a:r>
            <a:endParaRPr lang="en-US" altLang="id-ID" sz="4400" b="1" dirty="0">
              <a:solidFill>
                <a:srgbClr val="333399"/>
              </a:solidFill>
              <a:latin typeface="Franklin Gothic Medium Cond" pitchFamily="34" charset="0"/>
            </a:endParaRPr>
          </a:p>
        </p:txBody>
      </p:sp>
      <p:sp>
        <p:nvSpPr>
          <p:cNvPr id="3" name="Rectangle 2"/>
          <p:cNvSpPr/>
          <p:nvPr/>
        </p:nvSpPr>
        <p:spPr>
          <a:xfrm>
            <a:off x="2528888" y="21463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26" name="Picture 2" descr="https://encrypted-tbn3.gstatic.com/images?q=tbn:ANd9GcT3_bcJQ2gQiMx0q32zASCHQJIOt6HZZHluc-sUBZeTHClfQszm-3DjzLxh">
            <a:hlinkClick r:id="rId3"/>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4800" y="1676400"/>
            <a:ext cx="2125710" cy="2078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232249868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p:cNvPicPr>
            <a:picLocks noChangeAspect="1" noChangeArrowheads="1"/>
          </p:cNvPicPr>
          <p:nvPr/>
        </p:nvPicPr>
        <p:blipFill rotWithShape="1">
          <a:blip r:embed="rId3" cstate="print">
            <a:extLst>
              <a:ext uri="{28A0092B-C50C-407E-A947-70E740481C1C}">
                <a14:useLocalDpi xmlns:a14="http://schemas.microsoft.com/office/drawing/2010/main" val="0"/>
              </a:ext>
            </a:extLst>
          </a:blip>
          <a:stretch/>
        </p:blipFill>
        <p:spPr bwMode="auto">
          <a:xfrm>
            <a:off x="6325618" y="4424495"/>
            <a:ext cx="1145929" cy="632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34"/>
          <a:stretch/>
        </p:blipFill>
        <p:spPr bwMode="auto">
          <a:xfrm>
            <a:off x="1712154" y="4481052"/>
            <a:ext cx="1163781" cy="634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112" b="46"/>
          <a:stretch/>
        </p:blipFill>
        <p:spPr bwMode="auto">
          <a:xfrm flipH="1">
            <a:off x="1640142" y="1825595"/>
            <a:ext cx="1091998" cy="646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0" name="Oval 219"/>
          <p:cNvSpPr/>
          <p:nvPr/>
        </p:nvSpPr>
        <p:spPr>
          <a:xfrm>
            <a:off x="2754316" y="1709405"/>
            <a:ext cx="1303452" cy="362364"/>
          </a:xfrm>
          <a:prstGeom prst="ellipse">
            <a:avLst/>
          </a:prstGeom>
          <a:solidFill>
            <a:schemeClr val="accent3">
              <a:lumMod val="20000"/>
              <a:lumOff val="80000"/>
              <a:alpha val="40000"/>
            </a:schemeClr>
          </a:solidFill>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198" name="Group 197"/>
          <p:cNvGrpSpPr/>
          <p:nvPr/>
        </p:nvGrpSpPr>
        <p:grpSpPr>
          <a:xfrm>
            <a:off x="2922593" y="1644444"/>
            <a:ext cx="983776" cy="821719"/>
            <a:chOff x="-1383064" y="2187190"/>
            <a:chExt cx="893643" cy="746434"/>
          </a:xfrm>
        </p:grpSpPr>
        <p:grpSp>
          <p:nvGrpSpPr>
            <p:cNvPr id="207" name="Group 206"/>
            <p:cNvGrpSpPr/>
            <p:nvPr/>
          </p:nvGrpSpPr>
          <p:grpSpPr>
            <a:xfrm>
              <a:off x="-1383064" y="2187190"/>
              <a:ext cx="893643" cy="746434"/>
              <a:chOff x="2711214" y="1214266"/>
              <a:chExt cx="1112618" cy="929339"/>
            </a:xfrm>
          </p:grpSpPr>
          <p:sp>
            <p:nvSpPr>
              <p:cNvPr id="209" name="Oval 208"/>
              <p:cNvSpPr/>
              <p:nvPr/>
            </p:nvSpPr>
            <p:spPr>
              <a:xfrm>
                <a:off x="2833539" y="1287997"/>
                <a:ext cx="855606" cy="855608"/>
              </a:xfrm>
              <a:prstGeom prst="ellipse">
                <a:avLst/>
              </a:prstGeom>
              <a:solidFill>
                <a:schemeClr val="accent3">
                  <a:lumMod val="50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210" name="Title 1"/>
              <p:cNvSpPr txBox="1">
                <a:spLocks/>
              </p:cNvSpPr>
              <p:nvPr/>
            </p:nvSpPr>
            <p:spPr>
              <a:xfrm>
                <a:off x="2711214" y="1214266"/>
                <a:ext cx="1112618" cy="729527"/>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200" b="1" dirty="0" smtClean="0">
                    <a:solidFill>
                      <a:prstClr val="white"/>
                    </a:solidFill>
                    <a:ea typeface="Adobe Gothic Std B" panose="020B0800000000000000" pitchFamily="34" charset="-128"/>
                    <a:sym typeface="Wingdings" pitchFamily="2" charset="2"/>
                  </a:rPr>
                  <a:t>Proyek Infsrastruktur Pemerintah</a:t>
                </a:r>
                <a:endParaRPr lang="id-ID" sz="1200" b="1" dirty="0">
                  <a:solidFill>
                    <a:prstClr val="white"/>
                  </a:solidFill>
                  <a:ea typeface="Adobe Gothic Std B" panose="020B0800000000000000" pitchFamily="34" charset="-128"/>
                </a:endParaRPr>
              </a:p>
            </p:txBody>
          </p:sp>
        </p:grpSp>
        <p:cxnSp>
          <p:nvCxnSpPr>
            <p:cNvPr id="208" name="Straight Arrow Connector 207"/>
            <p:cNvCxnSpPr/>
            <p:nvPr/>
          </p:nvCxnSpPr>
          <p:spPr>
            <a:xfrm flipH="1" flipV="1">
              <a:off x="-925327" y="2676870"/>
              <a:ext cx="1" cy="230652"/>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191" name="Oval 190"/>
          <p:cNvSpPr/>
          <p:nvPr/>
        </p:nvSpPr>
        <p:spPr>
          <a:xfrm>
            <a:off x="2966726" y="4705461"/>
            <a:ext cx="1303452" cy="362364"/>
          </a:xfrm>
          <a:prstGeom prst="ellipse">
            <a:avLst/>
          </a:prstGeom>
          <a:solidFill>
            <a:schemeClr val="accent3">
              <a:lumMod val="20000"/>
              <a:lumOff val="80000"/>
              <a:alpha val="40000"/>
            </a:schemeClr>
          </a:solidFill>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192" name="Group 191"/>
          <p:cNvGrpSpPr/>
          <p:nvPr/>
        </p:nvGrpSpPr>
        <p:grpSpPr>
          <a:xfrm>
            <a:off x="3215148" y="4662949"/>
            <a:ext cx="842168" cy="820187"/>
            <a:chOff x="-1219200" y="2302962"/>
            <a:chExt cx="765009" cy="745040"/>
          </a:xfrm>
        </p:grpSpPr>
        <p:grpSp>
          <p:nvGrpSpPr>
            <p:cNvPr id="194" name="Group 193"/>
            <p:cNvGrpSpPr/>
            <p:nvPr/>
          </p:nvGrpSpPr>
          <p:grpSpPr>
            <a:xfrm>
              <a:off x="-1219200" y="2302962"/>
              <a:ext cx="765009" cy="745040"/>
              <a:chOff x="2915229" y="1358399"/>
              <a:chExt cx="952464" cy="927601"/>
            </a:xfrm>
          </p:grpSpPr>
          <p:sp>
            <p:nvSpPr>
              <p:cNvPr id="196" name="Oval 195"/>
              <p:cNvSpPr/>
              <p:nvPr/>
            </p:nvSpPr>
            <p:spPr>
              <a:xfrm>
                <a:off x="2948904" y="1433052"/>
                <a:ext cx="852947" cy="852948"/>
              </a:xfrm>
              <a:prstGeom prst="ellipse">
                <a:avLst/>
              </a:prstGeom>
              <a:solidFill>
                <a:schemeClr val="accent3">
                  <a:lumMod val="50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201" name="Title 1"/>
              <p:cNvSpPr txBox="1">
                <a:spLocks/>
              </p:cNvSpPr>
              <p:nvPr/>
            </p:nvSpPr>
            <p:spPr>
              <a:xfrm>
                <a:off x="2915229" y="1358399"/>
                <a:ext cx="952464"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800" b="1" dirty="0" smtClean="0">
                    <a:solidFill>
                      <a:prstClr val="white"/>
                    </a:solidFill>
                    <a:ea typeface="Adobe Gothic Std B" panose="020B0800000000000000" pitchFamily="34" charset="-128"/>
                    <a:sym typeface="Wingdings" pitchFamily="2" charset="2"/>
                  </a:rPr>
                  <a:t>PDB</a:t>
                </a:r>
                <a:endParaRPr lang="id-ID" sz="1800" b="1" dirty="0">
                  <a:solidFill>
                    <a:prstClr val="white"/>
                  </a:solidFill>
                  <a:ea typeface="Adobe Gothic Std B" panose="020B0800000000000000" pitchFamily="34" charset="-128"/>
                </a:endParaRPr>
              </a:p>
            </p:txBody>
          </p:sp>
        </p:grpSp>
        <p:cxnSp>
          <p:nvCxnSpPr>
            <p:cNvPr id="195" name="Straight Arrow Connector 194"/>
            <p:cNvCxnSpPr/>
            <p:nvPr/>
          </p:nvCxnSpPr>
          <p:spPr>
            <a:xfrm flipH="1">
              <a:off x="-859128" y="2722001"/>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193" name="Shape 192"/>
          <p:cNvSpPr/>
          <p:nvPr/>
        </p:nvSpPr>
        <p:spPr>
          <a:xfrm>
            <a:off x="2896846" y="4675086"/>
            <a:ext cx="1414598" cy="905910"/>
          </a:xfrm>
          <a:prstGeom prst="funnel">
            <a:avLst/>
          </a:prstGeom>
          <a:solidFill>
            <a:schemeClr val="accent3">
              <a:lumMod val="20000"/>
              <a:lumOff val="80000"/>
              <a:alpha val="40000"/>
            </a:schemeClr>
          </a:solidFill>
          <a:ln>
            <a:solidFill>
              <a:srgbClr val="00B050"/>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202" name="Oval 201"/>
          <p:cNvSpPr/>
          <p:nvPr/>
        </p:nvSpPr>
        <p:spPr>
          <a:xfrm>
            <a:off x="7561478" y="1826670"/>
            <a:ext cx="1303452" cy="362364"/>
          </a:xfrm>
          <a:prstGeom prst="ellipse">
            <a:avLst/>
          </a:prstGeom>
          <a:solidFill>
            <a:schemeClr val="accent3">
              <a:lumMod val="20000"/>
              <a:lumOff val="80000"/>
              <a:alpha val="40000"/>
            </a:schemeClr>
          </a:solidFill>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203" name="Group 202"/>
          <p:cNvGrpSpPr/>
          <p:nvPr/>
        </p:nvGrpSpPr>
        <p:grpSpPr>
          <a:xfrm>
            <a:off x="7801896" y="1767348"/>
            <a:ext cx="842168" cy="809963"/>
            <a:chOff x="-1219200" y="2312244"/>
            <a:chExt cx="765009" cy="735755"/>
          </a:xfrm>
        </p:grpSpPr>
        <p:grpSp>
          <p:nvGrpSpPr>
            <p:cNvPr id="204" name="Group 203"/>
            <p:cNvGrpSpPr/>
            <p:nvPr/>
          </p:nvGrpSpPr>
          <p:grpSpPr>
            <a:xfrm>
              <a:off x="-1219200" y="2312244"/>
              <a:ext cx="765009" cy="735755"/>
              <a:chOff x="2915229" y="1369958"/>
              <a:chExt cx="952464" cy="916042"/>
            </a:xfrm>
          </p:grpSpPr>
          <p:sp>
            <p:nvSpPr>
              <p:cNvPr id="215" name="Oval 214"/>
              <p:cNvSpPr/>
              <p:nvPr/>
            </p:nvSpPr>
            <p:spPr>
              <a:xfrm>
                <a:off x="2948904" y="1433052"/>
                <a:ext cx="852947" cy="852948"/>
              </a:xfrm>
              <a:prstGeom prst="ellipse">
                <a:avLst/>
              </a:prstGeom>
              <a:solidFill>
                <a:schemeClr val="accent3">
                  <a:lumMod val="50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217" name="Title 1"/>
              <p:cNvSpPr txBox="1">
                <a:spLocks/>
              </p:cNvSpPr>
              <p:nvPr/>
            </p:nvSpPr>
            <p:spPr>
              <a:xfrm>
                <a:off x="2915229" y="1369958"/>
                <a:ext cx="952464" cy="729527"/>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800" b="1" dirty="0" smtClean="0">
                    <a:solidFill>
                      <a:prstClr val="white"/>
                    </a:solidFill>
                    <a:ea typeface="Adobe Gothic Std B" panose="020B0800000000000000" pitchFamily="34" charset="-128"/>
                    <a:sym typeface="Wingdings" pitchFamily="2" charset="2"/>
                  </a:rPr>
                  <a:t>PDB</a:t>
                </a:r>
                <a:endParaRPr lang="id-ID" sz="1800" b="1" dirty="0">
                  <a:solidFill>
                    <a:prstClr val="white"/>
                  </a:solidFill>
                  <a:ea typeface="Adobe Gothic Std B" panose="020B0800000000000000" pitchFamily="34" charset="-128"/>
                </a:endParaRPr>
              </a:p>
            </p:txBody>
          </p:sp>
        </p:grpSp>
        <p:cxnSp>
          <p:nvCxnSpPr>
            <p:cNvPr id="205" name="Straight Arrow Connector 204"/>
            <p:cNvCxnSpPr/>
            <p:nvPr/>
          </p:nvCxnSpPr>
          <p:spPr>
            <a:xfrm flipH="1">
              <a:off x="-859128" y="2743865"/>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221" name="Shape 220"/>
          <p:cNvSpPr/>
          <p:nvPr/>
        </p:nvSpPr>
        <p:spPr>
          <a:xfrm>
            <a:off x="2684436" y="1646480"/>
            <a:ext cx="1414598" cy="905910"/>
          </a:xfrm>
          <a:prstGeom prst="funnel">
            <a:avLst/>
          </a:prstGeom>
          <a:solidFill>
            <a:schemeClr val="accent3">
              <a:lumMod val="20000"/>
              <a:lumOff val="80000"/>
              <a:alpha val="40000"/>
            </a:schemeClr>
          </a:solidFill>
          <a:ln>
            <a:solidFill>
              <a:srgbClr val="00B050"/>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222" name="Oval 221"/>
          <p:cNvSpPr/>
          <p:nvPr/>
        </p:nvSpPr>
        <p:spPr>
          <a:xfrm>
            <a:off x="150194" y="2245435"/>
            <a:ext cx="1303452" cy="362364"/>
          </a:xfrm>
          <a:prstGeom prst="ellipse">
            <a:avLst/>
          </a:prstGeom>
          <a:solidFill>
            <a:schemeClr val="accent6">
              <a:lumMod val="40000"/>
              <a:lumOff val="60000"/>
              <a:alpha val="40000"/>
            </a:schemeClr>
          </a:solidFill>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223" name="Group 222"/>
          <p:cNvGrpSpPr/>
          <p:nvPr/>
        </p:nvGrpSpPr>
        <p:grpSpPr>
          <a:xfrm>
            <a:off x="439447" y="2277701"/>
            <a:ext cx="765005" cy="738343"/>
            <a:chOff x="-1208051" y="2309657"/>
            <a:chExt cx="765005" cy="738343"/>
          </a:xfrm>
        </p:grpSpPr>
        <p:grpSp>
          <p:nvGrpSpPr>
            <p:cNvPr id="224" name="Group 223"/>
            <p:cNvGrpSpPr/>
            <p:nvPr/>
          </p:nvGrpSpPr>
          <p:grpSpPr>
            <a:xfrm>
              <a:off x="-1208051" y="2309657"/>
              <a:ext cx="765005" cy="738343"/>
              <a:chOff x="2929117" y="1366736"/>
              <a:chExt cx="952460" cy="919264"/>
            </a:xfrm>
          </p:grpSpPr>
          <p:sp>
            <p:nvSpPr>
              <p:cNvPr id="226" name="Oval 225"/>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227" name="Title 1"/>
              <p:cNvSpPr txBox="1">
                <a:spLocks/>
              </p:cNvSpPr>
              <p:nvPr/>
            </p:nvSpPr>
            <p:spPr>
              <a:xfrm>
                <a:off x="2929117" y="1366736"/>
                <a:ext cx="952460"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600" b="1" dirty="0" smtClean="0">
                    <a:solidFill>
                      <a:prstClr val="white"/>
                    </a:solidFill>
                    <a:ea typeface="Adobe Gothic Std B" panose="020B0800000000000000" pitchFamily="34" charset="-128"/>
                    <a:sym typeface="Wingdings" pitchFamily="2" charset="2"/>
                  </a:rPr>
                  <a:t>Ekspor</a:t>
                </a:r>
                <a:endParaRPr lang="id-ID" sz="1600" b="1" dirty="0">
                  <a:solidFill>
                    <a:prstClr val="white"/>
                  </a:solidFill>
                  <a:ea typeface="Adobe Gothic Std B" panose="020B0800000000000000" pitchFamily="34" charset="-128"/>
                </a:endParaRPr>
              </a:p>
            </p:txBody>
          </p:sp>
        </p:grpSp>
        <p:cxnSp>
          <p:nvCxnSpPr>
            <p:cNvPr id="225" name="Straight Arrow Connector 224"/>
            <p:cNvCxnSpPr/>
            <p:nvPr/>
          </p:nvCxnSpPr>
          <p:spPr>
            <a:xfrm flipH="1">
              <a:off x="-859128" y="2722001"/>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228" name="Freeform 227"/>
          <p:cNvSpPr/>
          <p:nvPr/>
        </p:nvSpPr>
        <p:spPr>
          <a:xfrm>
            <a:off x="351630" y="3110146"/>
            <a:ext cx="970617" cy="242655"/>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50">
              <a:lnSpc>
                <a:spcPct val="90000"/>
              </a:lnSpc>
              <a:spcBef>
                <a:spcPct val="0"/>
              </a:spcBef>
              <a:spcAft>
                <a:spcPct val="35000"/>
              </a:spcAft>
            </a:pPr>
            <a:endParaRPr lang="id-ID" sz="2700" dirty="0">
              <a:solidFill>
                <a:prstClr val="black">
                  <a:hueOff val="0"/>
                  <a:satOff val="0"/>
                  <a:lumOff val="0"/>
                  <a:alphaOff val="0"/>
                </a:prstClr>
              </a:solidFill>
            </a:endParaRPr>
          </a:p>
        </p:txBody>
      </p:sp>
      <p:sp>
        <p:nvSpPr>
          <p:cNvPr id="229" name="Shape 228"/>
          <p:cNvSpPr/>
          <p:nvPr/>
        </p:nvSpPr>
        <p:spPr>
          <a:xfrm>
            <a:off x="96080" y="2199294"/>
            <a:ext cx="1414598" cy="905910"/>
          </a:xfrm>
          <a:prstGeom prst="funnel">
            <a:avLst/>
          </a:prstGeom>
          <a:solidFill>
            <a:schemeClr val="accent6">
              <a:lumMod val="40000"/>
              <a:lumOff val="60000"/>
              <a:alpha val="40000"/>
            </a:schemeClr>
          </a:solidFill>
          <a:ln>
            <a:solidFill>
              <a:schemeClr val="accent6"/>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cxnSp>
        <p:nvCxnSpPr>
          <p:cNvPr id="230" name="Straight Connector 229"/>
          <p:cNvCxnSpPr/>
          <p:nvPr/>
        </p:nvCxnSpPr>
        <p:spPr>
          <a:xfrm>
            <a:off x="4572000" y="807027"/>
            <a:ext cx="0" cy="5746173"/>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H="1">
            <a:off x="533400" y="3581400"/>
            <a:ext cx="8077200" cy="0"/>
          </a:xfrm>
          <a:prstGeom prst="line">
            <a:avLst/>
          </a:prstGeom>
          <a:ln>
            <a:solidFill>
              <a:schemeClr val="tx1">
                <a:lumMod val="50000"/>
                <a:lumOff val="5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32" name="Rectangle 231"/>
          <p:cNvSpPr/>
          <p:nvPr/>
        </p:nvSpPr>
        <p:spPr>
          <a:xfrm>
            <a:off x="0" y="490671"/>
            <a:ext cx="1600200" cy="452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2800" dirty="0">
                <a:solidFill>
                  <a:prstClr val="black"/>
                </a:solidFill>
                <a:effectLst>
                  <a:outerShdw blurRad="38100" dist="38100" dir="2700000" algn="tl">
                    <a:srgbClr val="000000">
                      <a:alpha val="43137"/>
                    </a:srgbClr>
                  </a:outerShdw>
                </a:effectLst>
                <a:latin typeface="Forte" pitchFamily="66" charset="0"/>
              </a:rPr>
              <a:t>PDB</a:t>
            </a:r>
          </a:p>
        </p:txBody>
      </p:sp>
      <p:sp>
        <p:nvSpPr>
          <p:cNvPr id="233" name="Rectangle 232"/>
          <p:cNvSpPr/>
          <p:nvPr/>
        </p:nvSpPr>
        <p:spPr>
          <a:xfrm>
            <a:off x="15766" y="6145341"/>
            <a:ext cx="1600200" cy="452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d-ID" sz="2800" dirty="0">
                <a:solidFill>
                  <a:prstClr val="black"/>
                </a:solidFill>
                <a:effectLst>
                  <a:outerShdw blurRad="38100" dist="38100" dir="2700000" algn="tl">
                    <a:srgbClr val="000000">
                      <a:alpha val="43137"/>
                    </a:srgbClr>
                  </a:outerShdw>
                </a:effectLst>
                <a:latin typeface="Forte" pitchFamily="66" charset="0"/>
              </a:rPr>
              <a:t>CAD</a:t>
            </a:r>
          </a:p>
        </p:txBody>
      </p:sp>
      <p:sp>
        <p:nvSpPr>
          <p:cNvPr id="234" name="TextBox 233"/>
          <p:cNvSpPr txBox="1"/>
          <p:nvPr/>
        </p:nvSpPr>
        <p:spPr>
          <a:xfrm>
            <a:off x="1073073" y="531514"/>
            <a:ext cx="3259821" cy="307777"/>
          </a:xfrm>
          <a:prstGeom prst="rect">
            <a:avLst/>
          </a:prstGeom>
          <a:noFill/>
        </p:spPr>
        <p:txBody>
          <a:bodyPr wrap="square" rtlCol="0">
            <a:spAutoFit/>
          </a:bodyPr>
          <a:lstStyle>
            <a:defPPr>
              <a:defRPr lang="en-US"/>
            </a:defPPr>
            <a:lvl1pPr>
              <a:defRPr sz="1200" b="1" i="1">
                <a:solidFill>
                  <a:schemeClr val="accent5">
                    <a:lumMod val="75000"/>
                  </a:schemeClr>
                </a:solidFill>
              </a:defRPr>
            </a:lvl1pPr>
          </a:lstStyle>
          <a:p>
            <a:r>
              <a:rPr lang="id-ID" sz="1400" dirty="0" smtClean="0">
                <a:solidFill>
                  <a:srgbClr val="C00000"/>
                </a:solidFill>
              </a:rPr>
              <a:t>Downside risks PDB masih besar</a:t>
            </a:r>
            <a:r>
              <a:rPr lang="id-ID" sz="1400" dirty="0" smtClean="0">
                <a:solidFill>
                  <a:srgbClr val="4BACC6">
                    <a:lumMod val="75000"/>
                  </a:srgbClr>
                </a:solidFill>
              </a:rPr>
              <a:t>.</a:t>
            </a:r>
            <a:endParaRPr lang="id-ID" sz="1400" dirty="0">
              <a:solidFill>
                <a:srgbClr val="4BACC6">
                  <a:lumMod val="75000"/>
                </a:srgbClr>
              </a:solidFill>
            </a:endParaRPr>
          </a:p>
        </p:txBody>
      </p:sp>
      <p:sp>
        <p:nvSpPr>
          <p:cNvPr id="235" name="TextBox 234"/>
          <p:cNvSpPr txBox="1"/>
          <p:nvPr/>
        </p:nvSpPr>
        <p:spPr>
          <a:xfrm>
            <a:off x="928904" y="6127206"/>
            <a:ext cx="3671799" cy="523220"/>
          </a:xfrm>
          <a:prstGeom prst="rect">
            <a:avLst/>
          </a:prstGeom>
          <a:noFill/>
        </p:spPr>
        <p:txBody>
          <a:bodyPr wrap="square" rtlCol="0">
            <a:spAutoFit/>
          </a:bodyPr>
          <a:lstStyle>
            <a:defPPr>
              <a:defRPr lang="en-US"/>
            </a:defPPr>
            <a:lvl1pPr>
              <a:defRPr sz="1400" b="1" i="1">
                <a:solidFill>
                  <a:schemeClr val="accent5">
                    <a:lumMod val="75000"/>
                  </a:schemeClr>
                </a:solidFill>
              </a:defRPr>
            </a:lvl1pPr>
          </a:lstStyle>
          <a:p>
            <a:r>
              <a:rPr lang="id-ID" dirty="0">
                <a:solidFill>
                  <a:srgbClr val="C00000"/>
                </a:solidFill>
              </a:rPr>
              <a:t>Downs risk CAD meningkat </a:t>
            </a:r>
            <a:r>
              <a:rPr lang="id-ID" dirty="0" smtClean="0">
                <a:solidFill>
                  <a:srgbClr val="C00000"/>
                </a:solidFill>
              </a:rPr>
              <a:t>krn permintaan </a:t>
            </a:r>
            <a:r>
              <a:rPr lang="id-ID" dirty="0">
                <a:solidFill>
                  <a:srgbClr val="C00000"/>
                </a:solidFill>
              </a:rPr>
              <a:t>domestik yg </a:t>
            </a:r>
            <a:r>
              <a:rPr lang="id-ID" dirty="0" smtClean="0">
                <a:solidFill>
                  <a:srgbClr val="C00000"/>
                </a:solidFill>
              </a:rPr>
              <a:t>rendah yg menurunkan </a:t>
            </a:r>
            <a:r>
              <a:rPr lang="id-ID" dirty="0">
                <a:solidFill>
                  <a:srgbClr val="C00000"/>
                </a:solidFill>
              </a:rPr>
              <a:t>impor.</a:t>
            </a:r>
          </a:p>
        </p:txBody>
      </p:sp>
      <p:sp>
        <p:nvSpPr>
          <p:cNvPr id="238" name="Rectangle 237"/>
          <p:cNvSpPr/>
          <p:nvPr/>
        </p:nvSpPr>
        <p:spPr>
          <a:xfrm>
            <a:off x="7485996" y="475923"/>
            <a:ext cx="1600200" cy="452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d-ID" sz="2800" dirty="0">
                <a:solidFill>
                  <a:prstClr val="black"/>
                </a:solidFill>
                <a:effectLst>
                  <a:outerShdw blurRad="38100" dist="38100" dir="2700000" algn="tl">
                    <a:srgbClr val="000000">
                      <a:alpha val="43137"/>
                    </a:srgbClr>
                  </a:outerShdw>
                </a:effectLst>
                <a:latin typeface="Forte" pitchFamily="66" charset="0"/>
              </a:rPr>
              <a:t>Inflasi</a:t>
            </a:r>
          </a:p>
        </p:txBody>
      </p:sp>
      <p:sp>
        <p:nvSpPr>
          <p:cNvPr id="247" name="TextBox 246"/>
          <p:cNvSpPr txBox="1"/>
          <p:nvPr/>
        </p:nvSpPr>
        <p:spPr>
          <a:xfrm>
            <a:off x="4472632" y="6170588"/>
            <a:ext cx="3642419" cy="523220"/>
          </a:xfrm>
          <a:prstGeom prst="rect">
            <a:avLst/>
          </a:prstGeom>
          <a:noFill/>
        </p:spPr>
        <p:txBody>
          <a:bodyPr wrap="square" rtlCol="0">
            <a:spAutoFit/>
          </a:bodyPr>
          <a:lstStyle>
            <a:defPPr>
              <a:defRPr lang="en-US"/>
            </a:defPPr>
            <a:lvl1pPr>
              <a:defRPr sz="1400" b="1" i="1">
                <a:solidFill>
                  <a:schemeClr val="accent5">
                    <a:lumMod val="75000"/>
                  </a:schemeClr>
                </a:solidFill>
              </a:defRPr>
            </a:lvl1pPr>
          </a:lstStyle>
          <a:p>
            <a:pPr algn="r"/>
            <a:r>
              <a:rPr lang="id-ID" dirty="0">
                <a:solidFill>
                  <a:srgbClr val="C00000"/>
                </a:solidFill>
              </a:rPr>
              <a:t>Risiko penurunan capital inflow terkait RAR negatif dan </a:t>
            </a:r>
            <a:r>
              <a:rPr lang="id-ID" dirty="0" smtClean="0">
                <a:solidFill>
                  <a:srgbClr val="C00000"/>
                </a:solidFill>
              </a:rPr>
              <a:t>risiko kenaikan FFR</a:t>
            </a:r>
            <a:endParaRPr lang="id-ID" dirty="0">
              <a:solidFill>
                <a:srgbClr val="C00000"/>
              </a:solidFill>
            </a:endParaRPr>
          </a:p>
        </p:txBody>
      </p:sp>
      <p:sp>
        <p:nvSpPr>
          <p:cNvPr id="248" name="Rectangle 247"/>
          <p:cNvSpPr/>
          <p:nvPr/>
        </p:nvSpPr>
        <p:spPr>
          <a:xfrm>
            <a:off x="7496502" y="6280957"/>
            <a:ext cx="1629427" cy="452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id-ID" sz="2000" dirty="0">
                <a:solidFill>
                  <a:prstClr val="black"/>
                </a:solidFill>
                <a:effectLst>
                  <a:outerShdw blurRad="38100" dist="38100" dir="2700000" algn="tl">
                    <a:srgbClr val="000000">
                      <a:alpha val="43137"/>
                    </a:srgbClr>
                  </a:outerShdw>
                </a:effectLst>
                <a:latin typeface="Forte" pitchFamily="66" charset="0"/>
              </a:rPr>
              <a:t>Capital Inflow</a:t>
            </a:r>
          </a:p>
        </p:txBody>
      </p:sp>
      <p:sp>
        <p:nvSpPr>
          <p:cNvPr id="249" name="TextBox 248"/>
          <p:cNvSpPr txBox="1"/>
          <p:nvPr/>
        </p:nvSpPr>
        <p:spPr>
          <a:xfrm>
            <a:off x="6181189" y="3631257"/>
            <a:ext cx="2802788" cy="461665"/>
          </a:xfrm>
          <a:prstGeom prst="rect">
            <a:avLst/>
          </a:prstGeom>
          <a:noFill/>
        </p:spPr>
        <p:txBody>
          <a:bodyPr wrap="square" rtlCol="0">
            <a:spAutoFit/>
          </a:bodyPr>
          <a:lstStyle>
            <a:defPPr>
              <a:defRPr lang="en-US"/>
            </a:defPPr>
            <a:lvl1pPr algn="ctr">
              <a:defRPr sz="1200" b="1" i="1">
                <a:solidFill>
                  <a:schemeClr val="bg1">
                    <a:lumMod val="50000"/>
                  </a:schemeClr>
                </a:solidFill>
              </a:defRPr>
            </a:lvl1pPr>
          </a:lstStyle>
          <a:p>
            <a:r>
              <a:rPr lang="id-ID" dirty="0" smtClean="0">
                <a:solidFill>
                  <a:prstClr val="white">
                    <a:lumMod val="50000"/>
                  </a:prstClr>
                </a:solidFill>
              </a:rPr>
              <a:t>Baseline: Surplus FA 2015 berpotensi lebih rendah dari proyeksi</a:t>
            </a:r>
            <a:endParaRPr lang="id-ID" dirty="0">
              <a:solidFill>
                <a:prstClr val="white">
                  <a:lumMod val="50000"/>
                </a:prstClr>
              </a:solidFill>
            </a:endParaRPr>
          </a:p>
        </p:txBody>
      </p:sp>
      <p:sp>
        <p:nvSpPr>
          <p:cNvPr id="252" name="TextBox 251"/>
          <p:cNvSpPr txBox="1"/>
          <p:nvPr/>
        </p:nvSpPr>
        <p:spPr>
          <a:xfrm>
            <a:off x="1758856" y="3631257"/>
            <a:ext cx="2581261" cy="461665"/>
          </a:xfrm>
          <a:prstGeom prst="rect">
            <a:avLst/>
          </a:prstGeom>
          <a:noFill/>
        </p:spPr>
        <p:txBody>
          <a:bodyPr wrap="square" rtlCol="0">
            <a:spAutoFit/>
          </a:bodyPr>
          <a:lstStyle>
            <a:defPPr>
              <a:defRPr lang="en-US"/>
            </a:defPPr>
            <a:lvl1pPr algn="ctr">
              <a:defRPr sz="1200" b="1" i="1">
                <a:solidFill>
                  <a:schemeClr val="bg1">
                    <a:lumMod val="50000"/>
                  </a:schemeClr>
                </a:solidFill>
              </a:defRPr>
            </a:lvl1pPr>
          </a:lstStyle>
          <a:p>
            <a:r>
              <a:rPr lang="id-ID" dirty="0" smtClean="0">
                <a:solidFill>
                  <a:prstClr val="white">
                    <a:lumMod val="50000"/>
                  </a:prstClr>
                </a:solidFill>
              </a:rPr>
              <a:t>Baseline: CAD 2015 sesuai dengan proyeksi 2,2%</a:t>
            </a:r>
            <a:endParaRPr lang="id-ID" dirty="0">
              <a:solidFill>
                <a:prstClr val="white">
                  <a:lumMod val="50000"/>
                </a:prstClr>
              </a:solidFill>
            </a:endParaRPr>
          </a:p>
        </p:txBody>
      </p:sp>
      <p:sp>
        <p:nvSpPr>
          <p:cNvPr id="253" name="TextBox 252"/>
          <p:cNvSpPr txBox="1"/>
          <p:nvPr/>
        </p:nvSpPr>
        <p:spPr>
          <a:xfrm>
            <a:off x="4663966" y="4661725"/>
            <a:ext cx="1195475" cy="276999"/>
          </a:xfrm>
          <a:prstGeom prst="rect">
            <a:avLst/>
          </a:prstGeom>
          <a:noFill/>
        </p:spPr>
        <p:txBody>
          <a:bodyPr wrap="square" rtlCol="0">
            <a:spAutoFit/>
          </a:bodyPr>
          <a:lstStyle/>
          <a:p>
            <a:r>
              <a:rPr lang="id-ID" sz="1200" b="1" dirty="0">
                <a:solidFill>
                  <a:prstClr val="white"/>
                </a:solidFill>
              </a:rPr>
              <a:t>Kepemilikan NR</a:t>
            </a:r>
          </a:p>
        </p:txBody>
      </p:sp>
      <p:grpSp>
        <p:nvGrpSpPr>
          <p:cNvPr id="256" name="Group 255"/>
          <p:cNvGrpSpPr/>
          <p:nvPr/>
        </p:nvGrpSpPr>
        <p:grpSpPr>
          <a:xfrm>
            <a:off x="1634940" y="2482879"/>
            <a:ext cx="1121666" cy="945278"/>
            <a:chOff x="2909240" y="2712374"/>
            <a:chExt cx="970440" cy="594060"/>
          </a:xfrm>
          <a:solidFill>
            <a:schemeClr val="bg1">
              <a:lumMod val="75000"/>
            </a:schemeClr>
          </a:solidFill>
        </p:grpSpPr>
        <p:sp>
          <p:nvSpPr>
            <p:cNvPr id="257" name="Rectangle 256"/>
            <p:cNvSpPr/>
            <p:nvPr/>
          </p:nvSpPr>
          <p:spPr>
            <a:xfrm>
              <a:off x="3181438" y="2800012"/>
              <a:ext cx="395707" cy="506422"/>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sp>
          <p:nvSpPr>
            <p:cNvPr id="258" name="Rectangle 257"/>
            <p:cNvSpPr/>
            <p:nvPr/>
          </p:nvSpPr>
          <p:spPr>
            <a:xfrm>
              <a:off x="2909240" y="2712374"/>
              <a:ext cx="970440" cy="102265"/>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grpSp>
      <p:grpSp>
        <p:nvGrpSpPr>
          <p:cNvPr id="259" name="Group 258"/>
          <p:cNvGrpSpPr/>
          <p:nvPr/>
        </p:nvGrpSpPr>
        <p:grpSpPr>
          <a:xfrm>
            <a:off x="820443" y="1743283"/>
            <a:ext cx="765009" cy="738343"/>
            <a:chOff x="-1202416" y="2309657"/>
            <a:chExt cx="765009" cy="738343"/>
          </a:xfrm>
        </p:grpSpPr>
        <p:grpSp>
          <p:nvGrpSpPr>
            <p:cNvPr id="265" name="Group 264"/>
            <p:cNvGrpSpPr/>
            <p:nvPr/>
          </p:nvGrpSpPr>
          <p:grpSpPr>
            <a:xfrm>
              <a:off x="-1202416" y="2309657"/>
              <a:ext cx="765009" cy="738343"/>
              <a:chOff x="2936111" y="1366736"/>
              <a:chExt cx="952460" cy="919264"/>
            </a:xfrm>
          </p:grpSpPr>
          <p:sp>
            <p:nvSpPr>
              <p:cNvPr id="267" name="Oval 266"/>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279" name="Title 1"/>
              <p:cNvSpPr txBox="1">
                <a:spLocks/>
              </p:cNvSpPr>
              <p:nvPr/>
            </p:nvSpPr>
            <p:spPr>
              <a:xfrm>
                <a:off x="2936111" y="1366736"/>
                <a:ext cx="952460"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600" b="1" dirty="0" smtClean="0">
                    <a:solidFill>
                      <a:prstClr val="white"/>
                    </a:solidFill>
                    <a:ea typeface="Adobe Gothic Std B" panose="020B0800000000000000" pitchFamily="34" charset="-128"/>
                    <a:sym typeface="Wingdings" pitchFamily="2" charset="2"/>
                  </a:rPr>
                  <a:t>Kredit</a:t>
                </a:r>
                <a:endParaRPr lang="id-ID" sz="1600" b="1" dirty="0">
                  <a:solidFill>
                    <a:prstClr val="white"/>
                  </a:solidFill>
                  <a:ea typeface="Adobe Gothic Std B" panose="020B0800000000000000" pitchFamily="34" charset="-128"/>
                </a:endParaRPr>
              </a:p>
            </p:txBody>
          </p:sp>
        </p:grpSp>
        <p:cxnSp>
          <p:nvCxnSpPr>
            <p:cNvPr id="266" name="Straight Arrow Connector 265"/>
            <p:cNvCxnSpPr/>
            <p:nvPr/>
          </p:nvCxnSpPr>
          <p:spPr>
            <a:xfrm flipH="1">
              <a:off x="-859128" y="2722001"/>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grpSp>
        <p:nvGrpSpPr>
          <p:cNvPr id="280" name="Group 279"/>
          <p:cNvGrpSpPr/>
          <p:nvPr/>
        </p:nvGrpSpPr>
        <p:grpSpPr>
          <a:xfrm>
            <a:off x="55989" y="1780779"/>
            <a:ext cx="765003" cy="716613"/>
            <a:chOff x="-1252168" y="2362919"/>
            <a:chExt cx="765003" cy="716613"/>
          </a:xfrm>
        </p:grpSpPr>
        <p:grpSp>
          <p:nvGrpSpPr>
            <p:cNvPr id="281" name="Group 280"/>
            <p:cNvGrpSpPr/>
            <p:nvPr/>
          </p:nvGrpSpPr>
          <p:grpSpPr>
            <a:xfrm>
              <a:off x="-1252168" y="2362919"/>
              <a:ext cx="765003" cy="685078"/>
              <a:chOff x="2874189" y="1433052"/>
              <a:chExt cx="952459" cy="852948"/>
            </a:xfrm>
          </p:grpSpPr>
          <p:sp>
            <p:nvSpPr>
              <p:cNvPr id="316" name="Oval 315"/>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317" name="Title 1"/>
              <p:cNvSpPr txBox="1">
                <a:spLocks/>
              </p:cNvSpPr>
              <p:nvPr/>
            </p:nvSpPr>
            <p:spPr>
              <a:xfrm>
                <a:off x="2874189" y="1445252"/>
                <a:ext cx="952459" cy="729524"/>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0"/>
                  </a:spcBef>
                </a:pPr>
                <a:r>
                  <a:rPr lang="id-ID" sz="1200" b="1" dirty="0" smtClean="0">
                    <a:solidFill>
                      <a:prstClr val="white"/>
                    </a:solidFill>
                    <a:ea typeface="Adobe Gothic Std B" panose="020B0800000000000000" pitchFamily="34" charset="-128"/>
                    <a:sym typeface="Wingdings" pitchFamily="2" charset="2"/>
                  </a:rPr>
                  <a:t>Inestasi</a:t>
                </a:r>
              </a:p>
              <a:p>
                <a:pPr algn="ctr">
                  <a:spcBef>
                    <a:spcPts val="0"/>
                  </a:spcBef>
                </a:pPr>
                <a:r>
                  <a:rPr lang="id-ID" sz="1200" b="1" dirty="0" smtClean="0">
                    <a:solidFill>
                      <a:prstClr val="white"/>
                    </a:solidFill>
                    <a:ea typeface="Adobe Gothic Std B" panose="020B0800000000000000" pitchFamily="34" charset="-128"/>
                    <a:sym typeface="Wingdings" pitchFamily="2" charset="2"/>
                  </a:rPr>
                  <a:t>Bangunan</a:t>
                </a:r>
              </a:p>
              <a:p>
                <a:pPr algn="ctr">
                  <a:spcBef>
                    <a:spcPts val="0"/>
                  </a:spcBef>
                </a:pPr>
                <a:r>
                  <a:rPr lang="id-ID" sz="1200" b="1" dirty="0" smtClean="0">
                    <a:solidFill>
                      <a:prstClr val="white"/>
                    </a:solidFill>
                    <a:ea typeface="Adobe Gothic Std B" panose="020B0800000000000000" pitchFamily="34" charset="-128"/>
                    <a:sym typeface="Wingdings" pitchFamily="2" charset="2"/>
                  </a:rPr>
                  <a:t>Swasta</a:t>
                </a:r>
                <a:endParaRPr lang="id-ID" sz="1200" b="1" dirty="0">
                  <a:solidFill>
                    <a:prstClr val="white"/>
                  </a:solidFill>
                  <a:ea typeface="Adobe Gothic Std B" panose="020B0800000000000000" pitchFamily="34" charset="-128"/>
                </a:endParaRPr>
              </a:p>
            </p:txBody>
          </p:sp>
        </p:grpSp>
        <p:cxnSp>
          <p:nvCxnSpPr>
            <p:cNvPr id="315" name="Straight Arrow Connector 314"/>
            <p:cNvCxnSpPr/>
            <p:nvPr/>
          </p:nvCxnSpPr>
          <p:spPr>
            <a:xfrm flipH="1">
              <a:off x="-859128" y="2832363"/>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318" name="Freeform 317"/>
          <p:cNvSpPr/>
          <p:nvPr/>
        </p:nvSpPr>
        <p:spPr>
          <a:xfrm rot="20852967">
            <a:off x="639273" y="2756718"/>
            <a:ext cx="3046841" cy="114859"/>
          </a:xfrm>
          <a:custGeom>
            <a:avLst/>
            <a:gdLst>
              <a:gd name="connsiteX0" fmla="*/ 0 w 1459793"/>
              <a:gd name="connsiteY0" fmla="*/ 113355 h 680114"/>
              <a:gd name="connsiteX1" fmla="*/ 113355 w 1459793"/>
              <a:gd name="connsiteY1" fmla="*/ 0 h 680114"/>
              <a:gd name="connsiteX2" fmla="*/ 1346438 w 1459793"/>
              <a:gd name="connsiteY2" fmla="*/ 0 h 680114"/>
              <a:gd name="connsiteX3" fmla="*/ 1459793 w 1459793"/>
              <a:gd name="connsiteY3" fmla="*/ 113355 h 680114"/>
              <a:gd name="connsiteX4" fmla="*/ 1459793 w 1459793"/>
              <a:gd name="connsiteY4" fmla="*/ 566759 h 680114"/>
              <a:gd name="connsiteX5" fmla="*/ 1346438 w 1459793"/>
              <a:gd name="connsiteY5" fmla="*/ 680114 h 680114"/>
              <a:gd name="connsiteX6" fmla="*/ 113355 w 1459793"/>
              <a:gd name="connsiteY6" fmla="*/ 680114 h 680114"/>
              <a:gd name="connsiteX7" fmla="*/ 0 w 1459793"/>
              <a:gd name="connsiteY7" fmla="*/ 566759 h 680114"/>
              <a:gd name="connsiteX8" fmla="*/ 0 w 1459793"/>
              <a:gd name="connsiteY8" fmla="*/ 113355 h 68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793" h="680114">
                <a:moveTo>
                  <a:pt x="0" y="113355"/>
                </a:moveTo>
                <a:cubicBezTo>
                  <a:pt x="0" y="50751"/>
                  <a:pt x="50751" y="0"/>
                  <a:pt x="113355" y="0"/>
                </a:cubicBezTo>
                <a:lnTo>
                  <a:pt x="1346438" y="0"/>
                </a:lnTo>
                <a:cubicBezTo>
                  <a:pt x="1409042" y="0"/>
                  <a:pt x="1459793" y="50751"/>
                  <a:pt x="1459793" y="113355"/>
                </a:cubicBezTo>
                <a:lnTo>
                  <a:pt x="1459793" y="566759"/>
                </a:lnTo>
                <a:cubicBezTo>
                  <a:pt x="1459793" y="629363"/>
                  <a:pt x="1409042" y="680114"/>
                  <a:pt x="1346438" y="680114"/>
                </a:cubicBezTo>
                <a:lnTo>
                  <a:pt x="113355" y="680114"/>
                </a:lnTo>
                <a:cubicBezTo>
                  <a:pt x="50751" y="680114"/>
                  <a:pt x="0" y="629363"/>
                  <a:pt x="0" y="566759"/>
                </a:cubicBezTo>
                <a:lnTo>
                  <a:pt x="0" y="113355"/>
                </a:lnTo>
                <a:close/>
              </a:path>
            </a:pathLst>
          </a:custGeom>
          <a:scene3d>
            <a:camera prst="orthographicFront"/>
            <a:lightRig rig="threePt" dir="t">
              <a:rot lat="0" lon="0" rev="7500000"/>
            </a:lightRig>
          </a:scene3d>
          <a:sp3d prstMaterial="plastic">
            <a:bevelT w="127000" h="25400" prst="relaxedInset"/>
          </a:sp3d>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139879" tIns="139879" rIns="139880" bIns="139880" numCol="1" spcCol="1270" anchor="ctr" anchorCtr="0">
            <a:noAutofit/>
          </a:bodyPr>
          <a:lstStyle/>
          <a:p>
            <a:pPr algn="ctr" defTabSz="1244600">
              <a:lnSpc>
                <a:spcPct val="90000"/>
              </a:lnSpc>
              <a:spcBef>
                <a:spcPct val="0"/>
              </a:spcBef>
              <a:spcAft>
                <a:spcPct val="35000"/>
              </a:spcAft>
            </a:pPr>
            <a:endParaRPr lang="id-ID" sz="2800" dirty="0">
              <a:solidFill>
                <a:prstClr val="black">
                  <a:hueOff val="0"/>
                  <a:satOff val="0"/>
                  <a:lumOff val="0"/>
                  <a:alphaOff val="0"/>
                </a:prstClr>
              </a:solidFill>
            </a:endParaRPr>
          </a:p>
        </p:txBody>
      </p:sp>
      <p:sp>
        <p:nvSpPr>
          <p:cNvPr id="319" name="Freeform 318"/>
          <p:cNvSpPr/>
          <p:nvPr/>
        </p:nvSpPr>
        <p:spPr>
          <a:xfrm>
            <a:off x="2080077" y="2727434"/>
            <a:ext cx="219059" cy="219059"/>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sp>
        <p:nvSpPr>
          <p:cNvPr id="325" name="Rounded Rectangle 324"/>
          <p:cNvSpPr/>
          <p:nvPr/>
        </p:nvSpPr>
        <p:spPr>
          <a:xfrm>
            <a:off x="304800" y="3268617"/>
            <a:ext cx="3805166" cy="226031"/>
          </a:xfrm>
          <a:prstGeom prst="roundRect">
            <a:avLst>
              <a:gd name="adj" fmla="val 19342"/>
            </a:avLst>
          </a:pr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grpSp>
        <p:nvGrpSpPr>
          <p:cNvPr id="326" name="Group 325"/>
          <p:cNvGrpSpPr/>
          <p:nvPr/>
        </p:nvGrpSpPr>
        <p:grpSpPr>
          <a:xfrm>
            <a:off x="-78830" y="3225427"/>
            <a:ext cx="4437996" cy="292388"/>
            <a:chOff x="-78830" y="3241193"/>
            <a:chExt cx="4437996" cy="292388"/>
          </a:xfrm>
        </p:grpSpPr>
        <p:sp>
          <p:nvSpPr>
            <p:cNvPr id="327" name="TextBox 326"/>
            <p:cNvSpPr txBox="1"/>
            <p:nvPr/>
          </p:nvSpPr>
          <p:spPr>
            <a:xfrm>
              <a:off x="-78830" y="3241193"/>
              <a:ext cx="2015411" cy="292388"/>
            </a:xfrm>
            <a:prstGeom prst="rect">
              <a:avLst/>
            </a:prstGeom>
            <a:noFill/>
          </p:spPr>
          <p:txBody>
            <a:bodyPr wrap="square" rtlCol="0">
              <a:spAutoFit/>
            </a:bodyPr>
            <a:lstStyle/>
            <a:p>
              <a:pPr algn="ctr"/>
              <a:r>
                <a:rPr lang="id-ID" sz="1300" b="1" i="1" dirty="0">
                  <a:solidFill>
                    <a:prstClr val="white"/>
                  </a:solidFill>
                </a:rPr>
                <a:t>Downside risks</a:t>
              </a:r>
            </a:p>
          </p:txBody>
        </p:sp>
        <p:sp>
          <p:nvSpPr>
            <p:cNvPr id="360" name="TextBox 359"/>
            <p:cNvSpPr txBox="1"/>
            <p:nvPr/>
          </p:nvSpPr>
          <p:spPr>
            <a:xfrm>
              <a:off x="2732141" y="3241193"/>
              <a:ext cx="1627025" cy="292388"/>
            </a:xfrm>
            <a:prstGeom prst="rect">
              <a:avLst/>
            </a:prstGeom>
            <a:noFill/>
          </p:spPr>
          <p:txBody>
            <a:bodyPr wrap="square" rtlCol="0">
              <a:spAutoFit/>
            </a:bodyPr>
            <a:lstStyle/>
            <a:p>
              <a:pPr algn="ctr"/>
              <a:r>
                <a:rPr lang="id-ID" sz="1300" b="1" i="1" dirty="0">
                  <a:solidFill>
                    <a:prstClr val="white"/>
                  </a:solidFill>
                </a:rPr>
                <a:t>Upside Risks</a:t>
              </a:r>
            </a:p>
          </p:txBody>
        </p:sp>
      </p:grpSp>
      <p:sp>
        <p:nvSpPr>
          <p:cNvPr id="361" name="Shape 360"/>
          <p:cNvSpPr/>
          <p:nvPr/>
        </p:nvSpPr>
        <p:spPr>
          <a:xfrm>
            <a:off x="7491598" y="1780529"/>
            <a:ext cx="1414598" cy="905910"/>
          </a:xfrm>
          <a:prstGeom prst="funnel">
            <a:avLst/>
          </a:prstGeom>
          <a:solidFill>
            <a:schemeClr val="accent3">
              <a:lumMod val="20000"/>
              <a:lumOff val="80000"/>
              <a:alpha val="40000"/>
            </a:schemeClr>
          </a:solidFill>
          <a:ln>
            <a:solidFill>
              <a:srgbClr val="00B050"/>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362" name="Oval 361"/>
          <p:cNvSpPr/>
          <p:nvPr/>
        </p:nvSpPr>
        <p:spPr>
          <a:xfrm>
            <a:off x="4867850" y="2031118"/>
            <a:ext cx="1303452" cy="362364"/>
          </a:xfrm>
          <a:prstGeom prst="ellipse">
            <a:avLst/>
          </a:prstGeom>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363" name="Group 362"/>
          <p:cNvGrpSpPr/>
          <p:nvPr/>
        </p:nvGrpSpPr>
        <p:grpSpPr>
          <a:xfrm>
            <a:off x="5196840" y="2088522"/>
            <a:ext cx="765009" cy="685158"/>
            <a:chOff x="-1219200" y="2362838"/>
            <a:chExt cx="765009" cy="685158"/>
          </a:xfrm>
        </p:grpSpPr>
        <p:grpSp>
          <p:nvGrpSpPr>
            <p:cNvPr id="364" name="Group 363"/>
            <p:cNvGrpSpPr/>
            <p:nvPr/>
          </p:nvGrpSpPr>
          <p:grpSpPr>
            <a:xfrm>
              <a:off x="-1219200" y="2362838"/>
              <a:ext cx="765009" cy="685158"/>
              <a:chOff x="2915229" y="1432952"/>
              <a:chExt cx="952464" cy="853048"/>
            </a:xfrm>
          </p:grpSpPr>
          <p:sp>
            <p:nvSpPr>
              <p:cNvPr id="379" name="Oval 378"/>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402" name="Title 1"/>
              <p:cNvSpPr txBox="1">
                <a:spLocks/>
              </p:cNvSpPr>
              <p:nvPr/>
            </p:nvSpPr>
            <p:spPr>
              <a:xfrm>
                <a:off x="2915229" y="1432952"/>
                <a:ext cx="952464" cy="729522"/>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0"/>
                  </a:spcBef>
                </a:pPr>
                <a:r>
                  <a:rPr lang="id-ID" sz="1800" b="1" dirty="0" smtClean="0">
                    <a:solidFill>
                      <a:prstClr val="white"/>
                    </a:solidFill>
                    <a:ea typeface="Adobe Gothic Std B" panose="020B0800000000000000" pitchFamily="34" charset="-128"/>
                    <a:sym typeface="Wingdings" pitchFamily="2" charset="2"/>
                  </a:rPr>
                  <a:t>El Nino</a:t>
                </a:r>
                <a:endParaRPr lang="id-ID" sz="1800" b="1" dirty="0">
                  <a:solidFill>
                    <a:prstClr val="white"/>
                  </a:solidFill>
                  <a:ea typeface="Adobe Gothic Std B" panose="020B0800000000000000" pitchFamily="34" charset="-128"/>
                </a:endParaRPr>
              </a:p>
            </p:txBody>
          </p:sp>
        </p:grpSp>
        <p:cxnSp>
          <p:nvCxnSpPr>
            <p:cNvPr id="365" name="Straight Arrow Connector 364"/>
            <p:cNvCxnSpPr/>
            <p:nvPr/>
          </p:nvCxnSpPr>
          <p:spPr>
            <a:xfrm flipH="1" flipV="1">
              <a:off x="-831458" y="2792401"/>
              <a:ext cx="2" cy="234586"/>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03" name="Freeform 402"/>
          <p:cNvSpPr/>
          <p:nvPr/>
        </p:nvSpPr>
        <p:spPr>
          <a:xfrm>
            <a:off x="5098782" y="2895829"/>
            <a:ext cx="970617" cy="242655"/>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50">
              <a:lnSpc>
                <a:spcPct val="90000"/>
              </a:lnSpc>
              <a:spcBef>
                <a:spcPct val="0"/>
              </a:spcBef>
              <a:spcAft>
                <a:spcPct val="35000"/>
              </a:spcAft>
            </a:pPr>
            <a:endParaRPr lang="id-ID" sz="2700" dirty="0">
              <a:solidFill>
                <a:prstClr val="black">
                  <a:hueOff val="0"/>
                  <a:satOff val="0"/>
                  <a:lumOff val="0"/>
                  <a:alphaOff val="0"/>
                </a:prstClr>
              </a:solidFill>
            </a:endParaRPr>
          </a:p>
        </p:txBody>
      </p:sp>
      <p:sp>
        <p:nvSpPr>
          <p:cNvPr id="404" name="Shape 403"/>
          <p:cNvSpPr/>
          <p:nvPr/>
        </p:nvSpPr>
        <p:spPr>
          <a:xfrm>
            <a:off x="4872728" y="1937679"/>
            <a:ext cx="1414598" cy="905910"/>
          </a:xfrm>
          <a:prstGeom prst="funnel">
            <a:avLst/>
          </a:prstGeom>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grpSp>
        <p:nvGrpSpPr>
          <p:cNvPr id="405" name="Group 404"/>
          <p:cNvGrpSpPr/>
          <p:nvPr/>
        </p:nvGrpSpPr>
        <p:grpSpPr>
          <a:xfrm>
            <a:off x="6352593" y="2482160"/>
            <a:ext cx="1121665" cy="945278"/>
            <a:chOff x="2909240" y="2712374"/>
            <a:chExt cx="970440" cy="594060"/>
          </a:xfrm>
          <a:solidFill>
            <a:schemeClr val="bg1">
              <a:lumMod val="75000"/>
            </a:schemeClr>
          </a:solidFill>
        </p:grpSpPr>
        <p:sp>
          <p:nvSpPr>
            <p:cNvPr id="406" name="Rectangle 405"/>
            <p:cNvSpPr/>
            <p:nvPr/>
          </p:nvSpPr>
          <p:spPr>
            <a:xfrm>
              <a:off x="3181438" y="2800012"/>
              <a:ext cx="395707" cy="506422"/>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sp>
          <p:nvSpPr>
            <p:cNvPr id="413" name="Rectangle 412"/>
            <p:cNvSpPr/>
            <p:nvPr/>
          </p:nvSpPr>
          <p:spPr>
            <a:xfrm>
              <a:off x="2909240" y="2712374"/>
              <a:ext cx="970440" cy="102265"/>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grpSp>
      <p:grpSp>
        <p:nvGrpSpPr>
          <p:cNvPr id="419" name="Group 418"/>
          <p:cNvGrpSpPr/>
          <p:nvPr/>
        </p:nvGrpSpPr>
        <p:grpSpPr>
          <a:xfrm>
            <a:off x="5559591" y="1584960"/>
            <a:ext cx="765009" cy="694100"/>
            <a:chOff x="-1219200" y="2353898"/>
            <a:chExt cx="765009" cy="694100"/>
          </a:xfrm>
        </p:grpSpPr>
        <p:grpSp>
          <p:nvGrpSpPr>
            <p:cNvPr id="420" name="Group 419"/>
            <p:cNvGrpSpPr/>
            <p:nvPr/>
          </p:nvGrpSpPr>
          <p:grpSpPr>
            <a:xfrm>
              <a:off x="-1219200" y="2353898"/>
              <a:ext cx="765009" cy="694100"/>
              <a:chOff x="2915229" y="1421819"/>
              <a:chExt cx="952464" cy="864181"/>
            </a:xfrm>
          </p:grpSpPr>
          <p:sp>
            <p:nvSpPr>
              <p:cNvPr id="422" name="Oval 421"/>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423" name="Title 1"/>
              <p:cNvSpPr txBox="1">
                <a:spLocks/>
              </p:cNvSpPr>
              <p:nvPr/>
            </p:nvSpPr>
            <p:spPr>
              <a:xfrm>
                <a:off x="2915229" y="1421819"/>
                <a:ext cx="952464" cy="729522"/>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600" b="1" dirty="0" smtClean="0">
                    <a:solidFill>
                      <a:prstClr val="white"/>
                    </a:solidFill>
                    <a:ea typeface="Adobe Gothic Std B" panose="020B0800000000000000" pitchFamily="34" charset="-128"/>
                    <a:sym typeface="Wingdings" pitchFamily="2" charset="2"/>
                  </a:rPr>
                  <a:t>Nilai Tukar</a:t>
                </a:r>
                <a:endParaRPr lang="id-ID" sz="1600" b="1" dirty="0">
                  <a:solidFill>
                    <a:prstClr val="white"/>
                  </a:solidFill>
                  <a:ea typeface="Adobe Gothic Std B" panose="020B0800000000000000" pitchFamily="34" charset="-128"/>
                </a:endParaRPr>
              </a:p>
            </p:txBody>
          </p:sp>
        </p:grpSp>
        <p:cxnSp>
          <p:nvCxnSpPr>
            <p:cNvPr id="421" name="Straight Arrow Connector 420"/>
            <p:cNvCxnSpPr/>
            <p:nvPr/>
          </p:nvCxnSpPr>
          <p:spPr>
            <a:xfrm flipH="1" flipV="1">
              <a:off x="-843361" y="2787927"/>
              <a:ext cx="1" cy="242642"/>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24" name="Freeform 423"/>
          <p:cNvSpPr/>
          <p:nvPr/>
        </p:nvSpPr>
        <p:spPr>
          <a:xfrm rot="21420000">
            <a:off x="5356929" y="2755999"/>
            <a:ext cx="3046841" cy="114859"/>
          </a:xfrm>
          <a:custGeom>
            <a:avLst/>
            <a:gdLst>
              <a:gd name="connsiteX0" fmla="*/ 0 w 1459793"/>
              <a:gd name="connsiteY0" fmla="*/ 113355 h 680114"/>
              <a:gd name="connsiteX1" fmla="*/ 113355 w 1459793"/>
              <a:gd name="connsiteY1" fmla="*/ 0 h 680114"/>
              <a:gd name="connsiteX2" fmla="*/ 1346438 w 1459793"/>
              <a:gd name="connsiteY2" fmla="*/ 0 h 680114"/>
              <a:gd name="connsiteX3" fmla="*/ 1459793 w 1459793"/>
              <a:gd name="connsiteY3" fmla="*/ 113355 h 680114"/>
              <a:gd name="connsiteX4" fmla="*/ 1459793 w 1459793"/>
              <a:gd name="connsiteY4" fmla="*/ 566759 h 680114"/>
              <a:gd name="connsiteX5" fmla="*/ 1346438 w 1459793"/>
              <a:gd name="connsiteY5" fmla="*/ 680114 h 680114"/>
              <a:gd name="connsiteX6" fmla="*/ 113355 w 1459793"/>
              <a:gd name="connsiteY6" fmla="*/ 680114 h 680114"/>
              <a:gd name="connsiteX7" fmla="*/ 0 w 1459793"/>
              <a:gd name="connsiteY7" fmla="*/ 566759 h 680114"/>
              <a:gd name="connsiteX8" fmla="*/ 0 w 1459793"/>
              <a:gd name="connsiteY8" fmla="*/ 113355 h 68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793" h="680114">
                <a:moveTo>
                  <a:pt x="0" y="113355"/>
                </a:moveTo>
                <a:cubicBezTo>
                  <a:pt x="0" y="50751"/>
                  <a:pt x="50751" y="0"/>
                  <a:pt x="113355" y="0"/>
                </a:cubicBezTo>
                <a:lnTo>
                  <a:pt x="1346438" y="0"/>
                </a:lnTo>
                <a:cubicBezTo>
                  <a:pt x="1409042" y="0"/>
                  <a:pt x="1459793" y="50751"/>
                  <a:pt x="1459793" y="113355"/>
                </a:cubicBezTo>
                <a:lnTo>
                  <a:pt x="1459793" y="566759"/>
                </a:lnTo>
                <a:cubicBezTo>
                  <a:pt x="1459793" y="629363"/>
                  <a:pt x="1409042" y="680114"/>
                  <a:pt x="1346438" y="680114"/>
                </a:cubicBezTo>
                <a:lnTo>
                  <a:pt x="113355" y="680114"/>
                </a:lnTo>
                <a:cubicBezTo>
                  <a:pt x="50751" y="680114"/>
                  <a:pt x="0" y="629363"/>
                  <a:pt x="0" y="566759"/>
                </a:cubicBezTo>
                <a:lnTo>
                  <a:pt x="0" y="113355"/>
                </a:lnTo>
                <a:close/>
              </a:path>
            </a:pathLst>
          </a:custGeom>
          <a:scene3d>
            <a:camera prst="orthographicFront"/>
            <a:lightRig rig="threePt" dir="t">
              <a:rot lat="0" lon="0" rev="7500000"/>
            </a:lightRig>
          </a:scene3d>
          <a:sp3d prstMaterial="plastic">
            <a:bevelT w="127000" h="25400" prst="relaxedInset"/>
          </a:sp3d>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139879" tIns="139879" rIns="139880" bIns="139880" numCol="1" spcCol="1270" anchor="ctr" anchorCtr="0">
            <a:noAutofit/>
          </a:bodyPr>
          <a:lstStyle/>
          <a:p>
            <a:pPr algn="ctr" defTabSz="1244600">
              <a:lnSpc>
                <a:spcPct val="90000"/>
              </a:lnSpc>
              <a:spcBef>
                <a:spcPct val="0"/>
              </a:spcBef>
              <a:spcAft>
                <a:spcPct val="35000"/>
              </a:spcAft>
            </a:pPr>
            <a:endParaRPr lang="id-ID" sz="2800" dirty="0">
              <a:solidFill>
                <a:prstClr val="black">
                  <a:hueOff val="0"/>
                  <a:satOff val="0"/>
                  <a:lumOff val="0"/>
                  <a:alphaOff val="0"/>
                </a:prstClr>
              </a:solidFill>
            </a:endParaRPr>
          </a:p>
        </p:txBody>
      </p:sp>
      <p:sp>
        <p:nvSpPr>
          <p:cNvPr id="425" name="Freeform 424"/>
          <p:cNvSpPr/>
          <p:nvPr/>
        </p:nvSpPr>
        <p:spPr>
          <a:xfrm>
            <a:off x="6797733" y="2726715"/>
            <a:ext cx="219059" cy="219059"/>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sp>
        <p:nvSpPr>
          <p:cNvPr id="426" name="Rounded Rectangle 425"/>
          <p:cNvSpPr/>
          <p:nvPr/>
        </p:nvSpPr>
        <p:spPr>
          <a:xfrm>
            <a:off x="5022456" y="3267898"/>
            <a:ext cx="3805166" cy="226031"/>
          </a:xfrm>
          <a:prstGeom prst="roundRect">
            <a:avLst>
              <a:gd name="adj" fmla="val 19342"/>
            </a:avLst>
          </a:pr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grpSp>
        <p:nvGrpSpPr>
          <p:cNvPr id="427" name="Group 426"/>
          <p:cNvGrpSpPr/>
          <p:nvPr/>
        </p:nvGrpSpPr>
        <p:grpSpPr>
          <a:xfrm>
            <a:off x="4724400" y="3238138"/>
            <a:ext cx="4543718" cy="292388"/>
            <a:chOff x="4724400" y="3269670"/>
            <a:chExt cx="4543718" cy="292388"/>
          </a:xfrm>
        </p:grpSpPr>
        <p:sp>
          <p:nvSpPr>
            <p:cNvPr id="428" name="TextBox 427"/>
            <p:cNvSpPr txBox="1"/>
            <p:nvPr/>
          </p:nvSpPr>
          <p:spPr>
            <a:xfrm>
              <a:off x="7252707" y="3269670"/>
              <a:ext cx="2015411" cy="292388"/>
            </a:xfrm>
            <a:prstGeom prst="rect">
              <a:avLst/>
            </a:prstGeom>
            <a:noFill/>
          </p:spPr>
          <p:txBody>
            <a:bodyPr wrap="square" rtlCol="0">
              <a:spAutoFit/>
            </a:bodyPr>
            <a:lstStyle/>
            <a:p>
              <a:pPr algn="ctr"/>
              <a:r>
                <a:rPr lang="id-ID" sz="1300" b="1" i="1" dirty="0">
                  <a:solidFill>
                    <a:prstClr val="white"/>
                  </a:solidFill>
                </a:rPr>
                <a:t>Downside risks</a:t>
              </a:r>
            </a:p>
          </p:txBody>
        </p:sp>
        <p:sp>
          <p:nvSpPr>
            <p:cNvPr id="429" name="TextBox 428"/>
            <p:cNvSpPr txBox="1"/>
            <p:nvPr/>
          </p:nvSpPr>
          <p:spPr>
            <a:xfrm>
              <a:off x="4724400" y="3269670"/>
              <a:ext cx="1627025" cy="292388"/>
            </a:xfrm>
            <a:prstGeom prst="rect">
              <a:avLst/>
            </a:prstGeom>
            <a:noFill/>
          </p:spPr>
          <p:txBody>
            <a:bodyPr wrap="square" rtlCol="0">
              <a:spAutoFit/>
            </a:bodyPr>
            <a:lstStyle/>
            <a:p>
              <a:pPr algn="ctr"/>
              <a:r>
                <a:rPr lang="id-ID" sz="1300" b="1" i="1" dirty="0">
                  <a:solidFill>
                    <a:prstClr val="white"/>
                  </a:solidFill>
                </a:rPr>
                <a:t>Upside Risks</a:t>
              </a:r>
            </a:p>
          </p:txBody>
        </p:sp>
      </p:grpSp>
      <p:sp>
        <p:nvSpPr>
          <p:cNvPr id="430" name="Oval 429"/>
          <p:cNvSpPr/>
          <p:nvPr/>
        </p:nvSpPr>
        <p:spPr>
          <a:xfrm>
            <a:off x="273692" y="4403198"/>
            <a:ext cx="1303452" cy="362364"/>
          </a:xfrm>
          <a:prstGeom prst="ellipse">
            <a:avLst/>
          </a:prstGeom>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431" name="Group 430"/>
          <p:cNvGrpSpPr/>
          <p:nvPr/>
        </p:nvGrpSpPr>
        <p:grpSpPr>
          <a:xfrm>
            <a:off x="556938" y="4572000"/>
            <a:ext cx="691164" cy="652294"/>
            <a:chOff x="-1219200" y="2326019"/>
            <a:chExt cx="765009" cy="721985"/>
          </a:xfrm>
        </p:grpSpPr>
        <p:grpSp>
          <p:nvGrpSpPr>
            <p:cNvPr id="432" name="Group 431"/>
            <p:cNvGrpSpPr/>
            <p:nvPr/>
          </p:nvGrpSpPr>
          <p:grpSpPr>
            <a:xfrm>
              <a:off x="-1219200" y="2326019"/>
              <a:ext cx="765009" cy="721985"/>
              <a:chOff x="2915229" y="1387103"/>
              <a:chExt cx="952464" cy="898897"/>
            </a:xfrm>
          </p:grpSpPr>
          <p:sp>
            <p:nvSpPr>
              <p:cNvPr id="434" name="Oval 433"/>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b="1" dirty="0">
                  <a:solidFill>
                    <a:prstClr val="white"/>
                  </a:solidFill>
                </a:endParaRPr>
              </a:p>
            </p:txBody>
          </p:sp>
          <p:sp>
            <p:nvSpPr>
              <p:cNvPr id="435" name="Title 1"/>
              <p:cNvSpPr txBox="1">
                <a:spLocks/>
              </p:cNvSpPr>
              <p:nvPr/>
            </p:nvSpPr>
            <p:spPr>
              <a:xfrm>
                <a:off x="2915229" y="1387103"/>
                <a:ext cx="952464" cy="729522"/>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400" b="1" dirty="0" smtClean="0">
                    <a:solidFill>
                      <a:prstClr val="white"/>
                    </a:solidFill>
                    <a:ea typeface="Adobe Gothic Std B" panose="020B0800000000000000" pitchFamily="34" charset="-128"/>
                    <a:sym typeface="Wingdings" pitchFamily="2" charset="2"/>
                  </a:rPr>
                  <a:t>Ekspor</a:t>
                </a:r>
                <a:endParaRPr lang="id-ID" sz="1400" b="1" dirty="0">
                  <a:solidFill>
                    <a:prstClr val="white"/>
                  </a:solidFill>
                  <a:ea typeface="Adobe Gothic Std B" panose="020B0800000000000000" pitchFamily="34" charset="-128"/>
                </a:endParaRPr>
              </a:p>
            </p:txBody>
          </p:sp>
        </p:grpSp>
        <p:cxnSp>
          <p:nvCxnSpPr>
            <p:cNvPr id="433" name="Straight Arrow Connector 432"/>
            <p:cNvCxnSpPr/>
            <p:nvPr/>
          </p:nvCxnSpPr>
          <p:spPr>
            <a:xfrm flipH="1">
              <a:off x="-859128" y="2722001"/>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36" name="Freeform 435"/>
          <p:cNvSpPr/>
          <p:nvPr/>
        </p:nvSpPr>
        <p:spPr>
          <a:xfrm>
            <a:off x="443596" y="5646293"/>
            <a:ext cx="970617" cy="242655"/>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50">
              <a:lnSpc>
                <a:spcPct val="90000"/>
              </a:lnSpc>
              <a:spcBef>
                <a:spcPct val="0"/>
              </a:spcBef>
              <a:spcAft>
                <a:spcPct val="35000"/>
              </a:spcAft>
            </a:pPr>
            <a:endParaRPr lang="id-ID" sz="2700" dirty="0">
              <a:solidFill>
                <a:prstClr val="black">
                  <a:hueOff val="0"/>
                  <a:satOff val="0"/>
                  <a:lumOff val="0"/>
                  <a:alphaOff val="0"/>
                </a:prstClr>
              </a:solidFill>
            </a:endParaRPr>
          </a:p>
        </p:txBody>
      </p:sp>
      <p:sp>
        <p:nvSpPr>
          <p:cNvPr id="437" name="Shape 436"/>
          <p:cNvSpPr/>
          <p:nvPr/>
        </p:nvSpPr>
        <p:spPr>
          <a:xfrm>
            <a:off x="219578" y="4404355"/>
            <a:ext cx="1414598" cy="905910"/>
          </a:xfrm>
          <a:prstGeom prst="funnel">
            <a:avLst/>
          </a:prstGeom>
          <a:solidFill>
            <a:schemeClr val="accent6">
              <a:lumMod val="40000"/>
              <a:lumOff val="60000"/>
              <a:alpha val="40000"/>
            </a:schemeClr>
          </a:solidFill>
          <a:ln>
            <a:solidFill>
              <a:schemeClr val="accent6"/>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grpSp>
        <p:nvGrpSpPr>
          <p:cNvPr id="438" name="Group 437"/>
          <p:cNvGrpSpPr/>
          <p:nvPr/>
        </p:nvGrpSpPr>
        <p:grpSpPr>
          <a:xfrm>
            <a:off x="1726903" y="5097856"/>
            <a:ext cx="1121665" cy="945278"/>
            <a:chOff x="2909240" y="2712374"/>
            <a:chExt cx="970440" cy="594060"/>
          </a:xfrm>
          <a:solidFill>
            <a:schemeClr val="bg1">
              <a:lumMod val="75000"/>
            </a:schemeClr>
          </a:solidFill>
        </p:grpSpPr>
        <p:sp>
          <p:nvSpPr>
            <p:cNvPr id="439" name="Rectangle 438"/>
            <p:cNvSpPr/>
            <p:nvPr/>
          </p:nvSpPr>
          <p:spPr>
            <a:xfrm>
              <a:off x="3181438" y="2800012"/>
              <a:ext cx="395707" cy="506422"/>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sp>
          <p:nvSpPr>
            <p:cNvPr id="440" name="Rectangle 439"/>
            <p:cNvSpPr/>
            <p:nvPr/>
          </p:nvSpPr>
          <p:spPr>
            <a:xfrm>
              <a:off x="2909240" y="2712374"/>
              <a:ext cx="970440" cy="102265"/>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grpSp>
      <p:grpSp>
        <p:nvGrpSpPr>
          <p:cNvPr id="441" name="Group 440"/>
          <p:cNvGrpSpPr/>
          <p:nvPr/>
        </p:nvGrpSpPr>
        <p:grpSpPr>
          <a:xfrm>
            <a:off x="961320" y="4116358"/>
            <a:ext cx="691164" cy="650683"/>
            <a:chOff x="-1219200" y="2327802"/>
            <a:chExt cx="765009" cy="720201"/>
          </a:xfrm>
        </p:grpSpPr>
        <p:grpSp>
          <p:nvGrpSpPr>
            <p:cNvPr id="442" name="Group 441"/>
            <p:cNvGrpSpPr/>
            <p:nvPr/>
          </p:nvGrpSpPr>
          <p:grpSpPr>
            <a:xfrm>
              <a:off x="-1219200" y="2327802"/>
              <a:ext cx="765009" cy="720201"/>
              <a:chOff x="2915229" y="1389324"/>
              <a:chExt cx="952464" cy="896676"/>
            </a:xfrm>
          </p:grpSpPr>
          <p:sp>
            <p:nvSpPr>
              <p:cNvPr id="444" name="Oval 443"/>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b="1" dirty="0">
                  <a:solidFill>
                    <a:prstClr val="white"/>
                  </a:solidFill>
                </a:endParaRPr>
              </a:p>
            </p:txBody>
          </p:sp>
          <p:sp>
            <p:nvSpPr>
              <p:cNvPr id="445" name="Title 1"/>
              <p:cNvSpPr txBox="1">
                <a:spLocks/>
              </p:cNvSpPr>
              <p:nvPr/>
            </p:nvSpPr>
            <p:spPr>
              <a:xfrm>
                <a:off x="2915229" y="1389324"/>
                <a:ext cx="952464"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200" b="1" dirty="0" smtClean="0">
                    <a:solidFill>
                      <a:prstClr val="white"/>
                    </a:solidFill>
                    <a:ea typeface="Adobe Gothic Std B" panose="020B0800000000000000" pitchFamily="34" charset="-128"/>
                    <a:sym typeface="Wingdings" pitchFamily="2" charset="2"/>
                  </a:rPr>
                  <a:t>Harga Komoditas</a:t>
                </a:r>
                <a:endParaRPr lang="id-ID" sz="1200" b="1" dirty="0">
                  <a:solidFill>
                    <a:prstClr val="white"/>
                  </a:solidFill>
                  <a:ea typeface="Adobe Gothic Std B" panose="020B0800000000000000" pitchFamily="34" charset="-128"/>
                </a:endParaRPr>
              </a:p>
            </p:txBody>
          </p:sp>
        </p:grpSp>
        <p:cxnSp>
          <p:nvCxnSpPr>
            <p:cNvPr id="443" name="Straight Arrow Connector 442"/>
            <p:cNvCxnSpPr/>
            <p:nvPr/>
          </p:nvCxnSpPr>
          <p:spPr>
            <a:xfrm flipH="1">
              <a:off x="-859128" y="2774352"/>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grpSp>
        <p:nvGrpSpPr>
          <p:cNvPr id="446" name="Group 445"/>
          <p:cNvGrpSpPr/>
          <p:nvPr/>
        </p:nvGrpSpPr>
        <p:grpSpPr>
          <a:xfrm>
            <a:off x="207470" y="4027864"/>
            <a:ext cx="691164" cy="699164"/>
            <a:chOff x="-1219200" y="2274134"/>
            <a:chExt cx="765009" cy="773864"/>
          </a:xfrm>
        </p:grpSpPr>
        <p:grpSp>
          <p:nvGrpSpPr>
            <p:cNvPr id="447" name="Group 446"/>
            <p:cNvGrpSpPr/>
            <p:nvPr/>
          </p:nvGrpSpPr>
          <p:grpSpPr>
            <a:xfrm>
              <a:off x="-1219200" y="2274134"/>
              <a:ext cx="765009" cy="773864"/>
              <a:chOff x="2915229" y="1322510"/>
              <a:chExt cx="952464" cy="963490"/>
            </a:xfrm>
          </p:grpSpPr>
          <p:sp>
            <p:nvSpPr>
              <p:cNvPr id="449" name="Oval 448"/>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b="1" dirty="0">
                  <a:solidFill>
                    <a:prstClr val="white"/>
                  </a:solidFill>
                </a:endParaRPr>
              </a:p>
            </p:txBody>
          </p:sp>
          <p:sp>
            <p:nvSpPr>
              <p:cNvPr id="450" name="Title 1"/>
              <p:cNvSpPr txBox="1">
                <a:spLocks/>
              </p:cNvSpPr>
              <p:nvPr/>
            </p:nvSpPr>
            <p:spPr>
              <a:xfrm>
                <a:off x="2915229" y="1322510"/>
                <a:ext cx="952464" cy="729525"/>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400" b="1" dirty="0" smtClean="0">
                    <a:solidFill>
                      <a:prstClr val="white"/>
                    </a:solidFill>
                    <a:ea typeface="Adobe Gothic Std B" panose="020B0800000000000000" pitchFamily="34" charset="-128"/>
                    <a:sym typeface="Wingdings" pitchFamily="2" charset="2"/>
                  </a:rPr>
                  <a:t>PBD Tiongkok</a:t>
                </a:r>
                <a:endParaRPr lang="id-ID" sz="1400" b="1" dirty="0">
                  <a:solidFill>
                    <a:prstClr val="white"/>
                  </a:solidFill>
                  <a:ea typeface="Adobe Gothic Std B" panose="020B0800000000000000" pitchFamily="34" charset="-128"/>
                </a:endParaRPr>
              </a:p>
            </p:txBody>
          </p:sp>
        </p:grpSp>
        <p:cxnSp>
          <p:nvCxnSpPr>
            <p:cNvPr id="448" name="Straight Arrow Connector 447"/>
            <p:cNvCxnSpPr/>
            <p:nvPr/>
          </p:nvCxnSpPr>
          <p:spPr>
            <a:xfrm flipH="1">
              <a:off x="-859128" y="2722001"/>
              <a:ext cx="1" cy="247169"/>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56" name="Freeform 455"/>
          <p:cNvSpPr/>
          <p:nvPr/>
        </p:nvSpPr>
        <p:spPr>
          <a:xfrm rot="360000">
            <a:off x="731239" y="5387461"/>
            <a:ext cx="3046841" cy="114859"/>
          </a:xfrm>
          <a:custGeom>
            <a:avLst/>
            <a:gdLst>
              <a:gd name="connsiteX0" fmla="*/ 0 w 1459793"/>
              <a:gd name="connsiteY0" fmla="*/ 113355 h 680114"/>
              <a:gd name="connsiteX1" fmla="*/ 113355 w 1459793"/>
              <a:gd name="connsiteY1" fmla="*/ 0 h 680114"/>
              <a:gd name="connsiteX2" fmla="*/ 1346438 w 1459793"/>
              <a:gd name="connsiteY2" fmla="*/ 0 h 680114"/>
              <a:gd name="connsiteX3" fmla="*/ 1459793 w 1459793"/>
              <a:gd name="connsiteY3" fmla="*/ 113355 h 680114"/>
              <a:gd name="connsiteX4" fmla="*/ 1459793 w 1459793"/>
              <a:gd name="connsiteY4" fmla="*/ 566759 h 680114"/>
              <a:gd name="connsiteX5" fmla="*/ 1346438 w 1459793"/>
              <a:gd name="connsiteY5" fmla="*/ 680114 h 680114"/>
              <a:gd name="connsiteX6" fmla="*/ 113355 w 1459793"/>
              <a:gd name="connsiteY6" fmla="*/ 680114 h 680114"/>
              <a:gd name="connsiteX7" fmla="*/ 0 w 1459793"/>
              <a:gd name="connsiteY7" fmla="*/ 566759 h 680114"/>
              <a:gd name="connsiteX8" fmla="*/ 0 w 1459793"/>
              <a:gd name="connsiteY8" fmla="*/ 113355 h 68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793" h="680114">
                <a:moveTo>
                  <a:pt x="0" y="113355"/>
                </a:moveTo>
                <a:cubicBezTo>
                  <a:pt x="0" y="50751"/>
                  <a:pt x="50751" y="0"/>
                  <a:pt x="113355" y="0"/>
                </a:cubicBezTo>
                <a:lnTo>
                  <a:pt x="1346438" y="0"/>
                </a:lnTo>
                <a:cubicBezTo>
                  <a:pt x="1409042" y="0"/>
                  <a:pt x="1459793" y="50751"/>
                  <a:pt x="1459793" y="113355"/>
                </a:cubicBezTo>
                <a:lnTo>
                  <a:pt x="1459793" y="566759"/>
                </a:lnTo>
                <a:cubicBezTo>
                  <a:pt x="1459793" y="629363"/>
                  <a:pt x="1409042" y="680114"/>
                  <a:pt x="1346438" y="680114"/>
                </a:cubicBezTo>
                <a:lnTo>
                  <a:pt x="113355" y="680114"/>
                </a:lnTo>
                <a:cubicBezTo>
                  <a:pt x="50751" y="680114"/>
                  <a:pt x="0" y="629363"/>
                  <a:pt x="0" y="566759"/>
                </a:cubicBezTo>
                <a:lnTo>
                  <a:pt x="0" y="113355"/>
                </a:lnTo>
                <a:close/>
              </a:path>
            </a:pathLst>
          </a:custGeom>
          <a:scene3d>
            <a:camera prst="orthographicFront"/>
            <a:lightRig rig="threePt" dir="t">
              <a:rot lat="0" lon="0" rev="7500000"/>
            </a:lightRig>
          </a:scene3d>
          <a:sp3d prstMaterial="plastic">
            <a:bevelT w="127000" h="25400" prst="relaxedInset"/>
          </a:sp3d>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139879" tIns="139879" rIns="139880" bIns="139880" numCol="1" spcCol="1270" anchor="ctr" anchorCtr="0">
            <a:noAutofit/>
          </a:bodyPr>
          <a:lstStyle/>
          <a:p>
            <a:pPr algn="ctr" defTabSz="1244600">
              <a:lnSpc>
                <a:spcPct val="90000"/>
              </a:lnSpc>
              <a:spcBef>
                <a:spcPct val="0"/>
              </a:spcBef>
              <a:spcAft>
                <a:spcPct val="35000"/>
              </a:spcAft>
            </a:pPr>
            <a:endParaRPr lang="id-ID" sz="2800" dirty="0">
              <a:solidFill>
                <a:prstClr val="black">
                  <a:hueOff val="0"/>
                  <a:satOff val="0"/>
                  <a:lumOff val="0"/>
                  <a:alphaOff val="0"/>
                </a:prstClr>
              </a:solidFill>
            </a:endParaRPr>
          </a:p>
        </p:txBody>
      </p:sp>
      <p:sp>
        <p:nvSpPr>
          <p:cNvPr id="457" name="Freeform 456"/>
          <p:cNvSpPr/>
          <p:nvPr/>
        </p:nvSpPr>
        <p:spPr>
          <a:xfrm>
            <a:off x="2172043" y="5342411"/>
            <a:ext cx="219059" cy="219059"/>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sp>
        <p:nvSpPr>
          <p:cNvPr id="458" name="Rounded Rectangle 457"/>
          <p:cNvSpPr/>
          <p:nvPr/>
        </p:nvSpPr>
        <p:spPr>
          <a:xfrm>
            <a:off x="396766" y="5883594"/>
            <a:ext cx="3805166" cy="226031"/>
          </a:xfrm>
          <a:prstGeom prst="roundRect">
            <a:avLst>
              <a:gd name="adj" fmla="val 19342"/>
            </a:avLst>
          </a:pr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grpSp>
        <p:nvGrpSpPr>
          <p:cNvPr id="459" name="Group 458"/>
          <p:cNvGrpSpPr/>
          <p:nvPr/>
        </p:nvGrpSpPr>
        <p:grpSpPr>
          <a:xfrm>
            <a:off x="-18445" y="5840404"/>
            <a:ext cx="4406513" cy="292388"/>
            <a:chOff x="-110411" y="3241193"/>
            <a:chExt cx="4406513" cy="292388"/>
          </a:xfrm>
        </p:grpSpPr>
        <p:sp>
          <p:nvSpPr>
            <p:cNvPr id="460" name="TextBox 459"/>
            <p:cNvSpPr txBox="1"/>
            <p:nvPr/>
          </p:nvSpPr>
          <p:spPr>
            <a:xfrm>
              <a:off x="-110411" y="3241193"/>
              <a:ext cx="2015411" cy="292388"/>
            </a:xfrm>
            <a:prstGeom prst="rect">
              <a:avLst/>
            </a:prstGeom>
            <a:noFill/>
          </p:spPr>
          <p:txBody>
            <a:bodyPr wrap="square" rtlCol="0">
              <a:spAutoFit/>
            </a:bodyPr>
            <a:lstStyle/>
            <a:p>
              <a:pPr algn="ctr"/>
              <a:r>
                <a:rPr lang="id-ID" sz="1300" b="1" i="1" dirty="0">
                  <a:solidFill>
                    <a:prstClr val="white"/>
                  </a:solidFill>
                </a:rPr>
                <a:t>Upside risks</a:t>
              </a:r>
            </a:p>
          </p:txBody>
        </p:sp>
        <p:sp>
          <p:nvSpPr>
            <p:cNvPr id="461" name="TextBox 460"/>
            <p:cNvSpPr txBox="1"/>
            <p:nvPr/>
          </p:nvSpPr>
          <p:spPr>
            <a:xfrm>
              <a:off x="2669077" y="3241193"/>
              <a:ext cx="1627025" cy="292388"/>
            </a:xfrm>
            <a:prstGeom prst="rect">
              <a:avLst/>
            </a:prstGeom>
            <a:noFill/>
          </p:spPr>
          <p:txBody>
            <a:bodyPr wrap="square" rtlCol="0">
              <a:spAutoFit/>
            </a:bodyPr>
            <a:lstStyle/>
            <a:p>
              <a:pPr algn="ctr"/>
              <a:r>
                <a:rPr lang="id-ID" sz="1300" b="1" i="1" dirty="0">
                  <a:solidFill>
                    <a:prstClr val="white"/>
                  </a:solidFill>
                </a:rPr>
                <a:t>Downside Risks</a:t>
              </a:r>
            </a:p>
          </p:txBody>
        </p:sp>
      </p:grpSp>
      <p:sp>
        <p:nvSpPr>
          <p:cNvPr id="462" name="Oval 461"/>
          <p:cNvSpPr/>
          <p:nvPr/>
        </p:nvSpPr>
        <p:spPr>
          <a:xfrm>
            <a:off x="7505116" y="4334594"/>
            <a:ext cx="1303452" cy="362364"/>
          </a:xfrm>
          <a:prstGeom prst="ellipse">
            <a:avLst/>
          </a:prstGeom>
          <a:solidFill>
            <a:schemeClr val="accent3">
              <a:lumMod val="20000"/>
              <a:lumOff val="80000"/>
              <a:alpha val="40000"/>
            </a:schemeClr>
          </a:solidFill>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sp>
        <p:nvSpPr>
          <p:cNvPr id="468" name="Shape 467"/>
          <p:cNvSpPr/>
          <p:nvPr/>
        </p:nvSpPr>
        <p:spPr>
          <a:xfrm>
            <a:off x="7420488" y="4304219"/>
            <a:ext cx="1414598" cy="905910"/>
          </a:xfrm>
          <a:prstGeom prst="funnel">
            <a:avLst/>
          </a:prstGeom>
          <a:solidFill>
            <a:schemeClr val="accent3">
              <a:lumMod val="20000"/>
              <a:lumOff val="80000"/>
              <a:alpha val="40000"/>
            </a:schemeClr>
          </a:solidFill>
          <a:ln>
            <a:solidFill>
              <a:srgbClr val="00B050"/>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469" name="Oval 468"/>
          <p:cNvSpPr/>
          <p:nvPr/>
        </p:nvSpPr>
        <p:spPr>
          <a:xfrm>
            <a:off x="4870480" y="4681432"/>
            <a:ext cx="1303452" cy="362364"/>
          </a:xfrm>
          <a:prstGeom prst="ellipse">
            <a:avLst/>
          </a:prstGeom>
          <a:scene3d>
            <a:camera prst="orthographicFront"/>
            <a:lightRig rig="flat" dir="t"/>
          </a:scene3d>
          <a:sp3d z="-190500" extrusionH="12700" prstMaterial="matte"/>
        </p:spPr>
        <p:style>
          <a:lnRef idx="0">
            <a:schemeClr val="accent2">
              <a:hueOff val="0"/>
              <a:satOff val="0"/>
              <a:lumOff val="0"/>
              <a:alphaOff val="0"/>
            </a:schemeClr>
          </a:lnRef>
          <a:fillRef idx="1">
            <a:schemeClr val="accent2">
              <a:tint val="50000"/>
              <a:alpha val="40000"/>
              <a:hueOff val="0"/>
              <a:satOff val="0"/>
              <a:lumOff val="0"/>
              <a:alphaOff val="0"/>
            </a:schemeClr>
          </a:fillRef>
          <a:effectRef idx="0">
            <a:schemeClr val="accent2">
              <a:tint val="50000"/>
              <a:alpha val="40000"/>
              <a:hueOff val="0"/>
              <a:satOff val="0"/>
              <a:lumOff val="0"/>
              <a:alphaOff val="0"/>
            </a:schemeClr>
          </a:effectRef>
          <a:fontRef idx="minor">
            <a:schemeClr val="lt1">
              <a:hueOff val="0"/>
              <a:satOff val="0"/>
              <a:lumOff val="0"/>
              <a:alphaOff val="0"/>
            </a:schemeClr>
          </a:fontRef>
        </p:style>
      </p:sp>
      <p:grpSp>
        <p:nvGrpSpPr>
          <p:cNvPr id="470" name="Group 469"/>
          <p:cNvGrpSpPr/>
          <p:nvPr/>
        </p:nvGrpSpPr>
        <p:grpSpPr>
          <a:xfrm>
            <a:off x="5136553" y="4800600"/>
            <a:ext cx="765009" cy="685079"/>
            <a:chOff x="-1219200" y="2362920"/>
            <a:chExt cx="765009" cy="685079"/>
          </a:xfrm>
        </p:grpSpPr>
        <p:grpSp>
          <p:nvGrpSpPr>
            <p:cNvPr id="471" name="Group 470"/>
            <p:cNvGrpSpPr/>
            <p:nvPr/>
          </p:nvGrpSpPr>
          <p:grpSpPr>
            <a:xfrm>
              <a:off x="-1219200" y="2362920"/>
              <a:ext cx="765009" cy="685079"/>
              <a:chOff x="2915229" y="1433052"/>
              <a:chExt cx="952464" cy="852948"/>
            </a:xfrm>
          </p:grpSpPr>
          <p:sp>
            <p:nvSpPr>
              <p:cNvPr id="473" name="Oval 472"/>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474" name="Title 1"/>
              <p:cNvSpPr txBox="1">
                <a:spLocks/>
              </p:cNvSpPr>
              <p:nvPr/>
            </p:nvSpPr>
            <p:spPr>
              <a:xfrm>
                <a:off x="2915229" y="1461606"/>
                <a:ext cx="952464"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0"/>
                  </a:spcBef>
                </a:pPr>
                <a:r>
                  <a:rPr lang="id-ID" sz="1600" b="1" dirty="0" smtClean="0">
                    <a:solidFill>
                      <a:prstClr val="white"/>
                    </a:solidFill>
                    <a:ea typeface="Adobe Gothic Std B" panose="020B0800000000000000" pitchFamily="34" charset="-128"/>
                    <a:sym typeface="Wingdings" pitchFamily="2" charset="2"/>
                  </a:rPr>
                  <a:t>Fed’s Norm.</a:t>
                </a:r>
                <a:endParaRPr lang="id-ID" sz="1600" b="1" dirty="0">
                  <a:solidFill>
                    <a:prstClr val="white"/>
                  </a:solidFill>
                  <a:ea typeface="Adobe Gothic Std B" panose="020B0800000000000000" pitchFamily="34" charset="-128"/>
                </a:endParaRPr>
              </a:p>
            </p:txBody>
          </p:sp>
        </p:grpSp>
        <p:cxnSp>
          <p:nvCxnSpPr>
            <p:cNvPr id="472" name="Straight Arrow Connector 471"/>
            <p:cNvCxnSpPr/>
            <p:nvPr/>
          </p:nvCxnSpPr>
          <p:spPr>
            <a:xfrm flipH="1" flipV="1">
              <a:off x="-831458" y="2792401"/>
              <a:ext cx="2" cy="234586"/>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75" name="Freeform 474"/>
          <p:cNvSpPr/>
          <p:nvPr/>
        </p:nvSpPr>
        <p:spPr>
          <a:xfrm>
            <a:off x="5071916" y="5688037"/>
            <a:ext cx="970617" cy="242655"/>
          </a:xfrm>
          <a:custGeom>
            <a:avLst/>
            <a:gdLst>
              <a:gd name="connsiteX0" fmla="*/ 0 w 3048000"/>
              <a:gd name="connsiteY0" fmla="*/ 0 h 762000"/>
              <a:gd name="connsiteX1" fmla="*/ 3048000 w 3048000"/>
              <a:gd name="connsiteY1" fmla="*/ 0 h 762000"/>
              <a:gd name="connsiteX2" fmla="*/ 3048000 w 3048000"/>
              <a:gd name="connsiteY2" fmla="*/ 762000 h 762000"/>
              <a:gd name="connsiteX3" fmla="*/ 0 w 3048000"/>
              <a:gd name="connsiteY3" fmla="*/ 762000 h 762000"/>
              <a:gd name="connsiteX4" fmla="*/ 0 w 3048000"/>
              <a:gd name="connsiteY4" fmla="*/ 0 h 76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762000">
                <a:moveTo>
                  <a:pt x="0" y="0"/>
                </a:moveTo>
                <a:lnTo>
                  <a:pt x="3048000" y="0"/>
                </a:lnTo>
                <a:lnTo>
                  <a:pt x="3048000" y="762000"/>
                </a:lnTo>
                <a:lnTo>
                  <a:pt x="0" y="762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92024" tIns="192024" rIns="192024" bIns="192024" numCol="1" spcCol="1270" anchor="ctr" anchorCtr="0">
            <a:noAutofit/>
          </a:bodyPr>
          <a:lstStyle/>
          <a:p>
            <a:pPr algn="ctr" defTabSz="1200150">
              <a:lnSpc>
                <a:spcPct val="90000"/>
              </a:lnSpc>
              <a:spcBef>
                <a:spcPct val="0"/>
              </a:spcBef>
              <a:spcAft>
                <a:spcPct val="35000"/>
              </a:spcAft>
            </a:pPr>
            <a:endParaRPr lang="id-ID" sz="2700" dirty="0">
              <a:solidFill>
                <a:prstClr val="black">
                  <a:hueOff val="0"/>
                  <a:satOff val="0"/>
                  <a:lumOff val="0"/>
                  <a:alphaOff val="0"/>
                </a:prstClr>
              </a:solidFill>
            </a:endParaRPr>
          </a:p>
        </p:txBody>
      </p:sp>
      <p:sp>
        <p:nvSpPr>
          <p:cNvPr id="476" name="Shape 475"/>
          <p:cNvSpPr/>
          <p:nvPr/>
        </p:nvSpPr>
        <p:spPr>
          <a:xfrm>
            <a:off x="4816366" y="4651057"/>
            <a:ext cx="1414598" cy="905910"/>
          </a:xfrm>
          <a:prstGeom prst="funnel">
            <a:avLst/>
          </a:prstGeom>
          <a:solidFill>
            <a:schemeClr val="accent6">
              <a:lumMod val="40000"/>
              <a:lumOff val="60000"/>
              <a:alpha val="40000"/>
            </a:schemeClr>
          </a:solidFill>
          <a:ln>
            <a:solidFill>
              <a:schemeClr val="accent6"/>
            </a:solidFill>
          </a:ln>
          <a:scene3d>
            <a:camera prst="orthographicFront"/>
            <a:lightRig rig="flat" dir="t"/>
          </a:scene3d>
          <a:sp3d extrusionH="12700" prstMaterial="plastic">
            <a:bevelT w="50800" h="50800"/>
          </a:sp3d>
        </p:spPr>
        <p:style>
          <a:lnRef idx="1">
            <a:schemeClr val="accent2">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grpSp>
        <p:nvGrpSpPr>
          <p:cNvPr id="477" name="Group 476"/>
          <p:cNvGrpSpPr/>
          <p:nvPr/>
        </p:nvGrpSpPr>
        <p:grpSpPr>
          <a:xfrm>
            <a:off x="6355223" y="5060770"/>
            <a:ext cx="1121665" cy="945278"/>
            <a:chOff x="2909240" y="2712374"/>
            <a:chExt cx="970440" cy="594060"/>
          </a:xfrm>
          <a:solidFill>
            <a:schemeClr val="bg1">
              <a:lumMod val="75000"/>
            </a:schemeClr>
          </a:solidFill>
        </p:grpSpPr>
        <p:sp>
          <p:nvSpPr>
            <p:cNvPr id="478" name="Rectangle 477"/>
            <p:cNvSpPr/>
            <p:nvPr/>
          </p:nvSpPr>
          <p:spPr>
            <a:xfrm>
              <a:off x="3181438" y="2800012"/>
              <a:ext cx="395707" cy="506422"/>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sp>
          <p:nvSpPr>
            <p:cNvPr id="479" name="Rectangle 478"/>
            <p:cNvSpPr/>
            <p:nvPr/>
          </p:nvSpPr>
          <p:spPr>
            <a:xfrm>
              <a:off x="2909240" y="2712374"/>
              <a:ext cx="970440" cy="102265"/>
            </a:xfrm>
            <a:prstGeom prst="rect">
              <a:avLst/>
            </a:prstGeom>
            <a:grp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solidFill>
                  <a:prstClr val="white"/>
                </a:solidFill>
              </a:endParaRPr>
            </a:p>
          </p:txBody>
        </p:sp>
      </p:grpSp>
      <p:grpSp>
        <p:nvGrpSpPr>
          <p:cNvPr id="480" name="Group 479"/>
          <p:cNvGrpSpPr/>
          <p:nvPr/>
        </p:nvGrpSpPr>
        <p:grpSpPr>
          <a:xfrm>
            <a:off x="5483090" y="4229404"/>
            <a:ext cx="841510" cy="752721"/>
            <a:chOff x="-1262685" y="2295275"/>
            <a:chExt cx="841510" cy="752721"/>
          </a:xfrm>
        </p:grpSpPr>
        <p:grpSp>
          <p:nvGrpSpPr>
            <p:cNvPr id="481" name="Group 480"/>
            <p:cNvGrpSpPr/>
            <p:nvPr/>
          </p:nvGrpSpPr>
          <p:grpSpPr>
            <a:xfrm>
              <a:off x="-1262685" y="2295275"/>
              <a:ext cx="841510" cy="752721"/>
              <a:chOff x="2861090" y="1348834"/>
              <a:chExt cx="1047711" cy="937166"/>
            </a:xfrm>
          </p:grpSpPr>
          <p:sp>
            <p:nvSpPr>
              <p:cNvPr id="483" name="Oval 482"/>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484" name="Title 1"/>
              <p:cNvSpPr txBox="1">
                <a:spLocks/>
              </p:cNvSpPr>
              <p:nvPr/>
            </p:nvSpPr>
            <p:spPr>
              <a:xfrm>
                <a:off x="2861090" y="1348834"/>
                <a:ext cx="1047711" cy="729522"/>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400" b="1" dirty="0" smtClean="0">
                    <a:solidFill>
                      <a:prstClr val="white"/>
                    </a:solidFill>
                    <a:ea typeface="Adobe Gothic Std B" panose="020B0800000000000000" pitchFamily="34" charset="-128"/>
                    <a:sym typeface="Wingdings" pitchFamily="2" charset="2"/>
                  </a:rPr>
                  <a:t>NR ownership </a:t>
                </a:r>
                <a:endParaRPr lang="id-ID" sz="1400" b="1" dirty="0">
                  <a:solidFill>
                    <a:prstClr val="white"/>
                  </a:solidFill>
                  <a:ea typeface="Adobe Gothic Std B" panose="020B0800000000000000" pitchFamily="34" charset="-128"/>
                </a:endParaRPr>
              </a:p>
            </p:txBody>
          </p:sp>
        </p:grpSp>
        <p:cxnSp>
          <p:nvCxnSpPr>
            <p:cNvPr id="482" name="Straight Arrow Connector 481"/>
            <p:cNvCxnSpPr/>
            <p:nvPr/>
          </p:nvCxnSpPr>
          <p:spPr>
            <a:xfrm flipH="1" flipV="1">
              <a:off x="-827595" y="2721551"/>
              <a:ext cx="1" cy="241388"/>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grpSp>
        <p:nvGrpSpPr>
          <p:cNvPr id="485" name="Group 484"/>
          <p:cNvGrpSpPr/>
          <p:nvPr/>
        </p:nvGrpSpPr>
        <p:grpSpPr>
          <a:xfrm>
            <a:off x="4787085" y="4229403"/>
            <a:ext cx="765009" cy="727174"/>
            <a:chOff x="-1219200" y="2320827"/>
            <a:chExt cx="765009" cy="727174"/>
          </a:xfrm>
        </p:grpSpPr>
        <p:grpSp>
          <p:nvGrpSpPr>
            <p:cNvPr id="486" name="Group 485"/>
            <p:cNvGrpSpPr/>
            <p:nvPr/>
          </p:nvGrpSpPr>
          <p:grpSpPr>
            <a:xfrm>
              <a:off x="-1219200" y="2320827"/>
              <a:ext cx="765009" cy="727174"/>
              <a:chOff x="2915229" y="1380642"/>
              <a:chExt cx="952464" cy="905358"/>
            </a:xfrm>
          </p:grpSpPr>
          <p:sp>
            <p:nvSpPr>
              <p:cNvPr id="488" name="Oval 487"/>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489" name="Title 1"/>
              <p:cNvSpPr txBox="1">
                <a:spLocks/>
              </p:cNvSpPr>
              <p:nvPr/>
            </p:nvSpPr>
            <p:spPr>
              <a:xfrm>
                <a:off x="2915229" y="1380642"/>
                <a:ext cx="952464"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600" b="1" dirty="0" smtClean="0">
                    <a:solidFill>
                      <a:prstClr val="white"/>
                    </a:solidFill>
                    <a:ea typeface="Adobe Gothic Std B" panose="020B0800000000000000" pitchFamily="34" charset="-128"/>
                    <a:sym typeface="Wingdings" pitchFamily="2" charset="2"/>
                  </a:rPr>
                  <a:t>RAR (-)</a:t>
                </a:r>
                <a:endParaRPr lang="id-ID" sz="1600" b="1" dirty="0">
                  <a:solidFill>
                    <a:prstClr val="white"/>
                  </a:solidFill>
                  <a:ea typeface="Adobe Gothic Std B" panose="020B0800000000000000" pitchFamily="34" charset="-128"/>
                </a:endParaRPr>
              </a:p>
            </p:txBody>
          </p:sp>
        </p:grpSp>
        <p:cxnSp>
          <p:nvCxnSpPr>
            <p:cNvPr id="487" name="Straight Arrow Connector 486"/>
            <p:cNvCxnSpPr/>
            <p:nvPr/>
          </p:nvCxnSpPr>
          <p:spPr>
            <a:xfrm flipH="1">
              <a:off x="-843360" y="2752760"/>
              <a:ext cx="1" cy="224308"/>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490" name="Freeform 489"/>
          <p:cNvSpPr/>
          <p:nvPr/>
        </p:nvSpPr>
        <p:spPr>
          <a:xfrm rot="21180000">
            <a:off x="5359559" y="5334609"/>
            <a:ext cx="3046841" cy="114859"/>
          </a:xfrm>
          <a:custGeom>
            <a:avLst/>
            <a:gdLst>
              <a:gd name="connsiteX0" fmla="*/ 0 w 1459793"/>
              <a:gd name="connsiteY0" fmla="*/ 113355 h 680114"/>
              <a:gd name="connsiteX1" fmla="*/ 113355 w 1459793"/>
              <a:gd name="connsiteY1" fmla="*/ 0 h 680114"/>
              <a:gd name="connsiteX2" fmla="*/ 1346438 w 1459793"/>
              <a:gd name="connsiteY2" fmla="*/ 0 h 680114"/>
              <a:gd name="connsiteX3" fmla="*/ 1459793 w 1459793"/>
              <a:gd name="connsiteY3" fmla="*/ 113355 h 680114"/>
              <a:gd name="connsiteX4" fmla="*/ 1459793 w 1459793"/>
              <a:gd name="connsiteY4" fmla="*/ 566759 h 680114"/>
              <a:gd name="connsiteX5" fmla="*/ 1346438 w 1459793"/>
              <a:gd name="connsiteY5" fmla="*/ 680114 h 680114"/>
              <a:gd name="connsiteX6" fmla="*/ 113355 w 1459793"/>
              <a:gd name="connsiteY6" fmla="*/ 680114 h 680114"/>
              <a:gd name="connsiteX7" fmla="*/ 0 w 1459793"/>
              <a:gd name="connsiteY7" fmla="*/ 566759 h 680114"/>
              <a:gd name="connsiteX8" fmla="*/ 0 w 1459793"/>
              <a:gd name="connsiteY8" fmla="*/ 113355 h 68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9793" h="680114">
                <a:moveTo>
                  <a:pt x="0" y="113355"/>
                </a:moveTo>
                <a:cubicBezTo>
                  <a:pt x="0" y="50751"/>
                  <a:pt x="50751" y="0"/>
                  <a:pt x="113355" y="0"/>
                </a:cubicBezTo>
                <a:lnTo>
                  <a:pt x="1346438" y="0"/>
                </a:lnTo>
                <a:cubicBezTo>
                  <a:pt x="1409042" y="0"/>
                  <a:pt x="1459793" y="50751"/>
                  <a:pt x="1459793" y="113355"/>
                </a:cubicBezTo>
                <a:lnTo>
                  <a:pt x="1459793" y="566759"/>
                </a:lnTo>
                <a:cubicBezTo>
                  <a:pt x="1459793" y="629363"/>
                  <a:pt x="1409042" y="680114"/>
                  <a:pt x="1346438" y="680114"/>
                </a:cubicBezTo>
                <a:lnTo>
                  <a:pt x="113355" y="680114"/>
                </a:lnTo>
                <a:cubicBezTo>
                  <a:pt x="50751" y="680114"/>
                  <a:pt x="0" y="629363"/>
                  <a:pt x="0" y="566759"/>
                </a:cubicBezTo>
                <a:lnTo>
                  <a:pt x="0" y="113355"/>
                </a:lnTo>
                <a:close/>
              </a:path>
            </a:pathLst>
          </a:custGeom>
          <a:scene3d>
            <a:camera prst="orthographicFront"/>
            <a:lightRig rig="threePt" dir="t">
              <a:rot lat="0" lon="0" rev="7500000"/>
            </a:lightRig>
          </a:scene3d>
          <a:sp3d prstMaterial="plastic">
            <a:bevelT w="127000" h="25400" prst="relaxedInset"/>
          </a:sp3d>
        </p:spPr>
        <p:style>
          <a:lnRef idx="0">
            <a:schemeClr val="dk1">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txBody>
          <a:bodyPr spcFirstLastPara="0" vert="horz" wrap="square" lIns="139879" tIns="139879" rIns="139880" bIns="139880" numCol="1" spcCol="1270" anchor="ctr" anchorCtr="0">
            <a:noAutofit/>
          </a:bodyPr>
          <a:lstStyle/>
          <a:p>
            <a:pPr algn="ctr" defTabSz="1244600">
              <a:lnSpc>
                <a:spcPct val="90000"/>
              </a:lnSpc>
              <a:spcBef>
                <a:spcPct val="0"/>
              </a:spcBef>
              <a:spcAft>
                <a:spcPct val="35000"/>
              </a:spcAft>
            </a:pPr>
            <a:endParaRPr lang="id-ID" sz="2800" dirty="0">
              <a:solidFill>
                <a:prstClr val="black">
                  <a:hueOff val="0"/>
                  <a:satOff val="0"/>
                  <a:lumOff val="0"/>
                  <a:alphaOff val="0"/>
                </a:prstClr>
              </a:solidFill>
            </a:endParaRPr>
          </a:p>
        </p:txBody>
      </p:sp>
      <p:sp>
        <p:nvSpPr>
          <p:cNvPr id="491" name="Freeform 490"/>
          <p:cNvSpPr/>
          <p:nvPr/>
        </p:nvSpPr>
        <p:spPr>
          <a:xfrm>
            <a:off x="6800363" y="5305325"/>
            <a:ext cx="219059" cy="219059"/>
          </a:xfrm>
          <a:custGeom>
            <a:avLst/>
            <a:gdLst>
              <a:gd name="connsiteX0" fmla="*/ 0 w 1143000"/>
              <a:gd name="connsiteY0" fmla="*/ 571500 h 1143000"/>
              <a:gd name="connsiteX1" fmla="*/ 571500 w 1143000"/>
              <a:gd name="connsiteY1" fmla="*/ 0 h 1143000"/>
              <a:gd name="connsiteX2" fmla="*/ 1143000 w 1143000"/>
              <a:gd name="connsiteY2" fmla="*/ 571500 h 1143000"/>
              <a:gd name="connsiteX3" fmla="*/ 571500 w 1143000"/>
              <a:gd name="connsiteY3" fmla="*/ 1143000 h 1143000"/>
              <a:gd name="connsiteX4" fmla="*/ 0 w 1143000"/>
              <a:gd name="connsiteY4" fmla="*/ 57150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1143000">
                <a:moveTo>
                  <a:pt x="0" y="571500"/>
                </a:moveTo>
                <a:cubicBezTo>
                  <a:pt x="0" y="255869"/>
                  <a:pt x="255869" y="0"/>
                  <a:pt x="571500" y="0"/>
                </a:cubicBezTo>
                <a:cubicBezTo>
                  <a:pt x="887131" y="0"/>
                  <a:pt x="1143000" y="255869"/>
                  <a:pt x="1143000" y="571500"/>
                </a:cubicBezTo>
                <a:cubicBezTo>
                  <a:pt x="1143000" y="887131"/>
                  <a:pt x="887131" y="1143000"/>
                  <a:pt x="571500" y="1143000"/>
                </a:cubicBezTo>
                <a:cubicBezTo>
                  <a:pt x="255869" y="1143000"/>
                  <a:pt x="0" y="887131"/>
                  <a:pt x="0" y="571500"/>
                </a:cubicBezTo>
                <a:close/>
              </a:path>
            </a:pathLst>
          </a:cu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sp>
        <p:nvSpPr>
          <p:cNvPr id="492" name="Rounded Rectangle 491"/>
          <p:cNvSpPr/>
          <p:nvPr/>
        </p:nvSpPr>
        <p:spPr>
          <a:xfrm>
            <a:off x="5025086" y="5878040"/>
            <a:ext cx="3805166" cy="226031"/>
          </a:xfrm>
          <a:prstGeom prst="roundRect">
            <a:avLst>
              <a:gd name="adj" fmla="val 19342"/>
            </a:avLst>
          </a:prstGeom>
          <a:solidFill>
            <a:schemeClr val="tx1">
              <a:lumMod val="75000"/>
              <a:lumOff val="2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99138" tIns="199138" rIns="199138" bIns="199138" numCol="1" spcCol="1270" anchor="ctr" anchorCtr="0">
            <a:noAutofit/>
          </a:bodyPr>
          <a:lstStyle/>
          <a:p>
            <a:pPr algn="ctr" defTabSz="1111250">
              <a:lnSpc>
                <a:spcPct val="90000"/>
              </a:lnSpc>
              <a:spcBef>
                <a:spcPct val="0"/>
              </a:spcBef>
              <a:spcAft>
                <a:spcPct val="35000"/>
              </a:spcAft>
            </a:pPr>
            <a:endParaRPr lang="id-ID" sz="2500" dirty="0">
              <a:solidFill>
                <a:prstClr val="white"/>
              </a:solidFill>
            </a:endParaRPr>
          </a:p>
        </p:txBody>
      </p:sp>
      <p:grpSp>
        <p:nvGrpSpPr>
          <p:cNvPr id="493" name="Group 492"/>
          <p:cNvGrpSpPr/>
          <p:nvPr/>
        </p:nvGrpSpPr>
        <p:grpSpPr>
          <a:xfrm>
            <a:off x="4821626" y="5848280"/>
            <a:ext cx="4449122" cy="292388"/>
            <a:chOff x="4818996" y="3269670"/>
            <a:chExt cx="4449122" cy="292388"/>
          </a:xfrm>
        </p:grpSpPr>
        <p:sp>
          <p:nvSpPr>
            <p:cNvPr id="494" name="TextBox 493"/>
            <p:cNvSpPr txBox="1"/>
            <p:nvPr/>
          </p:nvSpPr>
          <p:spPr>
            <a:xfrm>
              <a:off x="7252707" y="3269670"/>
              <a:ext cx="2015411" cy="292388"/>
            </a:xfrm>
            <a:prstGeom prst="rect">
              <a:avLst/>
            </a:prstGeom>
            <a:noFill/>
          </p:spPr>
          <p:txBody>
            <a:bodyPr wrap="square" rtlCol="0">
              <a:spAutoFit/>
            </a:bodyPr>
            <a:lstStyle/>
            <a:p>
              <a:pPr algn="ctr"/>
              <a:r>
                <a:rPr lang="id-ID" sz="1300" b="1" i="1" dirty="0">
                  <a:solidFill>
                    <a:prstClr val="white"/>
                  </a:solidFill>
                </a:rPr>
                <a:t>Upside risks</a:t>
              </a:r>
            </a:p>
          </p:txBody>
        </p:sp>
        <p:sp>
          <p:nvSpPr>
            <p:cNvPr id="495" name="TextBox 494"/>
            <p:cNvSpPr txBox="1"/>
            <p:nvPr/>
          </p:nvSpPr>
          <p:spPr>
            <a:xfrm>
              <a:off x="4818996" y="3269670"/>
              <a:ext cx="1627025" cy="292388"/>
            </a:xfrm>
            <a:prstGeom prst="rect">
              <a:avLst/>
            </a:prstGeom>
            <a:noFill/>
          </p:spPr>
          <p:txBody>
            <a:bodyPr wrap="square" rtlCol="0">
              <a:spAutoFit/>
            </a:bodyPr>
            <a:lstStyle/>
            <a:p>
              <a:pPr algn="ctr"/>
              <a:r>
                <a:rPr lang="id-ID" sz="1300" b="1" i="1" dirty="0">
                  <a:solidFill>
                    <a:prstClr val="white"/>
                  </a:solidFill>
                </a:rPr>
                <a:t>Downside Risks</a:t>
              </a:r>
            </a:p>
          </p:txBody>
        </p:sp>
      </p:grpSp>
      <p:pic>
        <p:nvPicPr>
          <p:cNvPr id="496" name="Picture 3"/>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2933" r="1575" b="777"/>
          <a:stretch/>
        </p:blipFill>
        <p:spPr bwMode="auto">
          <a:xfrm rot="18127604">
            <a:off x="1507839" y="1904759"/>
            <a:ext cx="351127" cy="641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7" name="Picture 3"/>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2933" r="1575" b="777"/>
          <a:stretch/>
        </p:blipFill>
        <p:spPr bwMode="auto">
          <a:xfrm rot="18396356" flipH="1">
            <a:off x="6436653" y="4200023"/>
            <a:ext cx="304448" cy="560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9" name="TextBox 498"/>
          <p:cNvSpPr txBox="1"/>
          <p:nvPr/>
        </p:nvSpPr>
        <p:spPr>
          <a:xfrm>
            <a:off x="1463566" y="2941583"/>
            <a:ext cx="1447800" cy="369332"/>
          </a:xfrm>
          <a:prstGeom prst="rect">
            <a:avLst/>
          </a:prstGeom>
          <a:noFill/>
        </p:spPr>
        <p:txBody>
          <a:bodyPr wrap="square" rtlCol="0">
            <a:spAutoFit/>
          </a:bodyPr>
          <a:lstStyle/>
          <a:p>
            <a:pPr algn="ctr"/>
            <a:r>
              <a:rPr lang="id-ID" b="1" dirty="0">
                <a:solidFill>
                  <a:prstClr val="black"/>
                </a:solidFill>
              </a:rPr>
              <a:t>4.85%</a:t>
            </a:r>
          </a:p>
        </p:txBody>
      </p:sp>
      <p:grpSp>
        <p:nvGrpSpPr>
          <p:cNvPr id="500" name="Group 499"/>
          <p:cNvGrpSpPr/>
          <p:nvPr/>
        </p:nvGrpSpPr>
        <p:grpSpPr>
          <a:xfrm>
            <a:off x="454195" y="1234670"/>
            <a:ext cx="765005" cy="685078"/>
            <a:chOff x="-1253786" y="2362919"/>
            <a:chExt cx="765005" cy="685078"/>
          </a:xfrm>
        </p:grpSpPr>
        <p:grpSp>
          <p:nvGrpSpPr>
            <p:cNvPr id="501" name="Group 500"/>
            <p:cNvGrpSpPr/>
            <p:nvPr/>
          </p:nvGrpSpPr>
          <p:grpSpPr>
            <a:xfrm>
              <a:off x="-1253786" y="2362919"/>
              <a:ext cx="765005" cy="685078"/>
              <a:chOff x="2872182" y="1433052"/>
              <a:chExt cx="952462" cy="852948"/>
            </a:xfrm>
          </p:grpSpPr>
          <p:sp>
            <p:nvSpPr>
              <p:cNvPr id="503" name="Oval 502"/>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b="1" dirty="0">
                  <a:solidFill>
                    <a:prstClr val="white"/>
                  </a:solidFill>
                </a:endParaRPr>
              </a:p>
            </p:txBody>
          </p:sp>
          <p:sp>
            <p:nvSpPr>
              <p:cNvPr id="504" name="Title 1"/>
              <p:cNvSpPr txBox="1">
                <a:spLocks/>
              </p:cNvSpPr>
              <p:nvPr/>
            </p:nvSpPr>
            <p:spPr>
              <a:xfrm>
                <a:off x="2872182" y="1445252"/>
                <a:ext cx="952462" cy="729524"/>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0"/>
                  </a:spcBef>
                </a:pPr>
                <a:r>
                  <a:rPr lang="id-ID" sz="1600" b="1" dirty="0" smtClean="0">
                    <a:solidFill>
                      <a:prstClr val="white"/>
                    </a:solidFill>
                    <a:ea typeface="Adobe Gothic Std B" panose="020B0800000000000000" pitchFamily="34" charset="-128"/>
                    <a:sym typeface="Wingdings" pitchFamily="2" charset="2"/>
                  </a:rPr>
                  <a:t>El Nino</a:t>
                </a:r>
                <a:endParaRPr lang="id-ID" sz="1600" b="1" dirty="0">
                  <a:solidFill>
                    <a:prstClr val="white"/>
                  </a:solidFill>
                  <a:ea typeface="Adobe Gothic Std B" panose="020B0800000000000000" pitchFamily="34" charset="-128"/>
                </a:endParaRPr>
              </a:p>
            </p:txBody>
          </p:sp>
        </p:grpSp>
        <p:cxnSp>
          <p:nvCxnSpPr>
            <p:cNvPr id="502" name="Straight Arrow Connector 501"/>
            <p:cNvCxnSpPr/>
            <p:nvPr/>
          </p:nvCxnSpPr>
          <p:spPr>
            <a:xfrm flipV="1">
              <a:off x="-859126" y="2751107"/>
              <a:ext cx="9512" cy="239571"/>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506" name="TextBox 505"/>
          <p:cNvSpPr txBox="1"/>
          <p:nvPr/>
        </p:nvSpPr>
        <p:spPr>
          <a:xfrm>
            <a:off x="6203732" y="2951936"/>
            <a:ext cx="1447800" cy="369332"/>
          </a:xfrm>
          <a:prstGeom prst="rect">
            <a:avLst/>
          </a:prstGeom>
          <a:noFill/>
        </p:spPr>
        <p:txBody>
          <a:bodyPr wrap="square" rtlCol="0">
            <a:spAutoFit/>
          </a:bodyPr>
          <a:lstStyle/>
          <a:p>
            <a:pPr algn="ctr"/>
            <a:r>
              <a:rPr lang="id-ID" b="1" dirty="0">
                <a:solidFill>
                  <a:prstClr val="black"/>
                </a:solidFill>
              </a:rPr>
              <a:t>4.28%</a:t>
            </a:r>
          </a:p>
        </p:txBody>
      </p:sp>
      <p:sp>
        <p:nvSpPr>
          <p:cNvPr id="508" name="TextBox 507"/>
          <p:cNvSpPr txBox="1"/>
          <p:nvPr/>
        </p:nvSpPr>
        <p:spPr>
          <a:xfrm>
            <a:off x="1555532" y="5542736"/>
            <a:ext cx="1447800" cy="369332"/>
          </a:xfrm>
          <a:prstGeom prst="rect">
            <a:avLst/>
          </a:prstGeom>
          <a:noFill/>
        </p:spPr>
        <p:txBody>
          <a:bodyPr wrap="square" rtlCol="0">
            <a:spAutoFit/>
          </a:bodyPr>
          <a:lstStyle/>
          <a:p>
            <a:pPr algn="ctr"/>
            <a:r>
              <a:rPr lang="id-ID" b="1" dirty="0">
                <a:solidFill>
                  <a:prstClr val="black"/>
                </a:solidFill>
              </a:rPr>
              <a:t>2,2%</a:t>
            </a:r>
          </a:p>
        </p:txBody>
      </p:sp>
      <p:sp>
        <p:nvSpPr>
          <p:cNvPr id="509" name="TextBox 508"/>
          <p:cNvSpPr txBox="1"/>
          <p:nvPr/>
        </p:nvSpPr>
        <p:spPr>
          <a:xfrm>
            <a:off x="6187966" y="5526970"/>
            <a:ext cx="1447800" cy="369332"/>
          </a:xfrm>
          <a:prstGeom prst="rect">
            <a:avLst/>
          </a:prstGeom>
          <a:noFill/>
        </p:spPr>
        <p:txBody>
          <a:bodyPr wrap="square" rtlCol="0">
            <a:spAutoFit/>
          </a:bodyPr>
          <a:lstStyle/>
          <a:p>
            <a:pPr algn="ctr"/>
            <a:r>
              <a:rPr lang="id-ID" b="1" dirty="0" smtClean="0">
                <a:solidFill>
                  <a:prstClr val="black"/>
                </a:solidFill>
              </a:rPr>
              <a:t>US$16,0bn </a:t>
            </a:r>
            <a:endParaRPr lang="id-ID" b="1" dirty="0">
              <a:solidFill>
                <a:prstClr val="black"/>
              </a:solidFill>
            </a:endParaRPr>
          </a:p>
        </p:txBody>
      </p:sp>
      <p:grpSp>
        <p:nvGrpSpPr>
          <p:cNvPr id="2" name="Group 1"/>
          <p:cNvGrpSpPr/>
          <p:nvPr/>
        </p:nvGrpSpPr>
        <p:grpSpPr>
          <a:xfrm>
            <a:off x="5166043" y="3751729"/>
            <a:ext cx="765009" cy="685079"/>
            <a:chOff x="5166043" y="3759622"/>
            <a:chExt cx="765009" cy="685079"/>
          </a:xfrm>
        </p:grpSpPr>
        <p:grpSp>
          <p:nvGrpSpPr>
            <p:cNvPr id="186" name="Group 185"/>
            <p:cNvGrpSpPr/>
            <p:nvPr/>
          </p:nvGrpSpPr>
          <p:grpSpPr>
            <a:xfrm>
              <a:off x="5166043" y="3759622"/>
              <a:ext cx="765009" cy="685079"/>
              <a:chOff x="2899607" y="1433052"/>
              <a:chExt cx="952464" cy="852948"/>
            </a:xfrm>
          </p:grpSpPr>
          <p:sp>
            <p:nvSpPr>
              <p:cNvPr id="199" name="Oval 198"/>
              <p:cNvSpPr/>
              <p:nvPr/>
            </p:nvSpPr>
            <p:spPr>
              <a:xfrm>
                <a:off x="2948904" y="1433052"/>
                <a:ext cx="852947" cy="852948"/>
              </a:xfrm>
              <a:prstGeom prst="ellipse">
                <a:avLst/>
              </a:prstGeom>
              <a:solidFill>
                <a:schemeClr val="accent6">
                  <a:lumMod val="75000"/>
                </a:schemeClr>
              </a:solidFill>
              <a:ln w="73025">
                <a:noFill/>
              </a:ln>
              <a:effectLst>
                <a:outerShdw blurRad="152400" dir="5400000" sx="90000" sy="-19000" rotWithShape="0">
                  <a:prstClr val="black">
                    <a:alpha val="15000"/>
                  </a:prstClr>
                </a:outerShdw>
              </a:effectLst>
              <a:scene3d>
                <a:camera prst="orthographicFront"/>
                <a:lightRig rig="threePt" dir="t"/>
              </a:scene3d>
              <a:sp3d>
                <a:bevelT w="425450" h="425450"/>
                <a:bevelB w="425450" h="425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000" b="1" dirty="0">
                  <a:solidFill>
                    <a:prstClr val="white"/>
                  </a:solidFill>
                </a:endParaRPr>
              </a:p>
            </p:txBody>
          </p:sp>
          <p:sp>
            <p:nvSpPr>
              <p:cNvPr id="200" name="Title 1"/>
              <p:cNvSpPr txBox="1">
                <a:spLocks/>
              </p:cNvSpPr>
              <p:nvPr/>
            </p:nvSpPr>
            <p:spPr>
              <a:xfrm>
                <a:off x="2899607" y="1448716"/>
                <a:ext cx="952464" cy="729523"/>
              </a:xfrm>
              <a:prstGeom prst="rect">
                <a:avLst/>
              </a:prstGeom>
              <a:noFill/>
              <a:ln w="28575">
                <a:noFill/>
              </a:ln>
            </p:spPr>
            <p:txBody>
              <a:bodyPr vert="horz" lIns="68580" tIns="34290" rIns="68580" bIns="34290" rtlCol="0" anchor="ctr">
                <a:noAutofit/>
              </a:bodyP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a:spcBef>
                    <a:spcPts val="300"/>
                  </a:spcBef>
                  <a:spcAft>
                    <a:spcPts val="300"/>
                  </a:spcAft>
                </a:pPr>
                <a:r>
                  <a:rPr lang="id-ID" sz="1400" b="1" dirty="0" smtClean="0">
                    <a:solidFill>
                      <a:prstClr val="white"/>
                    </a:solidFill>
                    <a:ea typeface="Adobe Gothic Std B" panose="020B0800000000000000" pitchFamily="34" charset="-128"/>
                    <a:sym typeface="Wingdings" pitchFamily="2" charset="2"/>
                  </a:rPr>
                  <a:t>Devaluasi Yuan</a:t>
                </a:r>
                <a:endParaRPr lang="id-ID" sz="1400" b="1" dirty="0">
                  <a:solidFill>
                    <a:prstClr val="white"/>
                  </a:solidFill>
                  <a:ea typeface="Adobe Gothic Std B" panose="020B0800000000000000" pitchFamily="34" charset="-128"/>
                </a:endParaRPr>
              </a:p>
            </p:txBody>
          </p:sp>
        </p:grpSp>
        <p:cxnSp>
          <p:nvCxnSpPr>
            <p:cNvPr id="206" name="Straight Arrow Connector 205"/>
            <p:cNvCxnSpPr/>
            <p:nvPr/>
          </p:nvCxnSpPr>
          <p:spPr>
            <a:xfrm flipH="1" flipV="1">
              <a:off x="5548952" y="4191000"/>
              <a:ext cx="1" cy="241388"/>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grpSp>
      <p:sp>
        <p:nvSpPr>
          <p:cNvPr id="211" name="TextBox 210"/>
          <p:cNvSpPr txBox="1"/>
          <p:nvPr/>
        </p:nvSpPr>
        <p:spPr>
          <a:xfrm>
            <a:off x="1585452" y="1020096"/>
            <a:ext cx="2802616" cy="461665"/>
          </a:xfrm>
          <a:prstGeom prst="rect">
            <a:avLst/>
          </a:prstGeom>
          <a:noFill/>
        </p:spPr>
        <p:txBody>
          <a:bodyPr wrap="square" rtlCol="0">
            <a:spAutoFit/>
          </a:bodyPr>
          <a:lstStyle/>
          <a:p>
            <a:pPr algn="ctr"/>
            <a:r>
              <a:rPr lang="id-ID" sz="1200" b="1" i="1" dirty="0" smtClean="0">
                <a:solidFill>
                  <a:prstClr val="white">
                    <a:lumMod val="50000"/>
                  </a:prstClr>
                </a:solidFill>
              </a:rPr>
              <a:t>Baseline: PDB 2015 masih sesuai proyeksi 4.85%</a:t>
            </a:r>
            <a:endParaRPr lang="id-ID" sz="1200" b="1" i="1" dirty="0">
              <a:solidFill>
                <a:prstClr val="white">
                  <a:lumMod val="50000"/>
                </a:prstClr>
              </a:solidFill>
            </a:endParaRPr>
          </a:p>
        </p:txBody>
      </p:sp>
      <p:sp>
        <p:nvSpPr>
          <p:cNvPr id="212" name="TextBox 211"/>
          <p:cNvSpPr txBox="1"/>
          <p:nvPr/>
        </p:nvSpPr>
        <p:spPr>
          <a:xfrm>
            <a:off x="6271717" y="1092849"/>
            <a:ext cx="2796508" cy="461665"/>
          </a:xfrm>
          <a:prstGeom prst="rect">
            <a:avLst/>
          </a:prstGeom>
          <a:noFill/>
        </p:spPr>
        <p:txBody>
          <a:bodyPr wrap="square" rtlCol="0">
            <a:spAutoFit/>
          </a:bodyPr>
          <a:lstStyle>
            <a:defPPr>
              <a:defRPr lang="en-US"/>
            </a:defPPr>
            <a:lvl1pPr algn="ctr">
              <a:defRPr sz="1200" b="1" i="1">
                <a:solidFill>
                  <a:schemeClr val="bg1">
                    <a:lumMod val="50000"/>
                  </a:schemeClr>
                </a:solidFill>
              </a:defRPr>
            </a:lvl1pPr>
          </a:lstStyle>
          <a:p>
            <a:r>
              <a:rPr lang="id-ID" dirty="0" smtClean="0">
                <a:solidFill>
                  <a:prstClr val="white">
                    <a:lumMod val="50000"/>
                  </a:prstClr>
                </a:solidFill>
              </a:rPr>
              <a:t>Baseline: Inflasi 2015 berpotensi sedikit lebih rendah dari proyeksi 4.29%</a:t>
            </a:r>
            <a:endParaRPr lang="id-ID" dirty="0">
              <a:solidFill>
                <a:prstClr val="white">
                  <a:lumMod val="50000"/>
                </a:prstClr>
              </a:solidFill>
            </a:endParaRPr>
          </a:p>
        </p:txBody>
      </p:sp>
      <p:sp>
        <p:nvSpPr>
          <p:cNvPr id="213" name="TextBox 212"/>
          <p:cNvSpPr txBox="1"/>
          <p:nvPr/>
        </p:nvSpPr>
        <p:spPr>
          <a:xfrm>
            <a:off x="4555216" y="471354"/>
            <a:ext cx="3177936" cy="461665"/>
          </a:xfrm>
          <a:prstGeom prst="rect">
            <a:avLst/>
          </a:prstGeom>
          <a:noFill/>
        </p:spPr>
        <p:txBody>
          <a:bodyPr wrap="square" rtlCol="0">
            <a:spAutoFit/>
          </a:bodyPr>
          <a:lstStyle>
            <a:defPPr>
              <a:defRPr lang="en-US"/>
            </a:defPPr>
            <a:lvl1pPr>
              <a:defRPr sz="1600" b="1" i="1">
                <a:solidFill>
                  <a:schemeClr val="accent5">
                    <a:lumMod val="75000"/>
                  </a:schemeClr>
                </a:solidFill>
              </a:defRPr>
            </a:lvl1pPr>
          </a:lstStyle>
          <a:p>
            <a:pPr algn="r"/>
            <a:r>
              <a:rPr lang="id-ID" sz="1200" dirty="0" smtClean="0">
                <a:solidFill>
                  <a:srgbClr val="C00000"/>
                </a:solidFill>
              </a:rPr>
              <a:t>Risiko inflasi masih tinggi terkait dampak depresiasi Rp &amp; dampak El Nino.</a:t>
            </a:r>
            <a:endParaRPr lang="id-ID" sz="1200" dirty="0">
              <a:solidFill>
                <a:srgbClr val="C00000"/>
              </a:solidFill>
            </a:endParaRPr>
          </a:p>
        </p:txBody>
      </p:sp>
      <p:pic>
        <p:nvPicPr>
          <p:cNvPr id="2053" name="Picture 5"/>
          <p:cNvPicPr>
            <a:picLocks noChangeAspect="1" noChangeArrowheads="1"/>
          </p:cNvPicPr>
          <p:nvPr/>
        </p:nvPicPr>
        <p:blipFill rotWithShape="1">
          <a:blip r:embed="rId7" cstate="print">
            <a:extLst>
              <a:ext uri="{28A0092B-C50C-407E-A947-70E740481C1C}">
                <a14:useLocalDpi xmlns:a14="http://schemas.microsoft.com/office/drawing/2010/main" val="0"/>
              </a:ext>
            </a:extLst>
          </a:blip>
          <a:stretch/>
        </p:blipFill>
        <p:spPr bwMode="auto">
          <a:xfrm>
            <a:off x="6340366" y="1828077"/>
            <a:ext cx="1131181" cy="648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6" name="Picture 3"/>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2933" r="1575" b="777"/>
          <a:stretch/>
        </p:blipFill>
        <p:spPr bwMode="auto">
          <a:xfrm rot="19049086" flipH="1">
            <a:off x="6576809" y="1483561"/>
            <a:ext cx="258368" cy="7416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518351" y="4271498"/>
            <a:ext cx="699257" cy="461665"/>
          </a:xfrm>
          <a:prstGeom prst="rect">
            <a:avLst/>
          </a:prstGeom>
          <a:noFill/>
        </p:spPr>
        <p:txBody>
          <a:bodyPr wrap="square" rtlCol="0">
            <a:spAutoFit/>
          </a:bodyPr>
          <a:lstStyle/>
          <a:p>
            <a:r>
              <a:rPr lang="id-ID" sz="2400" b="1" dirty="0" smtClean="0">
                <a:solidFill>
                  <a:schemeClr val="accent6">
                    <a:lumMod val="75000"/>
                  </a:schemeClr>
                </a:solidFill>
              </a:rPr>
              <a:t>≈</a:t>
            </a:r>
            <a:endParaRPr lang="id-ID" sz="2400" b="1" dirty="0">
              <a:solidFill>
                <a:schemeClr val="accent6">
                  <a:lumMod val="75000"/>
                </a:schemeClr>
              </a:solidFill>
            </a:endParaRPr>
          </a:p>
        </p:txBody>
      </p:sp>
      <p:grpSp>
        <p:nvGrpSpPr>
          <p:cNvPr id="173" name="Group 13"/>
          <p:cNvGrpSpPr/>
          <p:nvPr/>
        </p:nvGrpSpPr>
        <p:grpSpPr>
          <a:xfrm>
            <a:off x="0" y="0"/>
            <a:ext cx="8656320" cy="548640"/>
            <a:chOff x="0" y="0"/>
            <a:chExt cx="8656320" cy="548640"/>
          </a:xfrm>
        </p:grpSpPr>
        <p:sp>
          <p:nvSpPr>
            <p:cNvPr id="174" name="Rectangle 173"/>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75" name="Rectangle 174"/>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76" name="Title 1"/>
          <p:cNvSpPr txBox="1">
            <a:spLocks/>
          </p:cNvSpPr>
          <p:nvPr/>
        </p:nvSpPr>
        <p:spPr>
          <a:xfrm>
            <a:off x="0" y="26894"/>
            <a:ext cx="9144000" cy="487362"/>
          </a:xfrm>
          <a:prstGeom prst="rect">
            <a:avLst/>
          </a:prstGeom>
        </p:spPr>
        <p:txBody>
          <a:bodyPr anchor="ctr"/>
          <a:lstStyle>
            <a:lvl1pPr algn="ctr" rtl="0" eaLnBrk="0" fontAlgn="base" hangingPunct="0">
              <a:spcBef>
                <a:spcPct val="0"/>
              </a:spcBef>
              <a:spcAft>
                <a:spcPct val="0"/>
              </a:spcAft>
              <a:defRPr sz="2200" b="1" kern="1200">
                <a:solidFill>
                  <a:srgbClr val="1B587C"/>
                </a:solidFill>
                <a:latin typeface="Optima" panose="020B0500000000000000" pitchFamily="34" charset="0"/>
                <a:ea typeface="MS PGothic"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id-ID" sz="2400" i="1" dirty="0"/>
              <a:t>Balance of Risks 2015</a:t>
            </a:r>
            <a:r>
              <a:rPr lang="id-ID" sz="2400" dirty="0"/>
              <a:t>: </a:t>
            </a:r>
            <a:r>
              <a:rPr lang="id-ID" sz="2400" dirty="0">
                <a:solidFill>
                  <a:srgbClr val="C00000"/>
                </a:solidFill>
              </a:rPr>
              <a:t>Risiko instabilitas meningkat…</a:t>
            </a:r>
            <a:endParaRPr lang="en-US" sz="2400" dirty="0">
              <a:solidFill>
                <a:srgbClr val="000066"/>
              </a:solidFill>
              <a:latin typeface="Eras Demi ITC" pitchFamily="34" charset="0"/>
            </a:endParaRPr>
          </a:p>
        </p:txBody>
      </p:sp>
      <p:sp>
        <p:nvSpPr>
          <p:cNvPr id="177" name="TextBox 176"/>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27</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379619261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a:spLocks noChangeArrowheads="1"/>
          </p:cNvSpPr>
          <p:nvPr/>
        </p:nvSpPr>
        <p:spPr bwMode="auto">
          <a:xfrm>
            <a:off x="159866" y="4171881"/>
            <a:ext cx="8832594" cy="2462213"/>
          </a:xfrm>
          <a:prstGeom prst="rect">
            <a:avLst/>
          </a:prstGeom>
          <a:noFill/>
          <a:ln>
            <a:noFill/>
          </a:ln>
          <a:effectLst/>
          <a:extLst/>
        </p:spPr>
        <p:txBody>
          <a:bodyPr wrap="square">
            <a:spAutoFit/>
          </a:bodyPr>
          <a:lstStyle>
            <a:lvl1pPr marL="285750" indent="-285750">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indent="0">
              <a:spcAft>
                <a:spcPts val="208"/>
              </a:spcAft>
              <a:defRPr/>
            </a:pPr>
            <a:r>
              <a:rPr lang="id-ID" sz="1600" b="1" dirty="0">
                <a:solidFill>
                  <a:srgbClr val="00B0F0"/>
                </a:solidFill>
                <a:latin typeface="Calibri"/>
                <a:cs typeface="Calibri"/>
              </a:rPr>
              <a:t>Faktor Pendukung Pertumbuhan PDB Indonesia Sem II-2015</a:t>
            </a:r>
          </a:p>
          <a:p>
            <a:pPr marL="118699" indent="-118699">
              <a:spcAft>
                <a:spcPts val="208"/>
              </a:spcAft>
              <a:buFont typeface="Arial"/>
              <a:buChar char="•"/>
              <a:defRPr/>
            </a:pPr>
            <a:r>
              <a:rPr lang="id-ID" sz="1600" dirty="0">
                <a:latin typeface="Calibri"/>
                <a:cs typeface="Calibri"/>
              </a:rPr>
              <a:t>Tingginya belanja Pemerintah, terutama belanja modal &amp; belanja barang.</a:t>
            </a:r>
          </a:p>
          <a:p>
            <a:pPr marL="435230" lvl="1" indent="-118699">
              <a:spcAft>
                <a:spcPts val="208"/>
              </a:spcAft>
              <a:buFont typeface="Arial"/>
              <a:buChar char="•"/>
              <a:defRPr/>
            </a:pPr>
            <a:r>
              <a:rPr lang="id-ID" sz="1600" dirty="0">
                <a:latin typeface="Calibri"/>
                <a:cs typeface="Calibri"/>
              </a:rPr>
              <a:t>Proses lelang telah selesai di kuartal II, sehingga pembangunan proyek infrastruktur sudah dapat berjalan &amp; Pembayaran gaji ke 13</a:t>
            </a:r>
          </a:p>
          <a:p>
            <a:pPr marL="118699" indent="-118699">
              <a:spcAft>
                <a:spcPts val="208"/>
              </a:spcAft>
              <a:buFont typeface="Arial"/>
              <a:buChar char="•"/>
              <a:defRPr/>
            </a:pPr>
            <a:r>
              <a:rPr lang="id-ID" sz="1600" dirty="0">
                <a:latin typeface="Calibri"/>
                <a:cs typeface="Calibri"/>
              </a:rPr>
              <a:t>Investasi semakin meningkat dengan berjalannya proyek infrastruktur</a:t>
            </a:r>
          </a:p>
          <a:p>
            <a:pPr marL="118699" indent="-118699">
              <a:spcAft>
                <a:spcPts val="208"/>
              </a:spcAft>
              <a:buFont typeface="Arial"/>
              <a:buChar char="•"/>
              <a:defRPr/>
            </a:pPr>
            <a:r>
              <a:rPr lang="id-ID" sz="1600" dirty="0">
                <a:latin typeface="Calibri"/>
                <a:cs typeface="Calibri"/>
              </a:rPr>
              <a:t>Impor juga diperkirakan membaik seiring tingginya kebutuhan akan barang modal</a:t>
            </a:r>
          </a:p>
          <a:p>
            <a:pPr marL="118699" indent="-118699">
              <a:spcAft>
                <a:spcPts val="208"/>
              </a:spcAft>
              <a:buFont typeface="Arial"/>
              <a:buChar char="•"/>
              <a:defRPr/>
            </a:pPr>
            <a:r>
              <a:rPr lang="id-ID" sz="1600" dirty="0">
                <a:latin typeface="Calibri"/>
                <a:cs typeface="Calibri"/>
              </a:rPr>
              <a:t>Konsumsi RT diperkirakan tetap tumbuh cukup tinggi antara lain didukung oleh kebijakan kenaikan PTKP</a:t>
            </a:r>
          </a:p>
          <a:p>
            <a:pPr marL="118699" indent="-118699">
              <a:spcAft>
                <a:spcPts val="208"/>
              </a:spcAft>
              <a:buFont typeface="Arial"/>
              <a:buChar char="•"/>
              <a:defRPr/>
            </a:pPr>
            <a:r>
              <a:rPr lang="id-ID" sz="1600" dirty="0">
                <a:latin typeface="Calibri"/>
                <a:cs typeface="Calibri"/>
              </a:rPr>
              <a:t>Ekspor masih belum tumbuh optimal karena perkiraan masih belum pulihnya ekonomi global</a:t>
            </a:r>
          </a:p>
        </p:txBody>
      </p:sp>
      <p:sp>
        <p:nvSpPr>
          <p:cNvPr id="15" name="TextBox 10"/>
          <p:cNvSpPr txBox="1"/>
          <p:nvPr/>
        </p:nvSpPr>
        <p:spPr>
          <a:xfrm>
            <a:off x="387147" y="881413"/>
            <a:ext cx="3231397" cy="276999"/>
          </a:xfrm>
          <a:prstGeom prst="rect">
            <a:avLst/>
          </a:prstGeom>
          <a:noFill/>
        </p:spPr>
        <p:txBody>
          <a:bodyPr wrap="non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err="1"/>
              <a:t>Pola</a:t>
            </a:r>
            <a:r>
              <a:rPr lang="en-US" sz="1200" b="1" dirty="0"/>
              <a:t> </a:t>
            </a:r>
            <a:r>
              <a:rPr lang="en-US" sz="1200" b="1" dirty="0" err="1"/>
              <a:t>Pertumbuhan</a:t>
            </a:r>
            <a:r>
              <a:rPr lang="en-US" sz="1200" b="1" dirty="0"/>
              <a:t> PDB </a:t>
            </a:r>
            <a:r>
              <a:rPr lang="en-US" sz="1200" b="1" dirty="0" err="1"/>
              <a:t>Kuartalan</a:t>
            </a:r>
            <a:r>
              <a:rPr lang="en-US" sz="1200" b="1" dirty="0"/>
              <a:t> </a:t>
            </a:r>
            <a:r>
              <a:rPr lang="en-US" sz="1200" b="1" dirty="0" err="1"/>
              <a:t>dan</a:t>
            </a:r>
            <a:r>
              <a:rPr lang="en-US" sz="1200" b="1" dirty="0"/>
              <a:t> </a:t>
            </a:r>
            <a:r>
              <a:rPr lang="en-US" sz="1200" b="1" dirty="0" err="1"/>
              <a:t>Tahunan</a:t>
            </a:r>
            <a:r>
              <a:rPr lang="en-US" sz="1200" b="1" dirty="0"/>
              <a:t> </a:t>
            </a:r>
          </a:p>
        </p:txBody>
      </p:sp>
      <p:cxnSp>
        <p:nvCxnSpPr>
          <p:cNvPr id="16" name="Straight Connector 15"/>
          <p:cNvCxnSpPr/>
          <p:nvPr/>
        </p:nvCxnSpPr>
        <p:spPr>
          <a:xfrm>
            <a:off x="453615" y="1169443"/>
            <a:ext cx="2924633" cy="0"/>
          </a:xfrm>
          <a:prstGeom prst="line">
            <a:avLst/>
          </a:prstGeom>
          <a:ln w="28575" cmpd="sng">
            <a:gradFill flip="none" rotWithShape="1">
              <a:gsLst>
                <a:gs pos="0">
                  <a:schemeClr val="accent5">
                    <a:lumMod val="75000"/>
                  </a:schemeClr>
                </a:gs>
                <a:gs pos="100000">
                  <a:schemeClr val="bg1"/>
                </a:gs>
              </a:gsLst>
              <a:lin ang="0" scaled="1"/>
              <a:tileRect/>
            </a:gradFill>
          </a:ln>
        </p:spPr>
        <p:style>
          <a:lnRef idx="2">
            <a:schemeClr val="accent1"/>
          </a:lnRef>
          <a:fillRef idx="0">
            <a:schemeClr val="accent1"/>
          </a:fillRef>
          <a:effectRef idx="1">
            <a:schemeClr val="accent1"/>
          </a:effectRef>
          <a:fontRef idx="minor">
            <a:schemeClr val="tx1"/>
          </a:fontRef>
        </p:style>
      </p:cxnSp>
      <p:graphicFrame>
        <p:nvGraphicFramePr>
          <p:cNvPr id="17" name="Chart 16"/>
          <p:cNvGraphicFramePr>
            <a:graphicFrameLocks/>
          </p:cNvGraphicFramePr>
          <p:nvPr>
            <p:extLst>
              <p:ext uri="{D42A27DB-BD31-4B8C-83A1-F6EECF244321}">
                <p14:modId xmlns:p14="http://schemas.microsoft.com/office/powerpoint/2010/main" val="3206393853"/>
              </p:ext>
            </p:extLst>
          </p:nvPr>
        </p:nvGraphicFramePr>
        <p:xfrm>
          <a:off x="159866" y="1226576"/>
          <a:ext cx="8779306" cy="2908648"/>
        </p:xfrm>
        <a:graphic>
          <a:graphicData uri="http://schemas.openxmlformats.org/drawingml/2006/chart">
            <c:chart xmlns:c="http://schemas.openxmlformats.org/drawingml/2006/chart" xmlns:r="http://schemas.openxmlformats.org/officeDocument/2006/relationships" r:id="rId2"/>
          </a:graphicData>
        </a:graphic>
      </p:graphicFrame>
      <p:sp>
        <p:nvSpPr>
          <p:cNvPr id="18" name="Title 2"/>
          <p:cNvSpPr txBox="1">
            <a:spLocks/>
          </p:cNvSpPr>
          <p:nvPr/>
        </p:nvSpPr>
        <p:spPr bwMode="auto">
          <a:xfrm>
            <a:off x="0" y="20809"/>
            <a:ext cx="8161322" cy="815905"/>
          </a:xfrm>
          <a:prstGeom prst="rect">
            <a:avLst/>
          </a:prstGeom>
          <a:noFill/>
          <a:ln>
            <a:noFill/>
          </a:ln>
          <a:effectLst/>
          <a:extLst/>
        </p:spPr>
        <p:style>
          <a:lnRef idx="1">
            <a:schemeClr val="accent2"/>
          </a:lnRef>
          <a:fillRef idx="3">
            <a:schemeClr val="accent2"/>
          </a:fillRef>
          <a:effectRef idx="2">
            <a:schemeClr val="accent2"/>
          </a:effectRef>
          <a:fontRef idx="minor">
            <a:schemeClr val="lt1"/>
          </a:fontRef>
        </p:style>
        <p:txBody>
          <a:bodyPr anchor="ctr"/>
          <a:lstStyle>
            <a:lvl1pPr defTabSz="457200">
              <a:defRPr>
                <a:solidFill>
                  <a:schemeClr val="tx1"/>
                </a:solidFill>
                <a:latin typeface="Calibri" charset="0"/>
                <a:ea typeface="ＭＳ Ｐゴシック" charset="0"/>
                <a:cs typeface="ＭＳ Ｐゴシック" charset="0"/>
              </a:defRPr>
            </a:lvl1pPr>
            <a:lvl2pPr marL="742950" indent="-285750" defTabSz="457200">
              <a:defRPr>
                <a:solidFill>
                  <a:schemeClr val="tx1"/>
                </a:solidFill>
                <a:latin typeface="Calibri" charset="0"/>
                <a:ea typeface="ＭＳ Ｐゴシック" charset="0"/>
              </a:defRPr>
            </a:lvl2pPr>
            <a:lvl3pPr marL="1143000" indent="-228600" defTabSz="457200">
              <a:defRPr>
                <a:solidFill>
                  <a:schemeClr val="tx1"/>
                </a:solidFill>
                <a:latin typeface="Calibri" charset="0"/>
                <a:ea typeface="ＭＳ Ｐゴシック" charset="0"/>
              </a:defRPr>
            </a:lvl3pPr>
            <a:lvl4pPr marL="1600200" indent="-228600" defTabSz="457200">
              <a:defRPr>
                <a:solidFill>
                  <a:schemeClr val="tx1"/>
                </a:solidFill>
                <a:latin typeface="Calibri" charset="0"/>
                <a:ea typeface="ＭＳ Ｐゴシック" charset="0"/>
              </a:defRPr>
            </a:lvl4pPr>
            <a:lvl5pPr marL="2057400" indent="-228600" defTabSz="4572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fi-FI" sz="2000" b="1" dirty="0" err="1">
                <a:solidFill>
                  <a:srgbClr val="1F4E79"/>
                </a:solidFill>
              </a:rPr>
              <a:t>Pelemahan</a:t>
            </a:r>
            <a:r>
              <a:rPr lang="fi-FI" sz="2000" b="1" dirty="0">
                <a:solidFill>
                  <a:srgbClr val="1F4E79"/>
                </a:solidFill>
              </a:rPr>
              <a:t> </a:t>
            </a:r>
            <a:r>
              <a:rPr lang="fi-FI" sz="2000" b="1" dirty="0" err="1">
                <a:solidFill>
                  <a:srgbClr val="1F4E79"/>
                </a:solidFill>
              </a:rPr>
              <a:t>pertumbuhan</a:t>
            </a:r>
            <a:r>
              <a:rPr lang="fi-FI" sz="2000" b="1" dirty="0">
                <a:solidFill>
                  <a:srgbClr val="1F4E79"/>
                </a:solidFill>
              </a:rPr>
              <a:t> ekonomi Indonesia </a:t>
            </a:r>
            <a:r>
              <a:rPr lang="fi-FI" sz="2000" b="1" dirty="0" err="1">
                <a:solidFill>
                  <a:srgbClr val="1F4E79"/>
                </a:solidFill>
              </a:rPr>
              <a:t>diharapkan</a:t>
            </a:r>
            <a:r>
              <a:rPr lang="fi-FI" sz="2000" b="1" dirty="0">
                <a:solidFill>
                  <a:srgbClr val="1F4E79"/>
                </a:solidFill>
              </a:rPr>
              <a:t> </a:t>
            </a:r>
            <a:r>
              <a:rPr lang="fi-FI" sz="2000" b="1" dirty="0" err="1">
                <a:solidFill>
                  <a:srgbClr val="1F4E79"/>
                </a:solidFill>
              </a:rPr>
              <a:t>bersifat</a:t>
            </a:r>
            <a:r>
              <a:rPr lang="fi-FI" sz="2000" b="1" dirty="0">
                <a:solidFill>
                  <a:srgbClr val="1F4E79"/>
                </a:solidFill>
              </a:rPr>
              <a:t> </a:t>
            </a:r>
            <a:r>
              <a:rPr lang="fi-FI" sz="2000" b="1" dirty="0" err="1">
                <a:solidFill>
                  <a:srgbClr val="1F4E79"/>
                </a:solidFill>
              </a:rPr>
              <a:t>sementara</a:t>
            </a:r>
            <a:endParaRPr lang="fi-FI" sz="2000" b="1" dirty="0">
              <a:solidFill>
                <a:srgbClr val="1F4E79"/>
              </a:solidFill>
            </a:endParaRPr>
          </a:p>
          <a:p>
            <a:r>
              <a:rPr lang="fi-FI" sz="2000" b="1" dirty="0">
                <a:solidFill>
                  <a:srgbClr val="1F4E79"/>
                </a:solidFill>
              </a:rPr>
              <a:t>…</a:t>
            </a:r>
            <a:r>
              <a:rPr lang="fi-FI" sz="2000" b="1" dirty="0" err="1">
                <a:solidFill>
                  <a:srgbClr val="1F4E79"/>
                </a:solidFill>
              </a:rPr>
              <a:t>diperkirakan</a:t>
            </a:r>
            <a:r>
              <a:rPr lang="fi-FI" sz="2000" b="1" dirty="0">
                <a:solidFill>
                  <a:srgbClr val="1F4E79"/>
                </a:solidFill>
              </a:rPr>
              <a:t> akan </a:t>
            </a:r>
            <a:r>
              <a:rPr lang="fi-FI" sz="2000" b="1" dirty="0" err="1">
                <a:solidFill>
                  <a:srgbClr val="1F4E79"/>
                </a:solidFill>
              </a:rPr>
              <a:t>kembali</a:t>
            </a:r>
            <a:r>
              <a:rPr lang="fi-FI" sz="2000" b="1" dirty="0">
                <a:solidFill>
                  <a:srgbClr val="1F4E79"/>
                </a:solidFill>
              </a:rPr>
              <a:t> </a:t>
            </a:r>
            <a:r>
              <a:rPr lang="fi-FI" sz="2000" b="1" dirty="0" err="1">
                <a:solidFill>
                  <a:srgbClr val="1F4E79"/>
                </a:solidFill>
              </a:rPr>
              <a:t>meningkat</a:t>
            </a:r>
            <a:r>
              <a:rPr lang="fi-FI" sz="2000" b="1" dirty="0">
                <a:solidFill>
                  <a:srgbClr val="1F4E79"/>
                </a:solidFill>
              </a:rPr>
              <a:t> </a:t>
            </a:r>
            <a:r>
              <a:rPr lang="fi-FI" sz="2000" b="1" dirty="0" err="1">
                <a:solidFill>
                  <a:srgbClr val="1F4E79"/>
                </a:solidFill>
              </a:rPr>
              <a:t>pada</a:t>
            </a:r>
            <a:r>
              <a:rPr lang="fi-FI" sz="2000" b="1" dirty="0">
                <a:solidFill>
                  <a:srgbClr val="1F4E79"/>
                </a:solidFill>
              </a:rPr>
              <a:t> </a:t>
            </a:r>
            <a:r>
              <a:rPr lang="fi-FI" sz="2000" b="1" dirty="0" err="1">
                <a:solidFill>
                  <a:srgbClr val="1F4E79"/>
                </a:solidFill>
              </a:rPr>
              <a:t>paruh</a:t>
            </a:r>
            <a:r>
              <a:rPr lang="fi-FI" sz="2000" b="1" dirty="0">
                <a:solidFill>
                  <a:srgbClr val="1F4E79"/>
                </a:solidFill>
              </a:rPr>
              <a:t> ke-2 </a:t>
            </a:r>
            <a:r>
              <a:rPr lang="fi-FI" sz="2000" b="1" dirty="0" err="1">
                <a:solidFill>
                  <a:srgbClr val="1F4E79"/>
                </a:solidFill>
              </a:rPr>
              <a:t>tahun</a:t>
            </a:r>
            <a:r>
              <a:rPr lang="fi-FI" sz="2000" b="1" dirty="0">
                <a:solidFill>
                  <a:srgbClr val="1F4E79"/>
                </a:solidFill>
              </a:rPr>
              <a:t> 2015</a:t>
            </a:r>
          </a:p>
        </p:txBody>
      </p:sp>
      <p:sp>
        <p:nvSpPr>
          <p:cNvPr id="19" name="Slide Number Placeholder 39"/>
          <p:cNvSpPr>
            <a:spLocks noGrp="1"/>
          </p:cNvSpPr>
          <p:nvPr>
            <p:ph type="sldNum" sz="quarter" idx="12"/>
          </p:nvPr>
        </p:nvSpPr>
        <p:spPr bwMode="auto">
          <a:prstGeom prst="rect">
            <a:avLst/>
          </a:prstGeom>
          <a:noFill/>
          <a:ln>
            <a:miter lim="800000"/>
            <a:headEnd/>
            <a:tailEnd/>
          </a:ln>
        </p:spPr>
        <p:txBody>
          <a:bodyPr/>
          <a:lstStyle/>
          <a:p>
            <a:fld id="{F545350E-8B61-477C-BE9B-51F0DFF8B39B}" type="slidenum">
              <a:rPr lang="en-US" b="1">
                <a:solidFill>
                  <a:schemeClr val="bg1"/>
                </a:solidFill>
              </a:rPr>
              <a:pPr/>
              <a:t>28</a:t>
            </a:fld>
            <a:endParaRPr lang="en-US" b="1" dirty="0">
              <a:solidFill>
                <a:schemeClr val="bg1"/>
              </a:solidFill>
            </a:endParaRPr>
          </a:p>
        </p:txBody>
      </p:sp>
    </p:spTree>
    <p:extLst>
      <p:ext uri="{BB962C8B-B14F-4D97-AF65-F5344CB8AC3E}">
        <p14:creationId xmlns:p14="http://schemas.microsoft.com/office/powerpoint/2010/main" val="18398994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Chart 40"/>
          <p:cNvGraphicFramePr>
            <a:graphicFrameLocks/>
          </p:cNvGraphicFramePr>
          <p:nvPr>
            <p:extLst>
              <p:ext uri="{D42A27DB-BD31-4B8C-83A1-F6EECF244321}">
                <p14:modId xmlns:p14="http://schemas.microsoft.com/office/powerpoint/2010/main" val="482243282"/>
              </p:ext>
            </p:extLst>
          </p:nvPr>
        </p:nvGraphicFramePr>
        <p:xfrm>
          <a:off x="0" y="1195913"/>
          <a:ext cx="4785762" cy="2564430"/>
        </p:xfrm>
        <a:graphic>
          <a:graphicData uri="http://schemas.openxmlformats.org/drawingml/2006/chart">
            <c:chart xmlns:c="http://schemas.openxmlformats.org/drawingml/2006/chart" xmlns:r="http://schemas.openxmlformats.org/officeDocument/2006/relationships" r:id="rId7"/>
          </a:graphicData>
        </a:graphic>
      </p:graphicFrame>
      <p:sp>
        <p:nvSpPr>
          <p:cNvPr id="35" name="Title 2"/>
          <p:cNvSpPr txBox="1">
            <a:spLocks/>
          </p:cNvSpPr>
          <p:nvPr/>
        </p:nvSpPr>
        <p:spPr bwMode="auto">
          <a:xfrm>
            <a:off x="0" y="20809"/>
            <a:ext cx="8161322" cy="815905"/>
          </a:xfrm>
          <a:prstGeom prst="rect">
            <a:avLst/>
          </a:prstGeom>
          <a:noFill/>
          <a:ln>
            <a:noFill/>
          </a:ln>
          <a:extLst/>
        </p:spPr>
        <p:style>
          <a:lnRef idx="1">
            <a:schemeClr val="accent2"/>
          </a:lnRef>
          <a:fillRef idx="3">
            <a:schemeClr val="accent2"/>
          </a:fillRef>
          <a:effectRef idx="2">
            <a:schemeClr val="accent2"/>
          </a:effectRef>
          <a:fontRef idx="minor">
            <a:schemeClr val="lt1"/>
          </a:fontRef>
        </p:style>
        <p:txBody>
          <a:bodyPr anchor="ctr"/>
          <a:lstStyle>
            <a:lvl1pPr defTabSz="457200">
              <a:defRPr>
                <a:solidFill>
                  <a:schemeClr val="tx1"/>
                </a:solidFill>
                <a:latin typeface="Calibri" charset="0"/>
                <a:ea typeface="ＭＳ Ｐゴシック" charset="0"/>
                <a:cs typeface="ＭＳ Ｐゴシック" charset="0"/>
              </a:defRPr>
            </a:lvl1pPr>
            <a:lvl2pPr marL="742950" indent="-285750" defTabSz="457200">
              <a:defRPr>
                <a:solidFill>
                  <a:schemeClr val="tx1"/>
                </a:solidFill>
                <a:latin typeface="Calibri" charset="0"/>
                <a:ea typeface="ＭＳ Ｐゴシック" charset="0"/>
              </a:defRPr>
            </a:lvl2pPr>
            <a:lvl3pPr marL="1143000" indent="-228600" defTabSz="457200">
              <a:defRPr>
                <a:solidFill>
                  <a:schemeClr val="tx1"/>
                </a:solidFill>
                <a:latin typeface="Calibri" charset="0"/>
                <a:ea typeface="ＭＳ Ｐゴシック" charset="0"/>
              </a:defRPr>
            </a:lvl3pPr>
            <a:lvl4pPr marL="1600200" indent="-228600" defTabSz="457200">
              <a:defRPr>
                <a:solidFill>
                  <a:schemeClr val="tx1"/>
                </a:solidFill>
                <a:latin typeface="Calibri" charset="0"/>
                <a:ea typeface="ＭＳ Ｐゴシック" charset="0"/>
              </a:defRPr>
            </a:lvl4pPr>
            <a:lvl5pPr marL="2057400" indent="-228600" defTabSz="4572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hr-HR" sz="1900" b="1" dirty="0">
                <a:solidFill>
                  <a:srgbClr val="1F497D"/>
                </a:solidFill>
              </a:rPr>
              <a:t>Perkembangan indikator utama ekonomi indonesia</a:t>
            </a:r>
          </a:p>
          <a:p>
            <a:r>
              <a:rPr lang="hr-HR" sz="1300" i="1" dirty="0">
                <a:solidFill>
                  <a:srgbClr val="1F497D"/>
                </a:solidFill>
              </a:rPr>
              <a:t>…menunjukan ekonomi Indonesia masih positif didukung dengan pertumbuhan investasi yang positif dan konsisten</a:t>
            </a:r>
          </a:p>
        </p:txBody>
      </p:sp>
      <p:graphicFrame>
        <p:nvGraphicFramePr>
          <p:cNvPr id="36" name="Chart 35"/>
          <p:cNvGraphicFramePr>
            <a:graphicFrameLocks/>
          </p:cNvGraphicFramePr>
          <p:nvPr>
            <p:extLst>
              <p:ext uri="{D42A27DB-BD31-4B8C-83A1-F6EECF244321}">
                <p14:modId xmlns:p14="http://schemas.microsoft.com/office/powerpoint/2010/main" val="2364518520"/>
              </p:ext>
            </p:extLst>
          </p:nvPr>
        </p:nvGraphicFramePr>
        <p:xfrm>
          <a:off x="5037283" y="4437112"/>
          <a:ext cx="4080464" cy="21357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Chart 36"/>
          <p:cNvGraphicFramePr>
            <a:graphicFrameLocks/>
          </p:cNvGraphicFramePr>
          <p:nvPr>
            <p:extLst>
              <p:ext uri="{D42A27DB-BD31-4B8C-83A1-F6EECF244321}">
                <p14:modId xmlns:p14="http://schemas.microsoft.com/office/powerpoint/2010/main" val="426746154"/>
              </p:ext>
            </p:extLst>
          </p:nvPr>
        </p:nvGraphicFramePr>
        <p:xfrm>
          <a:off x="5236689" y="1087833"/>
          <a:ext cx="3907311" cy="2736304"/>
        </p:xfrm>
        <a:graphic>
          <a:graphicData uri="http://schemas.openxmlformats.org/drawingml/2006/chart">
            <c:chart xmlns:c="http://schemas.openxmlformats.org/drawingml/2006/chart" xmlns:r="http://schemas.openxmlformats.org/officeDocument/2006/relationships" r:id="rId9"/>
          </a:graphicData>
        </a:graphic>
      </p:graphicFrame>
      <p:sp>
        <p:nvSpPr>
          <p:cNvPr id="38" name="TextBox 20"/>
          <p:cNvSpPr txBox="1">
            <a:spLocks noChangeArrowheads="1"/>
          </p:cNvSpPr>
          <p:nvPr/>
        </p:nvSpPr>
        <p:spPr bwMode="auto">
          <a:xfrm>
            <a:off x="5313677" y="4068968"/>
            <a:ext cx="1991079" cy="26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id-ID" sz="1108" b="1" dirty="0">
                <a:latin typeface="Calibri"/>
                <a:cs typeface="Calibri"/>
              </a:rPr>
              <a:t>Neraca Pembayaran Indonesia</a:t>
            </a:r>
          </a:p>
        </p:txBody>
      </p:sp>
      <p:cxnSp>
        <p:nvCxnSpPr>
          <p:cNvPr id="40" name="Straight Connector 39"/>
          <p:cNvCxnSpPr/>
          <p:nvPr/>
        </p:nvCxnSpPr>
        <p:spPr>
          <a:xfrm>
            <a:off x="5380146" y="4356993"/>
            <a:ext cx="2023065" cy="0"/>
          </a:xfrm>
          <a:prstGeom prst="line">
            <a:avLst/>
          </a:prstGeom>
          <a:ln w="28575" cmpd="sng">
            <a:gradFill flip="none" rotWithShape="1">
              <a:gsLst>
                <a:gs pos="0">
                  <a:schemeClr val="accent5">
                    <a:lumMod val="75000"/>
                  </a:schemeClr>
                </a:gs>
                <a:gs pos="100000">
                  <a:schemeClr val="bg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72" name="TextBox 20"/>
          <p:cNvSpPr txBox="1">
            <a:spLocks noChangeArrowheads="1"/>
          </p:cNvSpPr>
          <p:nvPr/>
        </p:nvSpPr>
        <p:spPr bwMode="auto">
          <a:xfrm>
            <a:off x="98070" y="828783"/>
            <a:ext cx="1881645" cy="433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id-ID" sz="1108" b="1" dirty="0" smtClean="0">
                <a:latin typeface="Calibri"/>
                <a:cs typeface="Calibri"/>
              </a:rPr>
              <a:t>N</a:t>
            </a:r>
            <a:r>
              <a:rPr lang="en-US" sz="1108" b="1" dirty="0">
                <a:latin typeface="Calibri"/>
                <a:cs typeface="Calibri"/>
              </a:rPr>
              <a:t>e</a:t>
            </a:r>
            <a:r>
              <a:rPr lang="id-ID" sz="1108" b="1" dirty="0">
                <a:latin typeface="Calibri"/>
                <a:cs typeface="Calibri"/>
              </a:rPr>
              <a:t>raca Perdagangan Indonesia </a:t>
            </a:r>
          </a:p>
        </p:txBody>
      </p:sp>
      <p:cxnSp>
        <p:nvCxnSpPr>
          <p:cNvPr id="73" name="Straight Connector 72"/>
          <p:cNvCxnSpPr/>
          <p:nvPr/>
        </p:nvCxnSpPr>
        <p:spPr>
          <a:xfrm>
            <a:off x="164539" y="1116808"/>
            <a:ext cx="2023065" cy="0"/>
          </a:xfrm>
          <a:prstGeom prst="line">
            <a:avLst/>
          </a:prstGeom>
          <a:ln w="28575" cmpd="sng">
            <a:gradFill flip="none" rotWithShape="1">
              <a:gsLst>
                <a:gs pos="0">
                  <a:schemeClr val="accent5">
                    <a:lumMod val="75000"/>
                  </a:schemeClr>
                </a:gs>
                <a:gs pos="100000">
                  <a:schemeClr val="bg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74" name="Rectangle 73"/>
          <p:cNvSpPr/>
          <p:nvPr/>
        </p:nvSpPr>
        <p:spPr>
          <a:xfrm>
            <a:off x="3995077" y="1412776"/>
            <a:ext cx="807562" cy="1632484"/>
          </a:xfrm>
          <a:prstGeom prst="rect">
            <a:avLst/>
          </a:prstGeom>
          <a:noFill/>
          <a:ln w="19050" cmpd="sng">
            <a:solidFill>
              <a:srgbClr val="0000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d-ID"/>
          </a:p>
        </p:txBody>
      </p:sp>
      <p:cxnSp>
        <p:nvCxnSpPr>
          <p:cNvPr id="75" name="Straight Arrow Connector 74"/>
          <p:cNvCxnSpPr/>
          <p:nvPr/>
        </p:nvCxnSpPr>
        <p:spPr>
          <a:xfrm flipV="1">
            <a:off x="4124819" y="1528796"/>
            <a:ext cx="598704" cy="276051"/>
          </a:xfrm>
          <a:prstGeom prst="straightConnector1">
            <a:avLst/>
          </a:prstGeom>
          <a:ln w="19050" cmpd="sng">
            <a:solidFill>
              <a:srgbClr val="0000FF"/>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76" name="TextBox 20"/>
          <p:cNvSpPr txBox="1">
            <a:spLocks noChangeArrowheads="1"/>
          </p:cNvSpPr>
          <p:nvPr/>
        </p:nvSpPr>
        <p:spPr bwMode="auto">
          <a:xfrm>
            <a:off x="5436099" y="935887"/>
            <a:ext cx="2736942" cy="262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id-ID" sz="1108" b="1" dirty="0">
                <a:latin typeface="Calibri"/>
                <a:cs typeface="Calibri"/>
              </a:rPr>
              <a:t>Perkembangan Realisasi I</a:t>
            </a:r>
            <a:r>
              <a:rPr lang="en-US" sz="1108" b="1" dirty="0">
                <a:latin typeface="Calibri"/>
                <a:cs typeface="Calibri"/>
              </a:rPr>
              <a:t>n</a:t>
            </a:r>
            <a:r>
              <a:rPr lang="id-ID" sz="1108" b="1" dirty="0" smtClean="0">
                <a:latin typeface="Calibri"/>
                <a:cs typeface="Calibri"/>
              </a:rPr>
              <a:t>vestasi Langsung </a:t>
            </a:r>
            <a:endParaRPr lang="id-ID" sz="1108" b="1" dirty="0">
              <a:latin typeface="Calibri"/>
              <a:cs typeface="Calibri"/>
            </a:endParaRPr>
          </a:p>
        </p:txBody>
      </p:sp>
      <p:cxnSp>
        <p:nvCxnSpPr>
          <p:cNvPr id="77" name="Straight Connector 76"/>
          <p:cNvCxnSpPr/>
          <p:nvPr/>
        </p:nvCxnSpPr>
        <p:spPr>
          <a:xfrm>
            <a:off x="5513521" y="1176432"/>
            <a:ext cx="2023065" cy="0"/>
          </a:xfrm>
          <a:prstGeom prst="line">
            <a:avLst/>
          </a:prstGeom>
          <a:ln w="28575" cmpd="sng">
            <a:gradFill flip="none" rotWithShape="1">
              <a:gsLst>
                <a:gs pos="0">
                  <a:schemeClr val="accent5">
                    <a:lumMod val="75000"/>
                  </a:schemeClr>
                </a:gs>
                <a:gs pos="100000">
                  <a:schemeClr val="bg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78" name="TextBox 9"/>
          <p:cNvSpPr txBox="1">
            <a:spLocks noChangeArrowheads="1"/>
          </p:cNvSpPr>
          <p:nvPr/>
        </p:nvSpPr>
        <p:spPr bwMode="auto">
          <a:xfrm>
            <a:off x="5303163" y="3871170"/>
            <a:ext cx="766557" cy="205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38" b="1" i="1" dirty="0" err="1">
                <a:latin typeface="Calibri"/>
                <a:cs typeface="Calibri"/>
              </a:rPr>
              <a:t>Sumber</a:t>
            </a:r>
            <a:r>
              <a:rPr lang="en-US" sz="738" b="1" i="1" dirty="0">
                <a:latin typeface="Calibri"/>
                <a:cs typeface="Calibri"/>
              </a:rPr>
              <a:t>: </a:t>
            </a:r>
            <a:r>
              <a:rPr lang="en-US" sz="738" b="1" i="1" dirty="0" smtClean="0">
                <a:latin typeface="Calibri"/>
                <a:cs typeface="Calibri"/>
              </a:rPr>
              <a:t>BKPM</a:t>
            </a:r>
            <a:endParaRPr lang="en-US" sz="738" b="1" i="1" dirty="0">
              <a:latin typeface="Calibri"/>
              <a:cs typeface="Calibri"/>
            </a:endParaRPr>
          </a:p>
        </p:txBody>
      </p:sp>
      <p:sp>
        <p:nvSpPr>
          <p:cNvPr id="79" name="Text Box 22 (L)"/>
          <p:cNvSpPr txBox="1">
            <a:spLocks noChangeArrowheads="1"/>
          </p:cNvSpPr>
          <p:nvPr>
            <p:custDataLst>
              <p:tags r:id="rId1"/>
            </p:custDataLst>
          </p:nvPr>
        </p:nvSpPr>
        <p:spPr bwMode="auto">
          <a:xfrm>
            <a:off x="1789870" y="1207122"/>
            <a:ext cx="1011291" cy="461665"/>
          </a:xfrm>
          <a:prstGeom prst="rect">
            <a:avLst/>
          </a:prstGeom>
          <a:noFill/>
          <a:ln w="9525">
            <a:noFill/>
            <a:miter lim="800000"/>
            <a:headEnd/>
            <a:tailEnd/>
          </a:ln>
        </p:spPr>
        <p:txBody>
          <a:bodyPr wrap="square" lIns="0" tIns="0" rIns="0" bIns="0" anchor="b">
            <a:spAutoFit/>
          </a:bodyPr>
          <a:lstStyle/>
          <a:p>
            <a:pPr algn="ctr" defTabSz="986608" fontAlgn="auto">
              <a:spcBef>
                <a:spcPts val="0"/>
              </a:spcBef>
              <a:spcAft>
                <a:spcPts val="0"/>
              </a:spcAft>
              <a:defRPr/>
            </a:pPr>
            <a:r>
              <a:rPr lang="en-US" altLang="en-US" sz="1000" b="1" dirty="0">
                <a:solidFill>
                  <a:srgbClr val="000000"/>
                </a:solidFill>
                <a:latin typeface="+mn-lt"/>
              </a:rPr>
              <a:t>2013: </a:t>
            </a:r>
          </a:p>
          <a:p>
            <a:pPr algn="ctr" defTabSz="986608" fontAlgn="auto">
              <a:spcBef>
                <a:spcPts val="0"/>
              </a:spcBef>
              <a:spcAft>
                <a:spcPts val="0"/>
              </a:spcAft>
              <a:defRPr/>
            </a:pPr>
            <a:r>
              <a:rPr lang="en-US" altLang="en-US" sz="1000" dirty="0">
                <a:solidFill>
                  <a:srgbClr val="000000"/>
                </a:solidFill>
                <a:latin typeface="+mn-lt"/>
              </a:rPr>
              <a:t>Trade </a:t>
            </a:r>
            <a:r>
              <a:rPr lang="en-US" altLang="en-US" sz="1000" b="1" dirty="0">
                <a:solidFill>
                  <a:srgbClr val="FF0000"/>
                </a:solidFill>
                <a:latin typeface="+mn-lt"/>
              </a:rPr>
              <a:t>Deficit</a:t>
            </a:r>
            <a:br>
              <a:rPr lang="en-US" altLang="en-US" sz="1000" b="1" dirty="0">
                <a:solidFill>
                  <a:srgbClr val="FF0000"/>
                </a:solidFill>
                <a:latin typeface="+mn-lt"/>
              </a:rPr>
            </a:br>
            <a:r>
              <a:rPr lang="en-US" altLang="en-US" sz="1000" dirty="0">
                <a:solidFill>
                  <a:srgbClr val="000000"/>
                </a:solidFill>
                <a:latin typeface="+mn-lt"/>
              </a:rPr>
              <a:t>US$</a:t>
            </a:r>
            <a:r>
              <a:rPr lang="en-US" altLang="en-US" sz="1000" dirty="0" smtClean="0">
                <a:solidFill>
                  <a:srgbClr val="000000"/>
                </a:solidFill>
                <a:latin typeface="+mn-lt"/>
              </a:rPr>
              <a:t>4.08bn</a:t>
            </a:r>
            <a:endParaRPr lang="en-US" altLang="en-US" sz="1000" dirty="0">
              <a:solidFill>
                <a:srgbClr val="000000"/>
              </a:solidFill>
              <a:latin typeface="+mn-lt"/>
            </a:endParaRPr>
          </a:p>
        </p:txBody>
      </p:sp>
      <p:sp>
        <p:nvSpPr>
          <p:cNvPr id="80" name="Text Box 22 (L)"/>
          <p:cNvSpPr txBox="1">
            <a:spLocks noChangeArrowheads="1"/>
          </p:cNvSpPr>
          <p:nvPr>
            <p:custDataLst>
              <p:tags r:id="rId2"/>
            </p:custDataLst>
          </p:nvPr>
        </p:nvSpPr>
        <p:spPr bwMode="auto">
          <a:xfrm>
            <a:off x="3007249" y="1112422"/>
            <a:ext cx="1011291" cy="461665"/>
          </a:xfrm>
          <a:prstGeom prst="rect">
            <a:avLst/>
          </a:prstGeom>
          <a:noFill/>
          <a:ln w="9525">
            <a:noFill/>
            <a:miter lim="800000"/>
            <a:headEnd/>
            <a:tailEnd/>
          </a:ln>
        </p:spPr>
        <p:txBody>
          <a:bodyPr wrap="square" lIns="0" tIns="0" rIns="0" bIns="0" anchor="b">
            <a:spAutoFit/>
          </a:bodyPr>
          <a:lstStyle/>
          <a:p>
            <a:pPr algn="ctr" defTabSz="986608" fontAlgn="auto">
              <a:spcBef>
                <a:spcPts val="0"/>
              </a:spcBef>
              <a:spcAft>
                <a:spcPts val="0"/>
              </a:spcAft>
              <a:defRPr/>
            </a:pPr>
            <a:r>
              <a:rPr lang="en-US" altLang="en-US" sz="1000" b="1" dirty="0">
                <a:solidFill>
                  <a:srgbClr val="000000"/>
                </a:solidFill>
                <a:latin typeface="+mn-lt"/>
              </a:rPr>
              <a:t>2014: </a:t>
            </a:r>
          </a:p>
          <a:p>
            <a:pPr algn="ctr" defTabSz="986608" fontAlgn="auto">
              <a:spcBef>
                <a:spcPts val="0"/>
              </a:spcBef>
              <a:spcAft>
                <a:spcPts val="0"/>
              </a:spcAft>
              <a:defRPr/>
            </a:pPr>
            <a:r>
              <a:rPr lang="en-US" altLang="en-US" sz="1000" dirty="0">
                <a:solidFill>
                  <a:srgbClr val="000000"/>
                </a:solidFill>
                <a:latin typeface="+mn-lt"/>
              </a:rPr>
              <a:t>Trade </a:t>
            </a:r>
            <a:r>
              <a:rPr lang="en-US" altLang="en-US" sz="1000" b="1" dirty="0">
                <a:solidFill>
                  <a:srgbClr val="FF0000"/>
                </a:solidFill>
                <a:latin typeface="+mn-lt"/>
              </a:rPr>
              <a:t>Deficit</a:t>
            </a:r>
            <a:br>
              <a:rPr lang="en-US" altLang="en-US" sz="1000" b="1" dirty="0">
                <a:solidFill>
                  <a:srgbClr val="FF0000"/>
                </a:solidFill>
                <a:latin typeface="+mn-lt"/>
              </a:rPr>
            </a:br>
            <a:r>
              <a:rPr lang="en-US" altLang="en-US" sz="1000" dirty="0">
                <a:solidFill>
                  <a:srgbClr val="000000"/>
                </a:solidFill>
                <a:latin typeface="+mn-lt"/>
              </a:rPr>
              <a:t>US</a:t>
            </a:r>
            <a:r>
              <a:rPr lang="en-US" altLang="en-US" sz="1000" dirty="0" smtClean="0">
                <a:solidFill>
                  <a:srgbClr val="000000"/>
                </a:solidFill>
                <a:latin typeface="+mn-lt"/>
              </a:rPr>
              <a:t>$1.89bn</a:t>
            </a:r>
            <a:endParaRPr lang="en-US" altLang="en-US" sz="1000" dirty="0">
              <a:solidFill>
                <a:srgbClr val="000000"/>
              </a:solidFill>
              <a:latin typeface="+mn-lt"/>
            </a:endParaRPr>
          </a:p>
        </p:txBody>
      </p:sp>
      <p:sp>
        <p:nvSpPr>
          <p:cNvPr id="81" name="Text Box 22 (L)"/>
          <p:cNvSpPr txBox="1">
            <a:spLocks noChangeArrowheads="1"/>
          </p:cNvSpPr>
          <p:nvPr>
            <p:custDataLst>
              <p:tags r:id="rId3"/>
            </p:custDataLst>
          </p:nvPr>
        </p:nvSpPr>
        <p:spPr bwMode="auto">
          <a:xfrm>
            <a:off x="3970136" y="908726"/>
            <a:ext cx="860123" cy="461665"/>
          </a:xfrm>
          <a:prstGeom prst="rect">
            <a:avLst/>
          </a:prstGeom>
          <a:noFill/>
          <a:ln w="9525">
            <a:noFill/>
            <a:miter lim="800000"/>
            <a:headEnd/>
            <a:tailEnd/>
          </a:ln>
        </p:spPr>
        <p:txBody>
          <a:bodyPr wrap="square" lIns="0" tIns="0" rIns="0" bIns="0" anchor="b">
            <a:spAutoFit/>
          </a:bodyPr>
          <a:lstStyle/>
          <a:p>
            <a:pPr algn="ctr" defTabSz="986608" fontAlgn="auto">
              <a:spcBef>
                <a:spcPts val="0"/>
              </a:spcBef>
              <a:spcAft>
                <a:spcPts val="0"/>
              </a:spcAft>
              <a:defRPr/>
            </a:pPr>
            <a:r>
              <a:rPr lang="en-US" altLang="en-US" sz="1000" b="1" dirty="0">
                <a:solidFill>
                  <a:srgbClr val="000000"/>
                </a:solidFill>
                <a:latin typeface="+mn-lt"/>
              </a:rPr>
              <a:t>Jan</a:t>
            </a:r>
            <a:r>
              <a:rPr lang="en-US" altLang="en-US" sz="1000" b="1" dirty="0" smtClean="0">
                <a:solidFill>
                  <a:srgbClr val="000000"/>
                </a:solidFill>
                <a:latin typeface="+mn-lt"/>
              </a:rPr>
              <a:t>-Aug 2015</a:t>
            </a:r>
            <a:r>
              <a:rPr lang="en-US" altLang="en-US" sz="1000" b="1" dirty="0">
                <a:solidFill>
                  <a:srgbClr val="000000"/>
                </a:solidFill>
                <a:latin typeface="+mn-lt"/>
              </a:rPr>
              <a:t>:</a:t>
            </a:r>
          </a:p>
          <a:p>
            <a:pPr algn="ctr" defTabSz="986608" fontAlgn="auto">
              <a:spcBef>
                <a:spcPts val="0"/>
              </a:spcBef>
              <a:spcAft>
                <a:spcPts val="0"/>
              </a:spcAft>
              <a:defRPr/>
            </a:pPr>
            <a:r>
              <a:rPr lang="en-US" altLang="en-US" sz="1000" dirty="0">
                <a:solidFill>
                  <a:srgbClr val="000000"/>
                </a:solidFill>
                <a:latin typeface="+mn-lt"/>
              </a:rPr>
              <a:t>Trade</a:t>
            </a:r>
            <a:r>
              <a:rPr lang="en-US" altLang="en-US" sz="1000" b="1" dirty="0">
                <a:solidFill>
                  <a:srgbClr val="000000"/>
                </a:solidFill>
                <a:latin typeface="+mn-lt"/>
              </a:rPr>
              <a:t> </a:t>
            </a:r>
            <a:r>
              <a:rPr lang="en-US" altLang="en-US" sz="1000" b="1" dirty="0">
                <a:solidFill>
                  <a:srgbClr val="0000FF"/>
                </a:solidFill>
                <a:latin typeface="+mn-lt"/>
              </a:rPr>
              <a:t>Surplus</a:t>
            </a:r>
          </a:p>
          <a:p>
            <a:pPr algn="ctr" defTabSz="986608" fontAlgn="auto">
              <a:spcBef>
                <a:spcPts val="0"/>
              </a:spcBef>
              <a:spcAft>
                <a:spcPts val="0"/>
              </a:spcAft>
              <a:defRPr/>
            </a:pPr>
            <a:r>
              <a:rPr lang="en-US" altLang="en-US" sz="1000" dirty="0">
                <a:solidFill>
                  <a:srgbClr val="000000"/>
                </a:solidFill>
              </a:rPr>
              <a:t>US</a:t>
            </a:r>
            <a:r>
              <a:rPr lang="en-US" altLang="en-US" sz="1000" dirty="0" smtClean="0">
                <a:solidFill>
                  <a:srgbClr val="000000"/>
                </a:solidFill>
              </a:rPr>
              <a:t>$6,2bn</a:t>
            </a:r>
            <a:endParaRPr lang="en-US" altLang="en-US" sz="1000" dirty="0">
              <a:solidFill>
                <a:srgbClr val="000000"/>
              </a:solidFill>
            </a:endParaRPr>
          </a:p>
        </p:txBody>
      </p:sp>
      <p:sp>
        <p:nvSpPr>
          <p:cNvPr id="82" name="Right Brace 81"/>
          <p:cNvSpPr/>
          <p:nvPr/>
        </p:nvSpPr>
        <p:spPr>
          <a:xfrm rot="16200000">
            <a:off x="2234477" y="1202283"/>
            <a:ext cx="120886" cy="1123923"/>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defTabSz="986608" fontAlgn="auto">
              <a:spcBef>
                <a:spcPts val="0"/>
              </a:spcBef>
              <a:spcAft>
                <a:spcPts val="0"/>
              </a:spcAft>
              <a:defRPr/>
            </a:pPr>
            <a:endParaRPr lang="en-GB" sz="1187"/>
          </a:p>
        </p:txBody>
      </p:sp>
      <p:sp>
        <p:nvSpPr>
          <p:cNvPr id="83" name="Right Brace 82"/>
          <p:cNvSpPr/>
          <p:nvPr/>
        </p:nvSpPr>
        <p:spPr>
          <a:xfrm rot="16200000">
            <a:off x="3362942" y="1204880"/>
            <a:ext cx="166269" cy="1098004"/>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defTabSz="986608" fontAlgn="auto">
              <a:spcBef>
                <a:spcPts val="0"/>
              </a:spcBef>
              <a:spcAft>
                <a:spcPts val="0"/>
              </a:spcAft>
              <a:defRPr/>
            </a:pPr>
            <a:endParaRPr lang="en-GB" sz="1187"/>
          </a:p>
        </p:txBody>
      </p:sp>
      <p:sp>
        <p:nvSpPr>
          <p:cNvPr id="84" name="Text Box 22 (L)"/>
          <p:cNvSpPr txBox="1">
            <a:spLocks noChangeArrowheads="1"/>
          </p:cNvSpPr>
          <p:nvPr>
            <p:custDataLst>
              <p:tags r:id="rId4"/>
            </p:custDataLst>
          </p:nvPr>
        </p:nvSpPr>
        <p:spPr bwMode="auto">
          <a:xfrm>
            <a:off x="5622903" y="4373039"/>
            <a:ext cx="2887436" cy="153888"/>
          </a:xfrm>
          <a:prstGeom prst="rect">
            <a:avLst/>
          </a:prstGeom>
          <a:noFill/>
          <a:ln w="9525">
            <a:noFill/>
            <a:miter lim="800000"/>
            <a:headEnd/>
            <a:tailEnd/>
          </a:ln>
        </p:spPr>
        <p:txBody>
          <a:bodyPr wrap="square" lIns="0" tIns="0" rIns="0" bIns="0" anchor="b">
            <a:spAutoFit/>
          </a:bodyPr>
          <a:lstStyle/>
          <a:p>
            <a:pPr algn="r" defTabSz="986608" fontAlgn="auto">
              <a:spcBef>
                <a:spcPts val="0"/>
              </a:spcBef>
              <a:spcAft>
                <a:spcPts val="0"/>
              </a:spcAft>
              <a:defRPr/>
            </a:pPr>
            <a:r>
              <a:rPr lang="en-US" altLang="en-US" sz="1000" b="1" dirty="0" err="1" smtClean="0">
                <a:solidFill>
                  <a:srgbClr val="000000"/>
                </a:solidFill>
                <a:latin typeface="+mn-lt"/>
              </a:rPr>
              <a:t>Cadangan</a:t>
            </a:r>
            <a:r>
              <a:rPr lang="en-US" altLang="en-US" sz="1000" b="1" dirty="0" smtClean="0">
                <a:solidFill>
                  <a:srgbClr val="000000"/>
                </a:solidFill>
                <a:latin typeface="+mn-lt"/>
              </a:rPr>
              <a:t> </a:t>
            </a:r>
            <a:r>
              <a:rPr lang="en-US" altLang="en-US" sz="1000" b="1" dirty="0" err="1" smtClean="0">
                <a:solidFill>
                  <a:srgbClr val="000000"/>
                </a:solidFill>
                <a:latin typeface="+mn-lt"/>
              </a:rPr>
              <a:t>Devisa</a:t>
            </a:r>
            <a:r>
              <a:rPr lang="en-US" altLang="en-US" sz="1000" b="1" dirty="0" smtClean="0">
                <a:solidFill>
                  <a:srgbClr val="000000"/>
                </a:solidFill>
                <a:latin typeface="+mn-lt"/>
              </a:rPr>
              <a:t> per </a:t>
            </a:r>
            <a:r>
              <a:rPr lang="en-US" altLang="en-US" sz="1000" b="1" dirty="0" err="1" smtClean="0">
                <a:solidFill>
                  <a:srgbClr val="000000"/>
                </a:solidFill>
                <a:latin typeface="+mn-lt"/>
              </a:rPr>
              <a:t>Agustus</a:t>
            </a:r>
            <a:r>
              <a:rPr lang="en-US" altLang="en-US" sz="1000" b="1" dirty="0" smtClean="0">
                <a:solidFill>
                  <a:srgbClr val="000000"/>
                </a:solidFill>
                <a:latin typeface="+mn-lt"/>
              </a:rPr>
              <a:t> 2015: US</a:t>
            </a:r>
            <a:r>
              <a:rPr lang="en-US" altLang="en-US" sz="1000" b="1" dirty="0">
                <a:solidFill>
                  <a:srgbClr val="000000"/>
                </a:solidFill>
                <a:latin typeface="+mn-lt"/>
              </a:rPr>
              <a:t>$</a:t>
            </a:r>
            <a:r>
              <a:rPr lang="en-US" altLang="en-US" sz="1000" b="1" dirty="0" smtClean="0">
                <a:solidFill>
                  <a:srgbClr val="000000"/>
                </a:solidFill>
                <a:latin typeface="+mn-lt"/>
              </a:rPr>
              <a:t>105,3 </a:t>
            </a:r>
            <a:r>
              <a:rPr lang="en-US" altLang="en-US" sz="1000" b="1" dirty="0" err="1" smtClean="0">
                <a:solidFill>
                  <a:srgbClr val="000000"/>
                </a:solidFill>
                <a:latin typeface="+mn-lt"/>
              </a:rPr>
              <a:t>bn</a:t>
            </a:r>
            <a:endParaRPr lang="en-US" altLang="en-US" sz="1000" b="1" dirty="0">
              <a:solidFill>
                <a:srgbClr val="000000"/>
              </a:solidFill>
              <a:latin typeface="+mn-lt"/>
            </a:endParaRPr>
          </a:p>
        </p:txBody>
      </p:sp>
      <p:sp>
        <p:nvSpPr>
          <p:cNvPr id="85" name="TextBox 84"/>
          <p:cNvSpPr txBox="1"/>
          <p:nvPr/>
        </p:nvSpPr>
        <p:spPr>
          <a:xfrm>
            <a:off x="7186364" y="1063174"/>
            <a:ext cx="1896456" cy="738664"/>
          </a:xfrm>
          <a:prstGeom prst="rect">
            <a:avLst/>
          </a:prstGeom>
          <a:noFill/>
        </p:spPr>
        <p:txBody>
          <a:bodyPr wrap="square" rtlCol="0">
            <a:spAutoFit/>
          </a:bodyPr>
          <a:lstStyle/>
          <a:p>
            <a:pPr algn="r"/>
            <a:r>
              <a:rPr lang="en-US" sz="1000" b="1" dirty="0" smtClean="0"/>
              <a:t>Q2-2015</a:t>
            </a:r>
          </a:p>
          <a:p>
            <a:pPr algn="r"/>
            <a:r>
              <a:rPr lang="en-US" sz="800" dirty="0" smtClean="0"/>
              <a:t>Total </a:t>
            </a:r>
            <a:r>
              <a:rPr lang="en-US" sz="800" dirty="0" err="1" smtClean="0"/>
              <a:t>Investasi</a:t>
            </a:r>
            <a:r>
              <a:rPr lang="en-US" sz="800" dirty="0" smtClean="0"/>
              <a:t> </a:t>
            </a:r>
            <a:r>
              <a:rPr lang="en-US" sz="800" dirty="0" err="1" smtClean="0"/>
              <a:t>Langsung</a:t>
            </a:r>
            <a:r>
              <a:rPr lang="en-US" sz="800" dirty="0" smtClean="0"/>
              <a:t> </a:t>
            </a:r>
            <a:r>
              <a:rPr lang="en-US" sz="800" dirty="0" err="1" smtClean="0"/>
              <a:t>Naik</a:t>
            </a:r>
            <a:r>
              <a:rPr lang="en-US" sz="800" dirty="0" smtClean="0"/>
              <a:t> 16,3% (</a:t>
            </a:r>
            <a:r>
              <a:rPr lang="en-US" sz="800" dirty="0" err="1" smtClean="0"/>
              <a:t>YoY</a:t>
            </a:r>
            <a:r>
              <a:rPr lang="en-US" sz="800" dirty="0" smtClean="0"/>
              <a:t>)</a:t>
            </a:r>
          </a:p>
          <a:p>
            <a:pPr algn="r"/>
            <a:r>
              <a:rPr lang="en-US" sz="800" dirty="0" smtClean="0"/>
              <a:t>PMA </a:t>
            </a:r>
            <a:r>
              <a:rPr lang="en-US" sz="800" dirty="0" err="1" smtClean="0"/>
              <a:t>Naik</a:t>
            </a:r>
            <a:r>
              <a:rPr lang="en-US" sz="800" dirty="0" smtClean="0"/>
              <a:t> </a:t>
            </a:r>
            <a:r>
              <a:rPr lang="en-US" sz="800" dirty="0"/>
              <a:t>1</a:t>
            </a:r>
            <a:r>
              <a:rPr lang="en-US" sz="800" dirty="0" smtClean="0"/>
              <a:t>8,2% (</a:t>
            </a:r>
            <a:r>
              <a:rPr lang="en-US" sz="800" dirty="0" err="1" smtClean="0"/>
              <a:t>YoY</a:t>
            </a:r>
            <a:r>
              <a:rPr lang="en-US" sz="800" dirty="0" smtClean="0"/>
              <a:t>)</a:t>
            </a:r>
          </a:p>
          <a:p>
            <a:pPr algn="r"/>
            <a:r>
              <a:rPr lang="en-US" sz="800" dirty="0" smtClean="0"/>
              <a:t>PMDN </a:t>
            </a:r>
            <a:r>
              <a:rPr lang="en-US" sz="800" dirty="0" err="1" smtClean="0"/>
              <a:t>Naik</a:t>
            </a:r>
            <a:r>
              <a:rPr lang="en-US" sz="800" dirty="0" smtClean="0"/>
              <a:t> 16,1% </a:t>
            </a:r>
            <a:r>
              <a:rPr lang="en-US" sz="800" dirty="0"/>
              <a:t>(</a:t>
            </a:r>
            <a:r>
              <a:rPr lang="en-US" sz="800" dirty="0" err="1"/>
              <a:t>YoY</a:t>
            </a:r>
            <a:r>
              <a:rPr lang="en-US" sz="800" dirty="0" smtClean="0"/>
              <a:t>)</a:t>
            </a:r>
            <a:endParaRPr lang="en-US" sz="800" dirty="0"/>
          </a:p>
        </p:txBody>
      </p:sp>
      <p:sp>
        <p:nvSpPr>
          <p:cNvPr id="86" name="TextBox 9"/>
          <p:cNvSpPr txBox="1">
            <a:spLocks noChangeArrowheads="1"/>
          </p:cNvSpPr>
          <p:nvPr/>
        </p:nvSpPr>
        <p:spPr bwMode="auto">
          <a:xfrm>
            <a:off x="3000200" y="6438617"/>
            <a:ext cx="1168910" cy="205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38" b="1" i="1" dirty="0" err="1">
                <a:latin typeface="Calibri"/>
                <a:cs typeface="Calibri"/>
              </a:rPr>
              <a:t>Sumber</a:t>
            </a:r>
            <a:r>
              <a:rPr lang="en-US" sz="738" b="1" i="1" dirty="0">
                <a:latin typeface="Calibri"/>
                <a:cs typeface="Calibri"/>
              </a:rPr>
              <a:t>: BPS</a:t>
            </a:r>
            <a:r>
              <a:rPr lang="id-ID" sz="738" b="1" i="1" dirty="0">
                <a:latin typeface="Calibri"/>
                <a:cs typeface="Calibri"/>
              </a:rPr>
              <a:t>, data diolah</a:t>
            </a:r>
            <a:endParaRPr lang="en-US" sz="738" b="1" i="1" dirty="0">
              <a:latin typeface="Calibri"/>
              <a:cs typeface="Calibri"/>
            </a:endParaRPr>
          </a:p>
        </p:txBody>
      </p:sp>
      <p:sp>
        <p:nvSpPr>
          <p:cNvPr id="87" name="TextBox 20"/>
          <p:cNvSpPr txBox="1">
            <a:spLocks noChangeArrowheads="1"/>
          </p:cNvSpPr>
          <p:nvPr/>
        </p:nvSpPr>
        <p:spPr bwMode="auto">
          <a:xfrm>
            <a:off x="118585" y="3905959"/>
            <a:ext cx="2319815" cy="262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r>
              <a:rPr lang="id-ID" sz="1108" b="1" dirty="0">
                <a:latin typeface="Calibri"/>
                <a:cs typeface="Calibri"/>
              </a:rPr>
              <a:t>Pergerakan Inflasi 2014 vs 2015</a:t>
            </a:r>
          </a:p>
        </p:txBody>
      </p:sp>
      <p:cxnSp>
        <p:nvCxnSpPr>
          <p:cNvPr id="88" name="Straight Connector 87"/>
          <p:cNvCxnSpPr/>
          <p:nvPr/>
        </p:nvCxnSpPr>
        <p:spPr>
          <a:xfrm>
            <a:off x="185051" y="4193985"/>
            <a:ext cx="2023065" cy="0"/>
          </a:xfrm>
          <a:prstGeom prst="line">
            <a:avLst/>
          </a:prstGeom>
          <a:ln w="28575" cmpd="sng">
            <a:gradFill flip="none" rotWithShape="1">
              <a:gsLst>
                <a:gs pos="0">
                  <a:schemeClr val="accent5">
                    <a:lumMod val="75000"/>
                  </a:schemeClr>
                </a:gs>
                <a:gs pos="100000">
                  <a:schemeClr val="bg1"/>
                </a:gs>
              </a:gsLst>
              <a:lin ang="0" scaled="1"/>
              <a:tileRect/>
            </a:gradFill>
          </a:ln>
        </p:spPr>
        <p:style>
          <a:lnRef idx="2">
            <a:schemeClr val="accent1"/>
          </a:lnRef>
          <a:fillRef idx="0">
            <a:schemeClr val="accent1"/>
          </a:fillRef>
          <a:effectRef idx="1">
            <a:schemeClr val="accent1"/>
          </a:effectRef>
          <a:fontRef idx="minor">
            <a:schemeClr val="tx1"/>
          </a:fontRef>
        </p:style>
      </p:cxnSp>
      <p:sp>
        <p:nvSpPr>
          <p:cNvPr id="89" name="TextBox 9"/>
          <p:cNvSpPr txBox="1">
            <a:spLocks noChangeArrowheads="1"/>
          </p:cNvSpPr>
          <p:nvPr/>
        </p:nvSpPr>
        <p:spPr bwMode="auto">
          <a:xfrm>
            <a:off x="4126345" y="3710539"/>
            <a:ext cx="699230" cy="205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38" b="1" i="1" dirty="0" err="1">
                <a:latin typeface="Calibri"/>
                <a:cs typeface="Calibri"/>
              </a:rPr>
              <a:t>Sumber</a:t>
            </a:r>
            <a:r>
              <a:rPr lang="en-US" sz="738" b="1" i="1" dirty="0">
                <a:latin typeface="Calibri"/>
                <a:cs typeface="Calibri"/>
              </a:rPr>
              <a:t>: BPS</a:t>
            </a:r>
            <a:r>
              <a:rPr lang="id-ID" sz="738" b="1" i="1" dirty="0" smtClean="0">
                <a:latin typeface="Calibri"/>
                <a:cs typeface="Calibri"/>
              </a:rPr>
              <a:t>,</a:t>
            </a:r>
            <a:endParaRPr lang="en-US" sz="738" b="1" i="1" dirty="0">
              <a:latin typeface="Calibri"/>
              <a:cs typeface="Calibri"/>
            </a:endParaRPr>
          </a:p>
        </p:txBody>
      </p:sp>
      <p:sp>
        <p:nvSpPr>
          <p:cNvPr id="90" name="TextBox 9"/>
          <p:cNvSpPr txBox="1">
            <a:spLocks noChangeArrowheads="1"/>
          </p:cNvSpPr>
          <p:nvPr/>
        </p:nvSpPr>
        <p:spPr bwMode="auto">
          <a:xfrm>
            <a:off x="5624652" y="6498910"/>
            <a:ext cx="1128835" cy="205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738" b="1" i="1" dirty="0" err="1">
                <a:latin typeface="Calibri"/>
                <a:cs typeface="Calibri"/>
              </a:rPr>
              <a:t>Sumber</a:t>
            </a:r>
            <a:r>
              <a:rPr lang="en-US" sz="738" b="1" i="1" dirty="0">
                <a:latin typeface="Calibri"/>
                <a:cs typeface="Calibri"/>
              </a:rPr>
              <a:t>: </a:t>
            </a:r>
            <a:r>
              <a:rPr lang="en-US" sz="738" b="1" i="1" dirty="0" smtClean="0">
                <a:latin typeface="Calibri"/>
                <a:cs typeface="Calibri"/>
              </a:rPr>
              <a:t>Bank Indonesia</a:t>
            </a:r>
            <a:endParaRPr lang="en-US" sz="738" b="1" i="1" dirty="0">
              <a:latin typeface="Calibri"/>
              <a:cs typeface="Calibri"/>
            </a:endParaRPr>
          </a:p>
        </p:txBody>
      </p:sp>
      <p:sp>
        <p:nvSpPr>
          <p:cNvPr id="91" name="TextBox 90"/>
          <p:cNvSpPr txBox="1"/>
          <p:nvPr/>
        </p:nvSpPr>
        <p:spPr>
          <a:xfrm>
            <a:off x="3772552" y="3022459"/>
            <a:ext cx="1129972" cy="553998"/>
          </a:xfrm>
          <a:prstGeom prst="rect">
            <a:avLst/>
          </a:prstGeom>
          <a:noFill/>
        </p:spPr>
        <p:txBody>
          <a:bodyPr wrap="square" rtlCol="0">
            <a:spAutoFit/>
          </a:bodyPr>
          <a:lstStyle/>
          <a:p>
            <a:pPr algn="r"/>
            <a:r>
              <a:rPr lang="en-US" sz="1000" dirty="0" smtClean="0"/>
              <a:t>Aug Trade Surplus: US$0,44Bn</a:t>
            </a:r>
            <a:endParaRPr lang="en-US" sz="1000" dirty="0"/>
          </a:p>
        </p:txBody>
      </p:sp>
      <p:sp>
        <p:nvSpPr>
          <p:cNvPr id="92" name="Rectangle 91"/>
          <p:cNvSpPr/>
          <p:nvPr/>
        </p:nvSpPr>
        <p:spPr>
          <a:xfrm>
            <a:off x="4173186" y="3977961"/>
            <a:ext cx="997034" cy="2520280"/>
          </a:xfrm>
          <a:prstGeom prst="rect">
            <a:avLst/>
          </a:prstGeom>
          <a:pattFill prst="ltDnDiag">
            <a:fgClr>
              <a:schemeClr val="accent5">
                <a:lumMod val="75000"/>
              </a:schemeClr>
            </a:fgClr>
            <a:bgClr>
              <a:schemeClr val="bg1"/>
            </a:bgClr>
          </a:patt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3" name="Rectangle 92"/>
          <p:cNvSpPr/>
          <p:nvPr/>
        </p:nvSpPr>
        <p:spPr>
          <a:xfrm>
            <a:off x="4239655" y="4049969"/>
            <a:ext cx="864096" cy="2585323"/>
          </a:xfrm>
          <a:prstGeom prst="rect">
            <a:avLst/>
          </a:prstGeom>
          <a:solidFill>
            <a:schemeClr val="bg1">
              <a:alpha val="80000"/>
            </a:schemeClr>
          </a:solidFill>
        </p:spPr>
        <p:txBody>
          <a:bodyPr wrap="square">
            <a:spAutoFit/>
          </a:bodyPr>
          <a:lstStyle/>
          <a:p>
            <a:pPr marL="55563" lvl="1">
              <a:lnSpc>
                <a:spcPct val="150000"/>
              </a:lnSpc>
            </a:pPr>
            <a:r>
              <a:rPr lang="en-US" sz="900" b="1" dirty="0" smtClean="0">
                <a:solidFill>
                  <a:srgbClr val="000000"/>
                </a:solidFill>
                <a:cs typeface="Calibri"/>
              </a:rPr>
              <a:t>Aug Inflation</a:t>
            </a:r>
            <a:r>
              <a:rPr lang="id-ID" sz="900" dirty="0" smtClean="0">
                <a:solidFill>
                  <a:srgbClr val="000000"/>
                </a:solidFill>
                <a:cs typeface="Calibri"/>
              </a:rPr>
              <a:t> </a:t>
            </a:r>
            <a:r>
              <a:rPr lang="id-ID" sz="900" b="1" dirty="0" smtClean="0">
                <a:solidFill>
                  <a:srgbClr val="000000"/>
                </a:solidFill>
                <a:cs typeface="Calibri"/>
              </a:rPr>
              <a:t>0</a:t>
            </a:r>
            <a:r>
              <a:rPr lang="en-US" sz="900" b="1" dirty="0" smtClean="0">
                <a:solidFill>
                  <a:srgbClr val="000000"/>
                </a:solidFill>
                <a:cs typeface="Calibri"/>
              </a:rPr>
              <a:t>,39% </a:t>
            </a:r>
            <a:r>
              <a:rPr lang="id-ID" sz="900" b="1" dirty="0">
                <a:solidFill>
                  <a:srgbClr val="000000"/>
                </a:solidFill>
                <a:cs typeface="Calibri"/>
              </a:rPr>
              <a:t>(</a:t>
            </a:r>
            <a:r>
              <a:rPr lang="en-US" sz="900" b="1" i="1" dirty="0" err="1">
                <a:solidFill>
                  <a:srgbClr val="000000"/>
                </a:solidFill>
                <a:cs typeface="Calibri"/>
              </a:rPr>
              <a:t>mtm</a:t>
            </a:r>
            <a:r>
              <a:rPr lang="id-ID" sz="900" b="1" dirty="0">
                <a:solidFill>
                  <a:srgbClr val="000000"/>
                </a:solidFill>
                <a:cs typeface="Calibri"/>
              </a:rPr>
              <a:t>); </a:t>
            </a:r>
            <a:r>
              <a:rPr lang="id-ID" sz="900" b="1" dirty="0" smtClean="0">
                <a:solidFill>
                  <a:srgbClr val="000000"/>
                </a:solidFill>
                <a:cs typeface="Calibri"/>
              </a:rPr>
              <a:t>7</a:t>
            </a:r>
            <a:r>
              <a:rPr lang="en-US" sz="900" b="1" dirty="0" smtClean="0">
                <a:solidFill>
                  <a:srgbClr val="000000"/>
                </a:solidFill>
                <a:cs typeface="Calibri"/>
              </a:rPr>
              <a:t>,18%</a:t>
            </a:r>
            <a:r>
              <a:rPr lang="id-ID" sz="900" b="1" dirty="0">
                <a:solidFill>
                  <a:srgbClr val="000000"/>
                </a:solidFill>
                <a:cs typeface="Calibri"/>
              </a:rPr>
              <a:t>(</a:t>
            </a:r>
            <a:r>
              <a:rPr lang="id-ID" sz="900" b="1" i="1" dirty="0">
                <a:solidFill>
                  <a:srgbClr val="000000"/>
                </a:solidFill>
                <a:cs typeface="Calibri"/>
              </a:rPr>
              <a:t>yoy</a:t>
            </a:r>
            <a:r>
              <a:rPr lang="id-ID" sz="900" b="1" dirty="0">
                <a:solidFill>
                  <a:srgbClr val="000000"/>
                </a:solidFill>
                <a:cs typeface="Calibri"/>
              </a:rPr>
              <a:t>)</a:t>
            </a:r>
            <a:r>
              <a:rPr lang="en-US" sz="900" b="1" dirty="0">
                <a:solidFill>
                  <a:srgbClr val="000000"/>
                </a:solidFill>
                <a:cs typeface="Calibri"/>
              </a:rPr>
              <a:t>; </a:t>
            </a:r>
            <a:r>
              <a:rPr lang="en-US" sz="900" b="1" dirty="0" smtClean="0">
                <a:solidFill>
                  <a:srgbClr val="000000"/>
                </a:solidFill>
                <a:cs typeface="Calibri"/>
              </a:rPr>
              <a:t>2,29%</a:t>
            </a:r>
            <a:r>
              <a:rPr lang="id-ID" sz="900" b="1" dirty="0" smtClean="0">
                <a:solidFill>
                  <a:srgbClr val="000000"/>
                </a:solidFill>
                <a:cs typeface="Calibri"/>
              </a:rPr>
              <a:t> </a:t>
            </a:r>
            <a:r>
              <a:rPr lang="id-ID" sz="900" b="1" dirty="0">
                <a:solidFill>
                  <a:srgbClr val="000000"/>
                </a:solidFill>
                <a:cs typeface="Calibri"/>
              </a:rPr>
              <a:t>(</a:t>
            </a:r>
            <a:r>
              <a:rPr lang="id-ID" sz="900" b="1" i="1" dirty="0">
                <a:solidFill>
                  <a:srgbClr val="000000"/>
                </a:solidFill>
                <a:cs typeface="Calibri"/>
              </a:rPr>
              <a:t>ytd</a:t>
            </a:r>
            <a:r>
              <a:rPr lang="id-ID" sz="900" b="1" dirty="0" smtClean="0">
                <a:solidFill>
                  <a:srgbClr val="000000"/>
                </a:solidFill>
                <a:cs typeface="Calibri"/>
              </a:rPr>
              <a:t>)</a:t>
            </a:r>
            <a:r>
              <a:rPr lang="id-ID" sz="900" dirty="0" smtClean="0">
                <a:solidFill>
                  <a:srgbClr val="000000"/>
                </a:solidFill>
                <a:cs typeface="Calibri"/>
              </a:rPr>
              <a:t>.</a:t>
            </a:r>
          </a:p>
          <a:p>
            <a:pPr marL="55563" lvl="1">
              <a:lnSpc>
                <a:spcPct val="150000"/>
              </a:lnSpc>
            </a:pPr>
            <a:r>
              <a:rPr lang="en-US" sz="900" dirty="0" smtClean="0">
                <a:solidFill>
                  <a:srgbClr val="000000"/>
                </a:solidFill>
                <a:cs typeface="Calibri"/>
              </a:rPr>
              <a:t> </a:t>
            </a:r>
            <a:endParaRPr lang="en-US" sz="900" dirty="0">
              <a:solidFill>
                <a:srgbClr val="000000"/>
              </a:solidFill>
              <a:cs typeface="Calibri"/>
            </a:endParaRPr>
          </a:p>
          <a:p>
            <a:pPr marL="55563" lvl="1">
              <a:lnSpc>
                <a:spcPct val="150000"/>
              </a:lnSpc>
            </a:pPr>
            <a:r>
              <a:rPr lang="en-US" sz="900" b="1" i="1" dirty="0">
                <a:solidFill>
                  <a:srgbClr val="000000"/>
                </a:solidFill>
                <a:cs typeface="Calibri"/>
              </a:rPr>
              <a:t>Core </a:t>
            </a:r>
            <a:endParaRPr lang="en-US" sz="900" b="1" i="1" dirty="0" smtClean="0">
              <a:solidFill>
                <a:srgbClr val="000000"/>
              </a:solidFill>
              <a:cs typeface="Calibri"/>
            </a:endParaRPr>
          </a:p>
          <a:p>
            <a:pPr marL="55563" lvl="1">
              <a:lnSpc>
                <a:spcPct val="150000"/>
              </a:lnSpc>
            </a:pPr>
            <a:r>
              <a:rPr lang="id-ID" sz="900" dirty="0" smtClean="0">
                <a:solidFill>
                  <a:srgbClr val="000000"/>
                </a:solidFill>
                <a:cs typeface="Calibri"/>
              </a:rPr>
              <a:t>4,92</a:t>
            </a:r>
            <a:r>
              <a:rPr lang="en-US" sz="900" dirty="0" smtClean="0">
                <a:solidFill>
                  <a:srgbClr val="000000"/>
                </a:solidFill>
                <a:cs typeface="Calibri"/>
              </a:rPr>
              <a:t>% (</a:t>
            </a:r>
            <a:r>
              <a:rPr lang="en-US" sz="900" i="1" dirty="0" err="1" smtClean="0">
                <a:solidFill>
                  <a:srgbClr val="000000"/>
                </a:solidFill>
                <a:cs typeface="Calibri"/>
              </a:rPr>
              <a:t>yoy</a:t>
            </a:r>
            <a:r>
              <a:rPr lang="en-US" sz="900" dirty="0" smtClean="0">
                <a:solidFill>
                  <a:srgbClr val="000000"/>
                </a:solidFill>
                <a:cs typeface="Calibri"/>
              </a:rPr>
              <a:t>)</a:t>
            </a:r>
            <a:r>
              <a:rPr lang="en-US" sz="900" b="1" dirty="0" smtClean="0">
                <a:solidFill>
                  <a:srgbClr val="000000"/>
                </a:solidFill>
                <a:cs typeface="Calibri"/>
              </a:rPr>
              <a:t>, </a:t>
            </a:r>
            <a:r>
              <a:rPr lang="en-US" sz="900" b="1" i="1" dirty="0" smtClean="0">
                <a:solidFill>
                  <a:srgbClr val="000000"/>
                </a:solidFill>
                <a:cs typeface="Calibri"/>
              </a:rPr>
              <a:t>Admin</a:t>
            </a:r>
            <a:r>
              <a:rPr lang="id-ID" sz="900" b="1" i="1" dirty="0" smtClean="0">
                <a:solidFill>
                  <a:srgbClr val="000000"/>
                </a:solidFill>
                <a:cs typeface="Calibri"/>
              </a:rPr>
              <a:t> P</a:t>
            </a:r>
            <a:r>
              <a:rPr lang="id-ID" sz="900" i="1" dirty="0" smtClean="0">
                <a:solidFill>
                  <a:srgbClr val="000000"/>
                </a:solidFill>
                <a:cs typeface="Calibri"/>
              </a:rPr>
              <a:t>. </a:t>
            </a:r>
            <a:r>
              <a:rPr lang="en-US" sz="900" dirty="0" smtClean="0">
                <a:solidFill>
                  <a:srgbClr val="000000"/>
                </a:solidFill>
                <a:cs typeface="Calibri"/>
              </a:rPr>
              <a:t>: </a:t>
            </a:r>
            <a:r>
              <a:rPr lang="id-ID" sz="900" dirty="0" smtClean="0">
                <a:solidFill>
                  <a:srgbClr val="000000"/>
                </a:solidFill>
                <a:cs typeface="Calibri"/>
              </a:rPr>
              <a:t>1</a:t>
            </a:r>
            <a:r>
              <a:rPr lang="en-US" sz="900" dirty="0" smtClean="0">
                <a:solidFill>
                  <a:srgbClr val="000000"/>
                </a:solidFill>
                <a:cs typeface="Calibri"/>
              </a:rPr>
              <a:t>2,32%</a:t>
            </a:r>
            <a:r>
              <a:rPr lang="id-ID" sz="900" dirty="0" smtClean="0">
                <a:solidFill>
                  <a:srgbClr val="000000"/>
                </a:solidFill>
                <a:cs typeface="Calibri"/>
              </a:rPr>
              <a:t> </a:t>
            </a:r>
            <a:r>
              <a:rPr lang="en-US" sz="900" dirty="0" smtClean="0">
                <a:solidFill>
                  <a:srgbClr val="000000"/>
                </a:solidFill>
                <a:cs typeface="Calibri"/>
              </a:rPr>
              <a:t>(</a:t>
            </a:r>
            <a:r>
              <a:rPr lang="en-US" sz="900" i="1" dirty="0" err="1" smtClean="0">
                <a:solidFill>
                  <a:srgbClr val="000000"/>
                </a:solidFill>
                <a:cs typeface="Calibri"/>
              </a:rPr>
              <a:t>yoy</a:t>
            </a:r>
            <a:r>
              <a:rPr lang="en-US" sz="900" dirty="0" smtClean="0">
                <a:solidFill>
                  <a:srgbClr val="000000"/>
                </a:solidFill>
                <a:cs typeface="Calibri"/>
              </a:rPr>
              <a:t>), </a:t>
            </a:r>
            <a:r>
              <a:rPr lang="en-US" sz="900" b="1" i="1" dirty="0" smtClean="0">
                <a:solidFill>
                  <a:srgbClr val="000000"/>
                </a:solidFill>
                <a:cs typeface="Calibri"/>
              </a:rPr>
              <a:t>Volatile</a:t>
            </a:r>
            <a:r>
              <a:rPr lang="id-ID" sz="900" b="1" i="1" dirty="0" smtClean="0">
                <a:solidFill>
                  <a:srgbClr val="000000"/>
                </a:solidFill>
                <a:cs typeface="Calibri"/>
              </a:rPr>
              <a:t> F</a:t>
            </a:r>
            <a:r>
              <a:rPr lang="id-ID" sz="900" i="1" dirty="0" smtClean="0">
                <a:solidFill>
                  <a:srgbClr val="000000"/>
                </a:solidFill>
                <a:cs typeface="Calibri"/>
              </a:rPr>
              <a:t>. </a:t>
            </a:r>
            <a:r>
              <a:rPr lang="en-US" sz="900" dirty="0" smtClean="0">
                <a:solidFill>
                  <a:srgbClr val="000000"/>
                </a:solidFill>
                <a:cs typeface="Calibri"/>
              </a:rPr>
              <a:t>: 9,65% (</a:t>
            </a:r>
            <a:r>
              <a:rPr lang="en-US" sz="900" i="1" dirty="0" err="1" smtClean="0">
                <a:solidFill>
                  <a:srgbClr val="000000"/>
                </a:solidFill>
                <a:cs typeface="Calibri"/>
              </a:rPr>
              <a:t>yoy</a:t>
            </a:r>
            <a:r>
              <a:rPr lang="en-US" sz="900" dirty="0" smtClean="0">
                <a:solidFill>
                  <a:srgbClr val="000000"/>
                </a:solidFill>
                <a:cs typeface="Calibri"/>
              </a:rPr>
              <a:t>)</a:t>
            </a:r>
            <a:r>
              <a:rPr lang="id-ID" sz="900" dirty="0" smtClean="0">
                <a:solidFill>
                  <a:srgbClr val="000000"/>
                </a:solidFill>
                <a:cs typeface="Calibri"/>
              </a:rPr>
              <a:t>.</a:t>
            </a:r>
            <a:endParaRPr lang="id-ID" sz="900" dirty="0">
              <a:solidFill>
                <a:srgbClr val="000000"/>
              </a:solidFill>
              <a:cs typeface="Calibri"/>
            </a:endParaRPr>
          </a:p>
        </p:txBody>
      </p:sp>
      <p:pic>
        <p:nvPicPr>
          <p:cNvPr id="94" name="Picture 93"/>
          <p:cNvPicPr>
            <a:picLocks noChangeAspect="1"/>
          </p:cNvPicPr>
          <p:nvPr/>
        </p:nvPicPr>
        <p:blipFill>
          <a:blip r:embed="rId10"/>
          <a:stretch>
            <a:fillRect/>
          </a:stretch>
        </p:blipFill>
        <p:spPr>
          <a:xfrm>
            <a:off x="0" y="4275873"/>
            <a:ext cx="4140476" cy="2190366"/>
          </a:xfrm>
          <a:prstGeom prst="rect">
            <a:avLst/>
          </a:prstGeom>
        </p:spPr>
      </p:pic>
      <p:sp>
        <p:nvSpPr>
          <p:cNvPr id="96" name="Right Brace 95"/>
          <p:cNvSpPr/>
          <p:nvPr/>
        </p:nvSpPr>
        <p:spPr>
          <a:xfrm rot="16200000">
            <a:off x="1017493" y="1183254"/>
            <a:ext cx="152242" cy="120460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defTabSz="986608" fontAlgn="auto">
              <a:spcBef>
                <a:spcPts val="0"/>
              </a:spcBef>
              <a:spcAft>
                <a:spcPts val="0"/>
              </a:spcAft>
              <a:defRPr/>
            </a:pPr>
            <a:endParaRPr lang="en-GB" sz="1187"/>
          </a:p>
        </p:txBody>
      </p:sp>
      <p:sp>
        <p:nvSpPr>
          <p:cNvPr id="97" name="Text Box 22 (L)"/>
          <p:cNvSpPr txBox="1">
            <a:spLocks noChangeArrowheads="1"/>
          </p:cNvSpPr>
          <p:nvPr>
            <p:custDataLst>
              <p:tags r:id="rId5"/>
            </p:custDataLst>
          </p:nvPr>
        </p:nvSpPr>
        <p:spPr bwMode="auto">
          <a:xfrm>
            <a:off x="555527" y="1212950"/>
            <a:ext cx="1011291" cy="461665"/>
          </a:xfrm>
          <a:prstGeom prst="rect">
            <a:avLst/>
          </a:prstGeom>
          <a:noFill/>
          <a:ln w="9525">
            <a:noFill/>
            <a:miter lim="800000"/>
            <a:headEnd/>
            <a:tailEnd/>
          </a:ln>
        </p:spPr>
        <p:txBody>
          <a:bodyPr wrap="square" lIns="0" tIns="0" rIns="0" bIns="0" anchor="b">
            <a:spAutoFit/>
          </a:bodyPr>
          <a:lstStyle/>
          <a:p>
            <a:pPr algn="ctr" defTabSz="986608" fontAlgn="auto">
              <a:spcBef>
                <a:spcPts val="0"/>
              </a:spcBef>
              <a:spcAft>
                <a:spcPts val="0"/>
              </a:spcAft>
              <a:defRPr/>
            </a:pPr>
            <a:r>
              <a:rPr lang="en-US" altLang="en-US" sz="1000" b="1" dirty="0" smtClean="0">
                <a:solidFill>
                  <a:srgbClr val="000000"/>
                </a:solidFill>
                <a:latin typeface="+mn-lt"/>
              </a:rPr>
              <a:t>2012: </a:t>
            </a:r>
            <a:endParaRPr lang="en-US" altLang="en-US" sz="1000" b="1" dirty="0">
              <a:solidFill>
                <a:srgbClr val="000000"/>
              </a:solidFill>
              <a:latin typeface="+mn-lt"/>
            </a:endParaRPr>
          </a:p>
          <a:p>
            <a:pPr algn="ctr" defTabSz="986608" fontAlgn="auto">
              <a:spcBef>
                <a:spcPts val="0"/>
              </a:spcBef>
              <a:spcAft>
                <a:spcPts val="0"/>
              </a:spcAft>
              <a:defRPr/>
            </a:pPr>
            <a:r>
              <a:rPr lang="en-US" altLang="en-US" sz="1000" dirty="0">
                <a:solidFill>
                  <a:srgbClr val="000000"/>
                </a:solidFill>
                <a:latin typeface="+mn-lt"/>
              </a:rPr>
              <a:t>Trade </a:t>
            </a:r>
            <a:r>
              <a:rPr lang="en-US" altLang="en-US" sz="1000" b="1" dirty="0">
                <a:solidFill>
                  <a:srgbClr val="FF0000"/>
                </a:solidFill>
                <a:latin typeface="+mn-lt"/>
              </a:rPr>
              <a:t>Deficit</a:t>
            </a:r>
            <a:br>
              <a:rPr lang="en-US" altLang="en-US" sz="1000" b="1" dirty="0">
                <a:solidFill>
                  <a:srgbClr val="FF0000"/>
                </a:solidFill>
                <a:latin typeface="+mn-lt"/>
              </a:rPr>
            </a:br>
            <a:r>
              <a:rPr lang="en-US" altLang="en-US" sz="1000" dirty="0">
                <a:solidFill>
                  <a:srgbClr val="000000"/>
                </a:solidFill>
                <a:latin typeface="+mn-lt"/>
              </a:rPr>
              <a:t>US</a:t>
            </a:r>
            <a:r>
              <a:rPr lang="en-US" altLang="en-US" sz="1000" dirty="0" smtClean="0">
                <a:solidFill>
                  <a:srgbClr val="000000"/>
                </a:solidFill>
                <a:latin typeface="+mn-lt"/>
              </a:rPr>
              <a:t>$1.66bn</a:t>
            </a:r>
            <a:endParaRPr lang="en-US" altLang="en-US" sz="1000" dirty="0">
              <a:solidFill>
                <a:srgbClr val="000000"/>
              </a:solidFill>
              <a:latin typeface="+mn-lt"/>
            </a:endParaRPr>
          </a:p>
        </p:txBody>
      </p:sp>
      <p:sp>
        <p:nvSpPr>
          <p:cNvPr id="39" name="Slide Number Placeholder 3"/>
          <p:cNvSpPr txBox="1">
            <a:spLocks/>
          </p:cNvSpPr>
          <p:nvPr/>
        </p:nvSpPr>
        <p:spPr>
          <a:xfrm>
            <a:off x="0" y="6494738"/>
            <a:ext cx="676663" cy="36326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2C441B-0EFA-4044-BD8E-5D2A6FCD95FF}" type="slidenum">
              <a:rPr lang="id-ID" sz="1400" b="1" smtClean="0">
                <a:solidFill>
                  <a:schemeClr val="bg1"/>
                </a:solidFill>
              </a:rPr>
              <a:pPr/>
              <a:t>29</a:t>
            </a:fld>
            <a:endParaRPr lang="id-ID" sz="1400" b="1" dirty="0">
              <a:solidFill>
                <a:schemeClr val="bg1"/>
              </a:solidFill>
            </a:endParaRPr>
          </a:p>
        </p:txBody>
      </p:sp>
    </p:spTree>
    <p:extLst>
      <p:ext uri="{BB962C8B-B14F-4D97-AF65-F5344CB8AC3E}">
        <p14:creationId xmlns:p14="http://schemas.microsoft.com/office/powerpoint/2010/main" val="19193663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1"/>
          <p:cNvSpPr>
            <a:spLocks noChangeArrowheads="1"/>
          </p:cNvSpPr>
          <p:nvPr/>
        </p:nvSpPr>
        <p:spPr bwMode="auto">
          <a:xfrm>
            <a:off x="2506663" y="2438400"/>
            <a:ext cx="5494337"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id-ID" sz="4400" b="1" dirty="0" err="1" smtClean="0">
                <a:solidFill>
                  <a:srgbClr val="333399"/>
                </a:solidFill>
                <a:latin typeface="Franklin Gothic Medium Cond" pitchFamily="34" charset="0"/>
              </a:rPr>
              <a:t>Tantangan</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Eksternal</a:t>
            </a:r>
            <a:r>
              <a:rPr lang="id-ID" altLang="id-ID" sz="4400" b="1" dirty="0" smtClean="0">
                <a:solidFill>
                  <a:srgbClr val="333399"/>
                </a:solidFill>
                <a:latin typeface="Franklin Gothic Medium Cond" pitchFamily="34" charset="0"/>
              </a:rPr>
              <a:t> </a:t>
            </a:r>
          </a:p>
          <a:p>
            <a:pPr eaLnBrk="1" hangingPunct="1"/>
            <a:r>
              <a:rPr lang="id-ID" altLang="id-ID" sz="4400" b="1" dirty="0" smtClean="0">
                <a:solidFill>
                  <a:srgbClr val="333399"/>
                </a:solidFill>
                <a:latin typeface="Franklin Gothic Medium Cond" pitchFamily="34" charset="0"/>
              </a:rPr>
              <a:t>Dan Risiko yang Dihadapi </a:t>
            </a:r>
            <a:endParaRPr lang="en-US" altLang="id-ID" sz="4400" b="1" dirty="0">
              <a:solidFill>
                <a:srgbClr val="333399"/>
              </a:solidFill>
              <a:latin typeface="Franklin Gothic Medium Cond" pitchFamily="34" charset="0"/>
            </a:endParaRPr>
          </a:p>
        </p:txBody>
      </p:sp>
      <p:sp>
        <p:nvSpPr>
          <p:cNvPr id="3" name="Rectangle 2"/>
          <p:cNvSpPr/>
          <p:nvPr/>
        </p:nvSpPr>
        <p:spPr>
          <a:xfrm>
            <a:off x="2528888" y="21463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26" name="Picture 2" descr="https://encrypted-tbn3.gstatic.com/images?q=tbn:ANd9GcT3_bcJQ2gQiMx0q32zASCHQJIOt6HZZHluc-sUBZeTHClfQszm-3DjzLxh">
            <a:hlinkClick r:id="rId3"/>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4800" y="1676400"/>
            <a:ext cx="2125710" cy="207847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341216366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a:graphicFrameLocks/>
          </p:cNvGraphicFramePr>
          <p:nvPr>
            <p:extLst>
              <p:ext uri="{D42A27DB-BD31-4B8C-83A1-F6EECF244321}">
                <p14:modId xmlns:p14="http://schemas.microsoft.com/office/powerpoint/2010/main" val="253614071"/>
              </p:ext>
            </p:extLst>
          </p:nvPr>
        </p:nvGraphicFramePr>
        <p:xfrm>
          <a:off x="0" y="908720"/>
          <a:ext cx="4572000" cy="3168352"/>
        </p:xfrm>
        <a:graphic>
          <a:graphicData uri="http://schemas.openxmlformats.org/drawingml/2006/chart">
            <c:chart xmlns:c="http://schemas.openxmlformats.org/drawingml/2006/chart" xmlns:r="http://schemas.openxmlformats.org/officeDocument/2006/relationships" r:id="rId2"/>
          </a:graphicData>
        </a:graphic>
      </p:graphicFrame>
      <p:sp>
        <p:nvSpPr>
          <p:cNvPr id="64513" name="TextBox 12"/>
          <p:cNvSpPr txBox="1">
            <a:spLocks noChangeArrowheads="1"/>
          </p:cNvSpPr>
          <p:nvPr/>
        </p:nvSpPr>
        <p:spPr bwMode="auto">
          <a:xfrm>
            <a:off x="4601993" y="3937567"/>
            <a:ext cx="113364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a:r>
              <a:rPr lang="en-US" sz="900" b="1" i="1" dirty="0" err="1"/>
              <a:t>Sumber</a:t>
            </a:r>
            <a:r>
              <a:rPr lang="en-US" sz="900" b="1" i="1" dirty="0"/>
              <a:t>: Bloomberg</a:t>
            </a:r>
          </a:p>
        </p:txBody>
      </p:sp>
      <p:sp>
        <p:nvSpPr>
          <p:cNvPr id="47108" name="TextBox 8"/>
          <p:cNvSpPr txBox="1">
            <a:spLocks noChangeArrowheads="1"/>
          </p:cNvSpPr>
          <p:nvPr/>
        </p:nvSpPr>
        <p:spPr bwMode="auto">
          <a:xfrm>
            <a:off x="4638470" y="4437112"/>
            <a:ext cx="4294304" cy="2733056"/>
          </a:xfrm>
          <a:prstGeom prst="rect">
            <a:avLst/>
          </a:prstGeom>
          <a:noFill/>
          <a:ln>
            <a:noFill/>
          </a:ln>
          <a:extLst>
            <a:ext uri="{909E8E84-426E-40DD-AFC4-6F175D3DCCD1}">
              <a14:hiddenFill xmlns:a14="http://schemas.microsoft.com/office/drawing/2010/main">
                <a:solidFill>
                  <a:srgbClr val="FFFFFF"/>
                </a:solidFill>
              </a14:hiddenFill>
            </a:ext>
          </a:extLst>
        </p:spPr>
        <p:txBody>
          <a:bodyPr wrap="square">
            <a:spAutoFit/>
          </a:bodyPr>
          <a:lstStyle>
            <a:lvl1pPr marL="180975" indent="-180975">
              <a:defRPr>
                <a:solidFill>
                  <a:schemeClr val="tx1"/>
                </a:solidFill>
                <a:latin typeface="Calibri" charset="0"/>
                <a:ea typeface="ＭＳ Ｐゴシック" charset="0"/>
                <a:cs typeface="ＭＳ Ｐゴシック" charset="0"/>
              </a:defRPr>
            </a:lvl1pPr>
            <a:lvl2pPr marL="447675" indent="-180975">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marL="171450" indent="-171450">
              <a:lnSpc>
                <a:spcPct val="120000"/>
              </a:lnSpc>
              <a:spcAft>
                <a:spcPts val="0"/>
              </a:spcAft>
              <a:buFont typeface="Arial" charset="0"/>
              <a:buChar char="•"/>
              <a:defRPr/>
            </a:pPr>
            <a:r>
              <a:rPr lang="en-GB" sz="1300" dirty="0" err="1" smtClean="0"/>
              <a:t>Depresiasi</a:t>
            </a:r>
            <a:r>
              <a:rPr lang="en-GB" sz="1300" dirty="0" smtClean="0"/>
              <a:t> </a:t>
            </a:r>
            <a:r>
              <a:rPr lang="en-GB" sz="1300" dirty="0" err="1" smtClean="0"/>
              <a:t>nilai</a:t>
            </a:r>
            <a:r>
              <a:rPr lang="en-GB" sz="1300" dirty="0" smtClean="0"/>
              <a:t> </a:t>
            </a:r>
            <a:r>
              <a:rPr lang="en-GB" sz="1300" dirty="0" err="1" smtClean="0"/>
              <a:t>tukar</a:t>
            </a:r>
            <a:r>
              <a:rPr lang="en-GB" sz="1300" dirty="0" smtClean="0"/>
              <a:t> Rupiah </a:t>
            </a:r>
            <a:r>
              <a:rPr lang="en-GB" sz="1300" dirty="0" err="1" smtClean="0"/>
              <a:t>seiring</a:t>
            </a:r>
            <a:r>
              <a:rPr lang="en-GB" sz="1300" dirty="0" smtClean="0"/>
              <a:t> </a:t>
            </a:r>
            <a:r>
              <a:rPr lang="en-GB" sz="1300" dirty="0" err="1" smtClean="0"/>
              <a:t>dengan</a:t>
            </a:r>
            <a:r>
              <a:rPr lang="en-GB" sz="1300" dirty="0" smtClean="0"/>
              <a:t> </a:t>
            </a:r>
            <a:r>
              <a:rPr lang="en-GB" sz="1300" dirty="0" err="1" smtClean="0"/>
              <a:t>tren</a:t>
            </a:r>
            <a:r>
              <a:rPr lang="en-GB" sz="1300" dirty="0" smtClean="0"/>
              <a:t> </a:t>
            </a:r>
            <a:r>
              <a:rPr lang="en-GB" sz="1300" dirty="0" err="1" smtClean="0"/>
              <a:t>depresiasi</a:t>
            </a:r>
            <a:r>
              <a:rPr lang="en-GB" sz="1300" dirty="0" smtClean="0"/>
              <a:t> </a:t>
            </a:r>
            <a:r>
              <a:rPr lang="en-GB" sz="1300" dirty="0" err="1" smtClean="0"/>
              <a:t>mata</a:t>
            </a:r>
            <a:r>
              <a:rPr lang="en-GB" sz="1300" dirty="0" smtClean="0"/>
              <a:t> </a:t>
            </a:r>
            <a:r>
              <a:rPr lang="en-GB" sz="1300" dirty="0" err="1" smtClean="0"/>
              <a:t>uang</a:t>
            </a:r>
            <a:r>
              <a:rPr lang="en-GB" sz="1300" dirty="0" smtClean="0"/>
              <a:t> yang </a:t>
            </a:r>
            <a:r>
              <a:rPr lang="en-GB" sz="1300" dirty="0" err="1" smtClean="0"/>
              <a:t>dialami</a:t>
            </a:r>
            <a:r>
              <a:rPr lang="en-GB" sz="1300" dirty="0" smtClean="0"/>
              <a:t> </a:t>
            </a:r>
            <a:r>
              <a:rPr lang="en-GB" sz="1300" dirty="0" err="1" smtClean="0"/>
              <a:t>oleh</a:t>
            </a:r>
            <a:r>
              <a:rPr lang="en-GB" sz="1300" dirty="0" smtClean="0"/>
              <a:t> </a:t>
            </a:r>
            <a:r>
              <a:rPr lang="en-GB" sz="1300" dirty="0" err="1" smtClean="0"/>
              <a:t>negara-negara</a:t>
            </a:r>
            <a:r>
              <a:rPr lang="en-GB" sz="1300" dirty="0" smtClean="0"/>
              <a:t> lain,</a:t>
            </a:r>
          </a:p>
          <a:p>
            <a:pPr marL="171450" indent="-171450">
              <a:lnSpc>
                <a:spcPct val="120000"/>
              </a:lnSpc>
              <a:spcAft>
                <a:spcPts val="0"/>
              </a:spcAft>
              <a:buFont typeface="Arial" charset="0"/>
              <a:buChar char="•"/>
              <a:defRPr/>
            </a:pPr>
            <a:r>
              <a:rPr lang="en-GB" sz="1300" dirty="0" err="1" smtClean="0"/>
              <a:t>Tekanan</a:t>
            </a:r>
            <a:r>
              <a:rPr lang="en-GB" sz="1300" dirty="0" smtClean="0"/>
              <a:t> </a:t>
            </a:r>
            <a:r>
              <a:rPr lang="en-GB" sz="1300" dirty="0" err="1" smtClean="0"/>
              <a:t>kepada</a:t>
            </a:r>
            <a:r>
              <a:rPr lang="en-GB" sz="1300" dirty="0" smtClean="0"/>
              <a:t> </a:t>
            </a:r>
            <a:r>
              <a:rPr lang="en-GB" sz="1300" dirty="0" err="1" smtClean="0"/>
              <a:t>pasar</a:t>
            </a:r>
            <a:r>
              <a:rPr lang="en-GB" sz="1300" dirty="0" smtClean="0"/>
              <a:t> </a:t>
            </a:r>
            <a:r>
              <a:rPr lang="en-GB" sz="1300" dirty="0" err="1" smtClean="0"/>
              <a:t>saham</a:t>
            </a:r>
            <a:r>
              <a:rPr lang="en-GB" sz="1300" dirty="0" smtClean="0"/>
              <a:t> </a:t>
            </a:r>
            <a:r>
              <a:rPr lang="en-GB" sz="1300" dirty="0" err="1" smtClean="0"/>
              <a:t>diakibatkan</a:t>
            </a:r>
            <a:r>
              <a:rPr lang="en-GB" sz="1300" dirty="0" smtClean="0"/>
              <a:t> </a:t>
            </a:r>
            <a:r>
              <a:rPr lang="en-GB" sz="1300" dirty="0" err="1" smtClean="0"/>
              <a:t>oleh</a:t>
            </a:r>
            <a:r>
              <a:rPr lang="en-GB" sz="1300" dirty="0" smtClean="0"/>
              <a:t> capital outflow yang </a:t>
            </a:r>
            <a:r>
              <a:rPr lang="en-GB" sz="1300" dirty="0" err="1" smtClean="0"/>
              <a:t>terjadi</a:t>
            </a:r>
            <a:r>
              <a:rPr lang="en-GB" sz="1300" dirty="0" smtClean="0"/>
              <a:t> di </a:t>
            </a:r>
            <a:r>
              <a:rPr lang="en-GB" sz="1300" dirty="0" err="1" smtClean="0"/>
              <a:t>sebagian</a:t>
            </a:r>
            <a:r>
              <a:rPr lang="en-GB" sz="1300" dirty="0" smtClean="0"/>
              <a:t> </a:t>
            </a:r>
            <a:r>
              <a:rPr lang="en-GB" sz="1300" dirty="0" err="1" smtClean="0"/>
              <a:t>besar</a:t>
            </a:r>
            <a:r>
              <a:rPr lang="en-GB" sz="1300" dirty="0" smtClean="0"/>
              <a:t> </a:t>
            </a:r>
            <a:r>
              <a:rPr lang="en-GB" sz="1300" dirty="0" err="1" smtClean="0"/>
              <a:t>negara</a:t>
            </a:r>
            <a:r>
              <a:rPr lang="en-GB" sz="1300" dirty="0" smtClean="0"/>
              <a:t> </a:t>
            </a:r>
            <a:r>
              <a:rPr lang="en-GB" sz="1300" dirty="0" err="1" smtClean="0"/>
              <a:t>berkembang</a:t>
            </a:r>
            <a:r>
              <a:rPr lang="en-GB" sz="1300" dirty="0" smtClean="0"/>
              <a:t> di Asia. Total capital outflow </a:t>
            </a:r>
            <a:r>
              <a:rPr lang="en-GB" sz="1300" dirty="0" err="1" smtClean="0"/>
              <a:t>sampai</a:t>
            </a:r>
            <a:r>
              <a:rPr lang="en-GB" sz="1300" dirty="0" smtClean="0"/>
              <a:t> </a:t>
            </a:r>
            <a:r>
              <a:rPr lang="en-GB" sz="1300" dirty="0" err="1" smtClean="0"/>
              <a:t>dengan</a:t>
            </a:r>
            <a:r>
              <a:rPr lang="en-GB" sz="1300" dirty="0" smtClean="0"/>
              <a:t> 25 Sept 2015 Rp12,6 T (YTD)</a:t>
            </a:r>
          </a:p>
          <a:p>
            <a:pPr marL="171450" indent="-171450">
              <a:lnSpc>
                <a:spcPct val="120000"/>
              </a:lnSpc>
              <a:spcAft>
                <a:spcPts val="0"/>
              </a:spcAft>
              <a:buFont typeface="Arial" pitchFamily="34" charset="0"/>
              <a:buChar char="•"/>
              <a:defRPr/>
            </a:pPr>
            <a:r>
              <a:rPr lang="en-US" altLang="id-ID" sz="1300" dirty="0" err="1" smtClean="0">
                <a:latin typeface="Calibri" pitchFamily="34" charset="0"/>
                <a:ea typeface="ＭＳ Ｐゴシック" pitchFamily="34" charset="-128"/>
              </a:rPr>
              <a:t>Sentimen</a:t>
            </a:r>
            <a:r>
              <a:rPr lang="en-US" altLang="id-ID" sz="1300" strike="sngStrike"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investor</a:t>
            </a:r>
            <a:r>
              <a:rPr lang="tr-TR" altLang="id-ID" sz="1300"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asing</a:t>
            </a:r>
            <a:r>
              <a:rPr lang="tr-TR" altLang="id-ID" sz="1300"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terhadap</a:t>
            </a:r>
            <a:r>
              <a:rPr lang="tr-TR"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kondisi</a:t>
            </a:r>
            <a:r>
              <a:rPr lang="en-US"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keuangan</a:t>
            </a:r>
            <a:r>
              <a:rPr lang="en-US" altLang="id-ID" sz="1300" dirty="0" smtClean="0">
                <a:latin typeface="Calibri" pitchFamily="34" charset="0"/>
                <a:ea typeface="ＭＳ Ｐゴシック" pitchFamily="34" charset="-128"/>
              </a:rPr>
              <a:t> global </a:t>
            </a:r>
            <a:r>
              <a:rPr lang="en-US" altLang="id-ID" sz="1300" dirty="0" err="1" smtClean="0">
                <a:latin typeface="Calibri" pitchFamily="34" charset="0"/>
                <a:ea typeface="ＭＳ Ｐゴシック" pitchFamily="34" charset="-128"/>
              </a:rPr>
              <a:t>serta</a:t>
            </a:r>
            <a:r>
              <a:rPr lang="en-US"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perkembangan</a:t>
            </a:r>
            <a:r>
              <a:rPr lang="en-US" altLang="id-ID" sz="1300"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perekonomian</a:t>
            </a:r>
            <a:r>
              <a:rPr lang="tr-TR"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baik</a:t>
            </a:r>
            <a:r>
              <a:rPr lang="en-US" altLang="id-ID" sz="1300" dirty="0" smtClean="0">
                <a:latin typeface="Calibri" pitchFamily="34" charset="0"/>
                <a:ea typeface="ＭＳ Ｐゴシック" pitchFamily="34" charset="-128"/>
              </a:rPr>
              <a:t> global </a:t>
            </a:r>
            <a:r>
              <a:rPr lang="en-US" altLang="id-ID" sz="1300" dirty="0" err="1" smtClean="0">
                <a:latin typeface="Calibri" pitchFamily="34" charset="0"/>
                <a:ea typeface="ＭＳ Ｐゴシック" pitchFamily="34" charset="-128"/>
              </a:rPr>
              <a:t>maupun</a:t>
            </a:r>
            <a:r>
              <a:rPr lang="en-US"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domestik</a:t>
            </a:r>
            <a:r>
              <a:rPr lang="en-US"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mendorong</a:t>
            </a:r>
            <a:r>
              <a:rPr lang="en-US" altLang="id-ID" sz="1300" dirty="0" smtClean="0">
                <a:latin typeface="Calibri" pitchFamily="34" charset="0"/>
                <a:ea typeface="ＭＳ Ｐゴシック" pitchFamily="34" charset="-128"/>
              </a:rPr>
              <a:t> </a:t>
            </a:r>
            <a:r>
              <a:rPr lang="en-US" altLang="id-ID" sz="1300" dirty="0" err="1" smtClean="0">
                <a:latin typeface="Calibri" pitchFamily="34" charset="0"/>
                <a:ea typeface="ＭＳ Ｐゴシック" pitchFamily="34" charset="-128"/>
              </a:rPr>
              <a:t>peningkatan</a:t>
            </a:r>
            <a:r>
              <a:rPr lang="en-US" altLang="id-ID" sz="1300"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imbal</a:t>
            </a:r>
            <a:r>
              <a:rPr lang="tr-TR" altLang="id-ID" sz="1300" dirty="0" smtClean="0">
                <a:latin typeface="Calibri" pitchFamily="34" charset="0"/>
                <a:ea typeface="ＭＳ Ｐゴシック" pitchFamily="34" charset="-128"/>
              </a:rPr>
              <a:t> </a:t>
            </a:r>
            <a:r>
              <a:rPr lang="tr-TR" altLang="id-ID" sz="1300" dirty="0" err="1" smtClean="0">
                <a:latin typeface="Calibri" pitchFamily="34" charset="0"/>
                <a:ea typeface="ＭＳ Ｐゴシック" pitchFamily="34" charset="-128"/>
              </a:rPr>
              <a:t>hasil</a:t>
            </a:r>
            <a:r>
              <a:rPr lang="tr-TR" altLang="id-ID" sz="1300" dirty="0" smtClean="0">
                <a:latin typeface="Calibri" pitchFamily="34" charset="0"/>
                <a:ea typeface="ＭＳ Ｐゴシック" pitchFamily="34" charset="-128"/>
              </a:rPr>
              <a:t> SBN </a:t>
            </a:r>
            <a:r>
              <a:rPr lang="tr-TR" altLang="id-ID" sz="1300" dirty="0" err="1" smtClean="0">
                <a:latin typeface="Calibri" pitchFamily="34" charset="0"/>
                <a:ea typeface="ＭＳ Ｐゴシック" pitchFamily="34" charset="-128"/>
              </a:rPr>
              <a:t>Indonesia</a:t>
            </a:r>
            <a:r>
              <a:rPr lang="tr-TR" altLang="id-ID" sz="1300" dirty="0" smtClean="0">
                <a:latin typeface="Calibri" pitchFamily="34" charset="0"/>
                <a:ea typeface="ＭＳ Ｐゴシック" pitchFamily="34" charset="-128"/>
              </a:rPr>
              <a:t>. </a:t>
            </a:r>
            <a:endParaRPr lang="en-GB" sz="1300" dirty="0"/>
          </a:p>
        </p:txBody>
      </p:sp>
      <p:sp>
        <p:nvSpPr>
          <p:cNvPr id="64515" name="TextBox 4"/>
          <p:cNvSpPr txBox="1">
            <a:spLocks noChangeArrowheads="1"/>
          </p:cNvSpPr>
          <p:nvPr/>
        </p:nvSpPr>
        <p:spPr bwMode="auto">
          <a:xfrm>
            <a:off x="5508105" y="764705"/>
            <a:ext cx="2854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r>
              <a:rPr lang="en-US" sz="1200" b="1" dirty="0" err="1"/>
              <a:t>Pergerakan</a:t>
            </a:r>
            <a:r>
              <a:rPr lang="en-US" sz="1200" b="1" dirty="0"/>
              <a:t> IHSG </a:t>
            </a:r>
            <a:r>
              <a:rPr lang="en-US" sz="1200" b="1" dirty="0" err="1"/>
              <a:t>vs</a:t>
            </a:r>
            <a:r>
              <a:rPr lang="en-US" sz="1200" b="1" dirty="0"/>
              <a:t> Net Capital Flow</a:t>
            </a:r>
            <a:endParaRPr lang="en-US" sz="1200" b="1" dirty="0">
              <a:solidFill>
                <a:srgbClr val="0070C0"/>
              </a:solidFill>
            </a:endParaRPr>
          </a:p>
        </p:txBody>
      </p:sp>
      <p:sp>
        <p:nvSpPr>
          <p:cNvPr id="64517" name="Rectangle 10"/>
          <p:cNvSpPr>
            <a:spLocks noChangeArrowheads="1"/>
          </p:cNvSpPr>
          <p:nvPr/>
        </p:nvSpPr>
        <p:spPr bwMode="auto">
          <a:xfrm>
            <a:off x="450927" y="1340769"/>
            <a:ext cx="1989137"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r>
              <a:rPr lang="en-US" sz="900" b="1" i="1" dirty="0">
                <a:solidFill>
                  <a:srgbClr val="000000"/>
                </a:solidFill>
              </a:rPr>
              <a:t>*DXY </a:t>
            </a:r>
            <a:r>
              <a:rPr lang="en-US" sz="900" b="1" i="1" dirty="0" err="1">
                <a:solidFill>
                  <a:srgbClr val="000000"/>
                </a:solidFill>
              </a:rPr>
              <a:t>Curncy</a:t>
            </a:r>
            <a:r>
              <a:rPr lang="en-US" sz="900" b="1" i="1" dirty="0">
                <a:solidFill>
                  <a:srgbClr val="000000"/>
                </a:solidFill>
              </a:rPr>
              <a:t> (Dollar Index) : </a:t>
            </a:r>
            <a:r>
              <a:rPr lang="en-US" sz="900" i="1" dirty="0">
                <a:solidFill>
                  <a:srgbClr val="000000"/>
                </a:solidFill>
              </a:rPr>
              <a:t>A</a:t>
            </a:r>
            <a:r>
              <a:rPr lang="tr-TR" sz="900" i="1" dirty="0" err="1">
                <a:solidFill>
                  <a:srgbClr val="000000"/>
                </a:solidFill>
              </a:rPr>
              <a:t>dalah</a:t>
            </a:r>
            <a:r>
              <a:rPr lang="tr-TR" sz="900" i="1" dirty="0">
                <a:solidFill>
                  <a:srgbClr val="000000"/>
                </a:solidFill>
              </a:rPr>
              <a:t> </a:t>
            </a:r>
            <a:r>
              <a:rPr lang="tr-TR" sz="900" i="1" dirty="0" err="1">
                <a:solidFill>
                  <a:srgbClr val="000000"/>
                </a:solidFill>
              </a:rPr>
              <a:t>angka</a:t>
            </a:r>
            <a:r>
              <a:rPr lang="tr-TR" sz="900" i="1" dirty="0">
                <a:solidFill>
                  <a:srgbClr val="000000"/>
                </a:solidFill>
              </a:rPr>
              <a:t> indeks </a:t>
            </a:r>
            <a:r>
              <a:rPr lang="tr-TR" sz="900" i="1" dirty="0" err="1">
                <a:solidFill>
                  <a:srgbClr val="000000"/>
                </a:solidFill>
              </a:rPr>
              <a:t>kekuatan</a:t>
            </a:r>
            <a:r>
              <a:rPr lang="tr-TR" sz="900" i="1" dirty="0">
                <a:solidFill>
                  <a:srgbClr val="000000"/>
                </a:solidFill>
              </a:rPr>
              <a:t> mata </a:t>
            </a:r>
            <a:r>
              <a:rPr lang="tr-TR" sz="900" i="1" dirty="0" err="1">
                <a:solidFill>
                  <a:srgbClr val="000000"/>
                </a:solidFill>
              </a:rPr>
              <a:t>uang</a:t>
            </a:r>
            <a:r>
              <a:rPr lang="tr-TR" sz="900" i="1" dirty="0">
                <a:solidFill>
                  <a:srgbClr val="000000"/>
                </a:solidFill>
              </a:rPr>
              <a:t> US </a:t>
            </a:r>
            <a:r>
              <a:rPr lang="tr-TR" sz="900" i="1" dirty="0" err="1">
                <a:solidFill>
                  <a:srgbClr val="000000"/>
                </a:solidFill>
              </a:rPr>
              <a:t>dollar</a:t>
            </a:r>
            <a:r>
              <a:rPr lang="tr-TR" sz="900" i="1" dirty="0">
                <a:solidFill>
                  <a:srgbClr val="000000"/>
                </a:solidFill>
              </a:rPr>
              <a:t> </a:t>
            </a:r>
            <a:r>
              <a:rPr lang="tr-TR" sz="900" i="1" dirty="0" err="1">
                <a:solidFill>
                  <a:srgbClr val="000000"/>
                </a:solidFill>
              </a:rPr>
              <a:t>terhadap</a:t>
            </a:r>
            <a:r>
              <a:rPr lang="tr-TR" sz="900" i="1" dirty="0">
                <a:solidFill>
                  <a:srgbClr val="000000"/>
                </a:solidFill>
              </a:rPr>
              <a:t> 6 mata </a:t>
            </a:r>
            <a:r>
              <a:rPr lang="tr-TR" sz="900" i="1" dirty="0" err="1">
                <a:solidFill>
                  <a:srgbClr val="000000"/>
                </a:solidFill>
              </a:rPr>
              <a:t>uang</a:t>
            </a:r>
            <a:r>
              <a:rPr lang="tr-TR" sz="900" i="1" dirty="0">
                <a:solidFill>
                  <a:srgbClr val="000000"/>
                </a:solidFill>
              </a:rPr>
              <a:t> utama </a:t>
            </a:r>
            <a:r>
              <a:rPr lang="tr-TR" sz="900" i="1" dirty="0" err="1">
                <a:solidFill>
                  <a:srgbClr val="000000"/>
                </a:solidFill>
              </a:rPr>
              <a:t>dunia</a:t>
            </a:r>
            <a:r>
              <a:rPr lang="tr-TR" sz="900" i="1" dirty="0">
                <a:solidFill>
                  <a:srgbClr val="000000"/>
                </a:solidFill>
              </a:rPr>
              <a:t> (</a:t>
            </a:r>
            <a:r>
              <a:rPr lang="en-US" sz="900" i="1" dirty="0">
                <a:solidFill>
                  <a:srgbClr val="000000"/>
                </a:solidFill>
              </a:rPr>
              <a:t>EUR, Yen, Pound, $ </a:t>
            </a:r>
            <a:r>
              <a:rPr lang="en-US" sz="900" i="1" dirty="0" err="1">
                <a:solidFill>
                  <a:srgbClr val="000000"/>
                </a:solidFill>
              </a:rPr>
              <a:t>Kanada</a:t>
            </a:r>
            <a:r>
              <a:rPr lang="en-US" sz="900" i="1" dirty="0">
                <a:solidFill>
                  <a:srgbClr val="000000"/>
                </a:solidFill>
              </a:rPr>
              <a:t>, Krona </a:t>
            </a:r>
            <a:r>
              <a:rPr lang="en-US" sz="900" i="1" dirty="0" err="1">
                <a:solidFill>
                  <a:srgbClr val="000000"/>
                </a:solidFill>
              </a:rPr>
              <a:t>Swedia</a:t>
            </a:r>
            <a:r>
              <a:rPr lang="en-US" sz="900" i="1" dirty="0">
                <a:solidFill>
                  <a:srgbClr val="000000"/>
                </a:solidFill>
              </a:rPr>
              <a:t> </a:t>
            </a:r>
            <a:r>
              <a:rPr lang="en-US" sz="900" i="1" dirty="0" err="1">
                <a:solidFill>
                  <a:srgbClr val="000000"/>
                </a:solidFill>
              </a:rPr>
              <a:t>dan</a:t>
            </a:r>
            <a:r>
              <a:rPr lang="en-US" sz="900" i="1" dirty="0">
                <a:solidFill>
                  <a:srgbClr val="000000"/>
                </a:solidFill>
              </a:rPr>
              <a:t> Franc Swiss) </a:t>
            </a:r>
          </a:p>
        </p:txBody>
      </p:sp>
      <p:sp>
        <p:nvSpPr>
          <p:cNvPr id="64519" name="TextBox 12"/>
          <p:cNvSpPr txBox="1">
            <a:spLocks noChangeArrowheads="1"/>
          </p:cNvSpPr>
          <p:nvPr/>
        </p:nvSpPr>
        <p:spPr bwMode="auto">
          <a:xfrm>
            <a:off x="71269" y="4008439"/>
            <a:ext cx="113364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a:r>
              <a:rPr lang="en-US" sz="900" b="1" i="1"/>
              <a:t>Sumber: Bloomberg</a:t>
            </a:r>
          </a:p>
        </p:txBody>
      </p:sp>
      <p:sp>
        <p:nvSpPr>
          <p:cNvPr id="64521" name="TextBox 12"/>
          <p:cNvSpPr txBox="1">
            <a:spLocks noChangeArrowheads="1"/>
          </p:cNvSpPr>
          <p:nvPr/>
        </p:nvSpPr>
        <p:spPr bwMode="auto">
          <a:xfrm>
            <a:off x="390930" y="6627168"/>
            <a:ext cx="113364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r"/>
            <a:r>
              <a:rPr lang="en-US" sz="900" b="1" i="1" dirty="0" err="1"/>
              <a:t>Sumber</a:t>
            </a:r>
            <a:r>
              <a:rPr lang="en-US" sz="900" b="1" i="1" dirty="0"/>
              <a:t>: Bloomberg</a:t>
            </a:r>
          </a:p>
        </p:txBody>
      </p:sp>
      <p:sp>
        <p:nvSpPr>
          <p:cNvPr id="64522" name="TextBox 4"/>
          <p:cNvSpPr txBox="1">
            <a:spLocks noChangeArrowheads="1"/>
          </p:cNvSpPr>
          <p:nvPr/>
        </p:nvSpPr>
        <p:spPr bwMode="auto">
          <a:xfrm>
            <a:off x="684213" y="811537"/>
            <a:ext cx="35290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panose="020F0502020204030204" pitchFamily="34" charset="0"/>
                <a:ea typeface="ＭＳ Ｐゴシック" panose="020B0600070205080204" pitchFamily="34" charset="-128"/>
              </a:defRPr>
            </a:lvl1pPr>
            <a:lvl2pPr marL="742950" indent="-285750">
              <a:defRPr sz="2400">
                <a:solidFill>
                  <a:schemeClr val="tx1"/>
                </a:solidFill>
                <a:latin typeface="Calibri" panose="020F0502020204030204" pitchFamily="34" charset="0"/>
                <a:ea typeface="ＭＳ Ｐゴシック" panose="020B0600070205080204" pitchFamily="34" charset="-128"/>
              </a:defRPr>
            </a:lvl2pPr>
            <a:lvl3pPr marL="1143000" indent="-228600">
              <a:defRPr sz="2400">
                <a:solidFill>
                  <a:schemeClr val="tx1"/>
                </a:solidFill>
                <a:latin typeface="Calibri" panose="020F0502020204030204" pitchFamily="34" charset="0"/>
                <a:ea typeface="ＭＳ Ｐゴシック" panose="020B0600070205080204" pitchFamily="34" charset="-128"/>
              </a:defRPr>
            </a:lvl3pPr>
            <a:lvl4pPr marL="1600200" indent="-228600">
              <a:defRPr sz="2400">
                <a:solidFill>
                  <a:schemeClr val="tx1"/>
                </a:solidFill>
                <a:latin typeface="Calibri" panose="020F0502020204030204" pitchFamily="34" charset="0"/>
                <a:ea typeface="ＭＳ Ｐゴシック" panose="020B0600070205080204" pitchFamily="34" charset="-128"/>
              </a:defRPr>
            </a:lvl4pPr>
            <a:lvl5pPr marL="2057400" indent="-228600">
              <a:defRPr sz="24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pPr algn="ctr"/>
            <a:r>
              <a:rPr lang="en-US" sz="1200" b="1" dirty="0" err="1"/>
              <a:t>Indeks</a:t>
            </a:r>
            <a:r>
              <a:rPr lang="en-US" sz="1200" b="1" dirty="0"/>
              <a:t> </a:t>
            </a:r>
            <a:r>
              <a:rPr lang="en-US" sz="1200" b="1" dirty="0" err="1"/>
              <a:t>Nilai</a:t>
            </a:r>
            <a:r>
              <a:rPr lang="en-US" sz="1200" b="1" dirty="0"/>
              <a:t> Mata </a:t>
            </a:r>
            <a:r>
              <a:rPr lang="en-US" sz="1200" b="1" dirty="0" err="1"/>
              <a:t>Uang</a:t>
            </a:r>
            <a:r>
              <a:rPr lang="en-US" sz="1200" b="1" dirty="0"/>
              <a:t> </a:t>
            </a:r>
            <a:r>
              <a:rPr lang="en-US" sz="1200" b="1" dirty="0" err="1"/>
              <a:t>terhadap</a:t>
            </a:r>
            <a:r>
              <a:rPr lang="en-US" sz="1200" b="1" dirty="0"/>
              <a:t> USD</a:t>
            </a:r>
          </a:p>
          <a:p>
            <a:pPr algn="ctr"/>
            <a:r>
              <a:rPr lang="en-US" sz="1100" dirty="0">
                <a:solidFill>
                  <a:srgbClr val="0070C0"/>
                </a:solidFill>
              </a:rPr>
              <a:t>2014 = 100</a:t>
            </a:r>
          </a:p>
        </p:txBody>
      </p:sp>
      <p:sp>
        <p:nvSpPr>
          <p:cNvPr id="64523" name="Title 2"/>
          <p:cNvSpPr txBox="1">
            <a:spLocks/>
          </p:cNvSpPr>
          <p:nvPr/>
        </p:nvSpPr>
        <p:spPr bwMode="auto">
          <a:xfrm>
            <a:off x="0" y="11524"/>
            <a:ext cx="796191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13" tIns="38957" rIns="77913" bIns="38957" anchor="ctr"/>
          <a:lstStyle>
            <a:lvl1pPr defTabSz="388938">
              <a:defRPr sz="2400">
                <a:solidFill>
                  <a:schemeClr val="tx1"/>
                </a:solidFill>
                <a:latin typeface="Calibri" panose="020F0502020204030204" pitchFamily="34" charset="0"/>
                <a:ea typeface="ＭＳ Ｐゴシック" panose="020B0600070205080204" pitchFamily="34" charset="-128"/>
              </a:defRPr>
            </a:lvl1pPr>
            <a:lvl2pPr marL="742950" indent="-285750" defTabSz="388938">
              <a:defRPr sz="2400">
                <a:solidFill>
                  <a:schemeClr val="tx1"/>
                </a:solidFill>
                <a:latin typeface="Calibri" panose="020F0502020204030204" pitchFamily="34" charset="0"/>
                <a:ea typeface="ＭＳ Ｐゴシック" panose="020B0600070205080204" pitchFamily="34" charset="-128"/>
              </a:defRPr>
            </a:lvl2pPr>
            <a:lvl3pPr marL="1143000" indent="-228600" defTabSz="388938">
              <a:defRPr sz="2400">
                <a:solidFill>
                  <a:schemeClr val="tx1"/>
                </a:solidFill>
                <a:latin typeface="Calibri" panose="020F0502020204030204" pitchFamily="34" charset="0"/>
                <a:ea typeface="ＭＳ Ｐゴシック" panose="020B0600070205080204" pitchFamily="34" charset="-128"/>
              </a:defRPr>
            </a:lvl3pPr>
            <a:lvl4pPr marL="1600200" indent="-228600" defTabSz="388938">
              <a:defRPr sz="2400">
                <a:solidFill>
                  <a:schemeClr val="tx1"/>
                </a:solidFill>
                <a:latin typeface="Calibri" panose="020F0502020204030204" pitchFamily="34" charset="0"/>
                <a:ea typeface="ＭＳ Ｐゴシック" panose="020B0600070205080204" pitchFamily="34" charset="-128"/>
              </a:defRPr>
            </a:lvl4pPr>
            <a:lvl5pPr marL="2057400" indent="-228600" defTabSz="388938">
              <a:defRPr sz="2400">
                <a:solidFill>
                  <a:schemeClr val="tx1"/>
                </a:solidFill>
                <a:latin typeface="Calibri" panose="020F0502020204030204" pitchFamily="34" charset="0"/>
                <a:ea typeface="ＭＳ Ｐゴシック" panose="020B0600070205080204" pitchFamily="34" charset="-128"/>
              </a:defRPr>
            </a:lvl5pPr>
            <a:lvl6pPr marL="2514600" indent="-228600" defTabSz="388938"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6pPr>
            <a:lvl7pPr marL="2971800" indent="-228600" defTabSz="388938"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7pPr>
            <a:lvl8pPr marL="3429000" indent="-228600" defTabSz="388938"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8pPr>
            <a:lvl9pPr marL="3886200" indent="-228600" defTabSz="388938" eaLnBrk="0" fontAlgn="base" hangingPunct="0">
              <a:spcBef>
                <a:spcPct val="0"/>
              </a:spcBef>
              <a:spcAft>
                <a:spcPct val="0"/>
              </a:spcAft>
              <a:defRPr sz="2400">
                <a:solidFill>
                  <a:schemeClr val="tx1"/>
                </a:solidFill>
                <a:latin typeface="Calibri" panose="020F0502020204030204" pitchFamily="34" charset="0"/>
                <a:ea typeface="ＭＳ Ｐゴシック" panose="020B0600070205080204" pitchFamily="34" charset="-128"/>
              </a:defRPr>
            </a:lvl9pPr>
          </a:lstStyle>
          <a:p>
            <a:r>
              <a:rPr lang="en-US" sz="2000" b="1" dirty="0" err="1">
                <a:solidFill>
                  <a:srgbClr val="1F497D"/>
                </a:solidFill>
              </a:rPr>
              <a:t>Pergerakan</a:t>
            </a:r>
            <a:r>
              <a:rPr lang="en-US" sz="2000" b="1" dirty="0">
                <a:solidFill>
                  <a:srgbClr val="1F497D"/>
                </a:solidFill>
              </a:rPr>
              <a:t> </a:t>
            </a:r>
            <a:r>
              <a:rPr lang="en-US" sz="2000" b="1" dirty="0" err="1">
                <a:solidFill>
                  <a:srgbClr val="1F497D"/>
                </a:solidFill>
              </a:rPr>
              <a:t>Nilai</a:t>
            </a:r>
            <a:r>
              <a:rPr lang="en-US" sz="2000" b="1" dirty="0">
                <a:solidFill>
                  <a:srgbClr val="1F497D"/>
                </a:solidFill>
              </a:rPr>
              <a:t> </a:t>
            </a:r>
            <a:r>
              <a:rPr lang="en-US" sz="2000" b="1" dirty="0" err="1">
                <a:solidFill>
                  <a:srgbClr val="1F497D"/>
                </a:solidFill>
              </a:rPr>
              <a:t>Tukar</a:t>
            </a:r>
            <a:r>
              <a:rPr lang="en-US" sz="2000" b="1" dirty="0">
                <a:solidFill>
                  <a:srgbClr val="1F497D"/>
                </a:solidFill>
              </a:rPr>
              <a:t>, Yield SUN, </a:t>
            </a:r>
            <a:r>
              <a:rPr lang="en-US" sz="2000" b="1" dirty="0" err="1">
                <a:solidFill>
                  <a:srgbClr val="1F497D"/>
                </a:solidFill>
              </a:rPr>
              <a:t>dan</a:t>
            </a:r>
            <a:r>
              <a:rPr lang="en-US" sz="2000" b="1" dirty="0">
                <a:solidFill>
                  <a:srgbClr val="1F497D"/>
                </a:solidFill>
              </a:rPr>
              <a:t> IHSG</a:t>
            </a:r>
            <a:endParaRPr lang="id-ID" sz="2000" b="1" dirty="0">
              <a:solidFill>
                <a:srgbClr val="1F497D"/>
              </a:solidFill>
            </a:endParaRPr>
          </a:p>
          <a:p>
            <a:r>
              <a:rPr lang="id-ID" sz="1400" i="1" dirty="0">
                <a:solidFill>
                  <a:srgbClr val="1F497D"/>
                </a:solidFill>
              </a:rPr>
              <a:t>...gejolak kondisi pasar keuangan internasional membawa sentimen negatif terhadap sebagian besar negara berkembang di Asia</a:t>
            </a:r>
          </a:p>
        </p:txBody>
      </p:sp>
      <p:graphicFrame>
        <p:nvGraphicFramePr>
          <p:cNvPr id="15" name="Chart 14"/>
          <p:cNvGraphicFramePr>
            <a:graphicFrameLocks/>
          </p:cNvGraphicFramePr>
          <p:nvPr>
            <p:extLst>
              <p:ext uri="{D42A27DB-BD31-4B8C-83A1-F6EECF244321}">
                <p14:modId xmlns:p14="http://schemas.microsoft.com/office/powerpoint/2010/main" val="1489143698"/>
              </p:ext>
            </p:extLst>
          </p:nvPr>
        </p:nvGraphicFramePr>
        <p:xfrm>
          <a:off x="4638468" y="980729"/>
          <a:ext cx="4505532" cy="3024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a:graphicFrameLocks/>
          </p:cNvGraphicFramePr>
          <p:nvPr>
            <p:extLst>
              <p:ext uri="{D42A27DB-BD31-4B8C-83A1-F6EECF244321}">
                <p14:modId xmlns:p14="http://schemas.microsoft.com/office/powerpoint/2010/main" val="228797777"/>
              </p:ext>
            </p:extLst>
          </p:nvPr>
        </p:nvGraphicFramePr>
        <p:xfrm>
          <a:off x="0" y="4077072"/>
          <a:ext cx="4542692" cy="2421384"/>
        </p:xfrm>
        <a:graphic>
          <a:graphicData uri="http://schemas.openxmlformats.org/drawingml/2006/chart">
            <c:chart xmlns:c="http://schemas.openxmlformats.org/drawingml/2006/chart" xmlns:r="http://schemas.openxmlformats.org/officeDocument/2006/relationships" r:id="rId4"/>
          </a:graphicData>
        </a:graphic>
      </p:graphicFrame>
      <p:sp>
        <p:nvSpPr>
          <p:cNvPr id="19" name="Slide Number Placeholder 39"/>
          <p:cNvSpPr>
            <a:spLocks noGrp="1"/>
          </p:cNvSpPr>
          <p:nvPr>
            <p:ph type="sldNum" sz="quarter" idx="12"/>
          </p:nvPr>
        </p:nvSpPr>
        <p:spPr bwMode="auto">
          <a:xfrm>
            <a:off x="0" y="6494738"/>
            <a:ext cx="676663" cy="363262"/>
          </a:xfrm>
          <a:prstGeom prst="rect">
            <a:avLst/>
          </a:prstGeom>
          <a:noFill/>
          <a:ln>
            <a:miter lim="800000"/>
            <a:headEnd/>
            <a:tailEnd/>
          </a:ln>
        </p:spPr>
        <p:txBody>
          <a:bodyPr/>
          <a:lstStyle/>
          <a:p>
            <a:fld id="{F545350E-8B61-477C-BE9B-51F0DFF8B39B}" type="slidenum">
              <a:rPr lang="en-US" b="1">
                <a:solidFill>
                  <a:schemeClr val="bg1"/>
                </a:solidFill>
              </a:rPr>
              <a:pPr/>
              <a:t>30</a:t>
            </a:fld>
            <a:endParaRPr lang="en-US" b="1" dirty="0">
              <a:solidFill>
                <a:schemeClr val="bg1"/>
              </a:solidFill>
            </a:endParaRPr>
          </a:p>
        </p:txBody>
      </p:sp>
    </p:spTree>
    <p:extLst>
      <p:ext uri="{BB962C8B-B14F-4D97-AF65-F5344CB8AC3E}">
        <p14:creationId xmlns:p14="http://schemas.microsoft.com/office/powerpoint/2010/main" val="13029139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2"/>
          <p:cNvSpPr txBox="1">
            <a:spLocks/>
          </p:cNvSpPr>
          <p:nvPr/>
        </p:nvSpPr>
        <p:spPr>
          <a:xfrm>
            <a:off x="2" y="0"/>
            <a:ext cx="8609134" cy="76428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err="1" smtClean="0">
                <a:solidFill>
                  <a:srgbClr val="1F497D"/>
                </a:solidFill>
                <a:latin typeface="Calibri"/>
                <a:cs typeface="Calibri"/>
              </a:rPr>
              <a:t>Kondisi</a:t>
            </a:r>
            <a:r>
              <a:rPr lang="en-US" sz="2000" b="1" dirty="0" smtClean="0">
                <a:solidFill>
                  <a:srgbClr val="1F497D"/>
                </a:solidFill>
                <a:latin typeface="Calibri"/>
                <a:cs typeface="Calibri"/>
              </a:rPr>
              <a:t> </a:t>
            </a:r>
            <a:r>
              <a:rPr lang="en-US" sz="2000" b="1" i="1" dirty="0" smtClean="0">
                <a:solidFill>
                  <a:srgbClr val="1F497D"/>
                </a:solidFill>
                <a:latin typeface="Calibri"/>
                <a:cs typeface="Calibri"/>
              </a:rPr>
              <a:t>Credit Rating </a:t>
            </a:r>
            <a:r>
              <a:rPr lang="en-US" sz="2000" b="1" dirty="0" smtClean="0">
                <a:solidFill>
                  <a:srgbClr val="1F497D"/>
                </a:solidFill>
                <a:latin typeface="Calibri"/>
                <a:cs typeface="Calibri"/>
              </a:rPr>
              <a:t>Indonesia </a:t>
            </a:r>
            <a:r>
              <a:rPr lang="en-US" sz="2000" b="1" dirty="0" err="1" smtClean="0">
                <a:solidFill>
                  <a:srgbClr val="1F497D"/>
                </a:solidFill>
                <a:latin typeface="Calibri"/>
                <a:cs typeface="Calibri"/>
              </a:rPr>
              <a:t>masih</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baik</a:t>
            </a:r>
            <a:endParaRPr lang="id-ID" sz="2000" b="1" dirty="0">
              <a:solidFill>
                <a:srgbClr val="1F497D"/>
              </a:solidFill>
              <a:latin typeface="Calibri"/>
              <a:cs typeface="Calibri"/>
            </a:endParaRPr>
          </a:p>
          <a:p>
            <a:r>
              <a:rPr lang="en-US" sz="1300" i="1" dirty="0" smtClean="0">
                <a:solidFill>
                  <a:srgbClr val="1F497D"/>
                </a:solidFill>
                <a:latin typeface="Calibri"/>
                <a:cs typeface="Calibri"/>
              </a:rPr>
              <a:t>…</a:t>
            </a:r>
            <a:r>
              <a:rPr lang="en-US" sz="1300" i="1" dirty="0" err="1" smtClean="0">
                <a:solidFill>
                  <a:srgbClr val="1F497D"/>
                </a:solidFill>
                <a:latin typeface="Calibri"/>
                <a:cs typeface="Calibri"/>
              </a:rPr>
              <a:t>memberikan</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peluang</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masuknya</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aliran</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dana</a:t>
            </a:r>
            <a:r>
              <a:rPr lang="en-US" sz="1300" i="1" dirty="0" smtClean="0">
                <a:solidFill>
                  <a:srgbClr val="1F497D"/>
                </a:solidFill>
                <a:latin typeface="Calibri"/>
                <a:cs typeface="Calibri"/>
              </a:rPr>
              <a:t> investor </a:t>
            </a:r>
            <a:r>
              <a:rPr lang="en-US" sz="1300" i="1" dirty="0" err="1" smtClean="0">
                <a:solidFill>
                  <a:srgbClr val="1F497D"/>
                </a:solidFill>
                <a:latin typeface="Calibri"/>
                <a:cs typeface="Calibri"/>
              </a:rPr>
              <a:t>ke</a:t>
            </a:r>
            <a:r>
              <a:rPr lang="en-US" sz="1300" i="1" dirty="0" smtClean="0">
                <a:solidFill>
                  <a:srgbClr val="1F497D"/>
                </a:solidFill>
                <a:latin typeface="Calibri"/>
                <a:cs typeface="Calibri"/>
              </a:rPr>
              <a:t> Indonesia</a:t>
            </a:r>
            <a:endParaRPr lang="en-US" sz="1300" i="1" dirty="0">
              <a:solidFill>
                <a:srgbClr val="1F497D"/>
              </a:solidFill>
              <a:latin typeface="Calibri"/>
              <a:cs typeface="Calibri"/>
            </a:endParaRPr>
          </a:p>
        </p:txBody>
      </p:sp>
      <p:sp>
        <p:nvSpPr>
          <p:cNvPr id="18" name="Rectangle 17"/>
          <p:cNvSpPr/>
          <p:nvPr/>
        </p:nvSpPr>
        <p:spPr>
          <a:xfrm>
            <a:off x="289482" y="4045418"/>
            <a:ext cx="8625918" cy="26655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7013" indent="-227013">
              <a:lnSpc>
                <a:spcPct val="110000"/>
              </a:lnSpc>
              <a:buFont typeface="Arial" panose="020B0604020202020204" pitchFamily="34" charset="0"/>
              <a:buChar char="•"/>
            </a:pPr>
            <a:r>
              <a:rPr lang="en-US" sz="1400" dirty="0">
                <a:solidFill>
                  <a:srgbClr val="000000"/>
                </a:solidFill>
                <a:cs typeface="Calibri"/>
              </a:rPr>
              <a:t>21 Mei 2015, </a:t>
            </a:r>
            <a:r>
              <a:rPr lang="en-US" sz="1400" dirty="0" err="1">
                <a:solidFill>
                  <a:srgbClr val="000000"/>
                </a:solidFill>
                <a:cs typeface="Calibri"/>
              </a:rPr>
              <a:t>Lembaga</a:t>
            </a:r>
            <a:r>
              <a:rPr lang="en-US" sz="1400" dirty="0">
                <a:solidFill>
                  <a:srgbClr val="000000"/>
                </a:solidFill>
                <a:cs typeface="Calibri"/>
              </a:rPr>
              <a:t> </a:t>
            </a:r>
            <a:r>
              <a:rPr lang="en-US" sz="1400" dirty="0" err="1">
                <a:solidFill>
                  <a:srgbClr val="000000"/>
                </a:solidFill>
                <a:cs typeface="Calibri"/>
              </a:rPr>
              <a:t>Pemeringkat</a:t>
            </a:r>
            <a:r>
              <a:rPr lang="en-US" sz="1400" dirty="0">
                <a:solidFill>
                  <a:srgbClr val="000000"/>
                </a:solidFill>
                <a:cs typeface="Calibri"/>
              </a:rPr>
              <a:t> Standard &amp; Poor </a:t>
            </a:r>
            <a:r>
              <a:rPr lang="en-US" sz="1400" dirty="0" err="1">
                <a:solidFill>
                  <a:srgbClr val="0000FF"/>
                </a:solidFill>
                <a:cs typeface="Calibri"/>
              </a:rPr>
              <a:t>meningkatkan</a:t>
            </a:r>
            <a:r>
              <a:rPr lang="en-US" sz="1400" dirty="0">
                <a:solidFill>
                  <a:srgbClr val="0000FF"/>
                </a:solidFill>
                <a:cs typeface="Calibri"/>
              </a:rPr>
              <a:t> Outlook </a:t>
            </a:r>
            <a:r>
              <a:rPr lang="en-US" sz="1400" dirty="0" err="1">
                <a:solidFill>
                  <a:srgbClr val="0000FF"/>
                </a:solidFill>
                <a:cs typeface="Calibri"/>
              </a:rPr>
              <a:t>Peringkat</a:t>
            </a:r>
            <a:r>
              <a:rPr lang="en-US" sz="1400" dirty="0">
                <a:solidFill>
                  <a:srgbClr val="0000FF"/>
                </a:solidFill>
                <a:cs typeface="Calibri"/>
              </a:rPr>
              <a:t> Rating Indonesia </a:t>
            </a:r>
            <a:r>
              <a:rPr lang="en-US" sz="1400" dirty="0" err="1">
                <a:solidFill>
                  <a:srgbClr val="0000FF"/>
                </a:solidFill>
                <a:cs typeface="Calibri"/>
              </a:rPr>
              <a:t>dari</a:t>
            </a:r>
            <a:r>
              <a:rPr lang="en-US" sz="1400" dirty="0">
                <a:solidFill>
                  <a:srgbClr val="0000FF"/>
                </a:solidFill>
                <a:cs typeface="Calibri"/>
              </a:rPr>
              <a:t> Stable </a:t>
            </a:r>
            <a:r>
              <a:rPr lang="en-US" sz="1400" dirty="0" err="1">
                <a:solidFill>
                  <a:srgbClr val="0000FF"/>
                </a:solidFill>
                <a:cs typeface="Calibri"/>
              </a:rPr>
              <a:t>menjadi</a:t>
            </a:r>
            <a:r>
              <a:rPr lang="en-US" sz="1400" dirty="0">
                <a:solidFill>
                  <a:srgbClr val="0000FF"/>
                </a:solidFill>
                <a:cs typeface="Calibri"/>
              </a:rPr>
              <a:t> Positive</a:t>
            </a:r>
            <a:r>
              <a:rPr lang="en-US" sz="1400" dirty="0">
                <a:solidFill>
                  <a:srgbClr val="000000"/>
                </a:solidFill>
                <a:cs typeface="Calibri"/>
              </a:rPr>
              <a:t> </a:t>
            </a:r>
            <a:r>
              <a:rPr lang="en-US" sz="1400" dirty="0" err="1">
                <a:solidFill>
                  <a:srgbClr val="000000"/>
                </a:solidFill>
                <a:cs typeface="Calibri"/>
              </a:rPr>
              <a:t>dan</a:t>
            </a:r>
            <a:r>
              <a:rPr lang="en-US" sz="1400" dirty="0">
                <a:solidFill>
                  <a:srgbClr val="000000"/>
                </a:solidFill>
                <a:cs typeface="Calibri"/>
              </a:rPr>
              <a:t> </a:t>
            </a:r>
            <a:r>
              <a:rPr lang="en-US" sz="1400" dirty="0" err="1">
                <a:solidFill>
                  <a:srgbClr val="000000"/>
                </a:solidFill>
                <a:cs typeface="Calibri"/>
              </a:rPr>
              <a:t>menegaskan</a:t>
            </a:r>
            <a:r>
              <a:rPr lang="en-US" sz="1400" dirty="0">
                <a:solidFill>
                  <a:srgbClr val="000000"/>
                </a:solidFill>
                <a:cs typeface="Calibri"/>
              </a:rPr>
              <a:t> </a:t>
            </a:r>
            <a:r>
              <a:rPr lang="en-US" sz="1400" dirty="0" err="1">
                <a:solidFill>
                  <a:srgbClr val="000000"/>
                </a:solidFill>
                <a:cs typeface="Calibri"/>
              </a:rPr>
              <a:t>kembali</a:t>
            </a:r>
            <a:r>
              <a:rPr lang="en-US" sz="1400" dirty="0">
                <a:solidFill>
                  <a:srgbClr val="000000"/>
                </a:solidFill>
                <a:cs typeface="Calibri"/>
              </a:rPr>
              <a:t> rating Indonesia </a:t>
            </a:r>
            <a:r>
              <a:rPr lang="en-US" sz="1400" dirty="0" err="1">
                <a:solidFill>
                  <a:srgbClr val="000000"/>
                </a:solidFill>
                <a:cs typeface="Calibri"/>
              </a:rPr>
              <a:t>pada</a:t>
            </a:r>
            <a:r>
              <a:rPr lang="en-US" sz="1400" dirty="0">
                <a:solidFill>
                  <a:srgbClr val="000000"/>
                </a:solidFill>
                <a:cs typeface="Calibri"/>
              </a:rPr>
              <a:t> level BB+ </a:t>
            </a:r>
          </a:p>
          <a:p>
            <a:pPr marL="227013" indent="-227013">
              <a:lnSpc>
                <a:spcPct val="110000"/>
              </a:lnSpc>
              <a:buFont typeface="Arial" panose="020B0604020202020204" pitchFamily="34" charset="0"/>
              <a:buChar char="•"/>
            </a:pPr>
            <a:r>
              <a:rPr lang="en-US" sz="1400" dirty="0" smtClean="0">
                <a:solidFill>
                  <a:schemeClr val="tx1"/>
                </a:solidFill>
              </a:rPr>
              <a:t>9 </a:t>
            </a:r>
            <a:r>
              <a:rPr lang="en-US" sz="1400" dirty="0" err="1" smtClean="0">
                <a:solidFill>
                  <a:schemeClr val="tx1"/>
                </a:solidFill>
              </a:rPr>
              <a:t>sep</a:t>
            </a:r>
            <a:r>
              <a:rPr lang="en-US" sz="1400" dirty="0" smtClean="0">
                <a:solidFill>
                  <a:schemeClr val="tx1"/>
                </a:solidFill>
              </a:rPr>
              <a:t> 2015, </a:t>
            </a:r>
            <a:r>
              <a:rPr lang="en-US" sz="1400" dirty="0">
                <a:solidFill>
                  <a:schemeClr val="tx1"/>
                </a:solidFill>
              </a:rPr>
              <a:t>S&amp;P </a:t>
            </a:r>
            <a:r>
              <a:rPr lang="en-US" sz="1400" dirty="0" err="1">
                <a:solidFill>
                  <a:schemeClr val="tx1"/>
                </a:solidFill>
              </a:rPr>
              <a:t>menurunkan</a:t>
            </a:r>
            <a:r>
              <a:rPr lang="en-US" sz="1400" dirty="0">
                <a:solidFill>
                  <a:schemeClr val="tx1"/>
                </a:solidFill>
              </a:rPr>
              <a:t> </a:t>
            </a:r>
            <a:r>
              <a:rPr lang="en-US" sz="1400" dirty="0" smtClean="0">
                <a:solidFill>
                  <a:schemeClr val="tx1"/>
                </a:solidFill>
              </a:rPr>
              <a:t>rating </a:t>
            </a:r>
            <a:r>
              <a:rPr lang="en-US" sz="1400" dirty="0">
                <a:solidFill>
                  <a:schemeClr val="tx1"/>
                </a:solidFill>
              </a:rPr>
              <a:t>Brazil </a:t>
            </a:r>
            <a:r>
              <a:rPr lang="en-US" sz="1400" dirty="0" err="1">
                <a:solidFill>
                  <a:schemeClr val="tx1"/>
                </a:solidFill>
              </a:rPr>
              <a:t>dari</a:t>
            </a:r>
            <a:r>
              <a:rPr lang="en-US" sz="1400" dirty="0">
                <a:solidFill>
                  <a:schemeClr val="tx1"/>
                </a:solidFill>
              </a:rPr>
              <a:t> BBB- (investment grade) </a:t>
            </a:r>
            <a:r>
              <a:rPr lang="en-US" sz="1400" dirty="0" err="1">
                <a:solidFill>
                  <a:schemeClr val="tx1"/>
                </a:solidFill>
              </a:rPr>
              <a:t>menjadi</a:t>
            </a:r>
            <a:r>
              <a:rPr lang="en-US" sz="1400" dirty="0">
                <a:solidFill>
                  <a:schemeClr val="tx1"/>
                </a:solidFill>
              </a:rPr>
              <a:t> BB+ (junk) </a:t>
            </a:r>
            <a:r>
              <a:rPr lang="en-US" sz="1400" dirty="0" err="1">
                <a:solidFill>
                  <a:schemeClr val="tx1"/>
                </a:solidFill>
              </a:rPr>
              <a:t>dengan</a:t>
            </a:r>
            <a:r>
              <a:rPr lang="en-US" sz="1400" dirty="0">
                <a:solidFill>
                  <a:schemeClr val="tx1"/>
                </a:solidFill>
              </a:rPr>
              <a:t> outlook </a:t>
            </a:r>
            <a:r>
              <a:rPr lang="en-US" sz="1400" dirty="0" err="1" smtClean="0">
                <a:solidFill>
                  <a:schemeClr val="tx1"/>
                </a:solidFill>
              </a:rPr>
              <a:t>negatif</a:t>
            </a:r>
            <a:r>
              <a:rPr lang="en-US" sz="1400" dirty="0" smtClean="0">
                <a:solidFill>
                  <a:schemeClr val="tx1"/>
                </a:solidFill>
              </a:rPr>
              <a:t>.</a:t>
            </a:r>
            <a:r>
              <a:rPr lang="en-US" sz="1400" dirty="0">
                <a:solidFill>
                  <a:schemeClr val="tx1"/>
                </a:solidFill>
              </a:rPr>
              <a:t> </a:t>
            </a:r>
            <a:r>
              <a:rPr lang="tr-TR" sz="1400" dirty="0" err="1" smtClean="0">
                <a:solidFill>
                  <a:schemeClr val="tx1"/>
                </a:solidFill>
              </a:rPr>
              <a:t>Penurunan</a:t>
            </a:r>
            <a:r>
              <a:rPr lang="tr-TR" sz="1400" dirty="0" smtClean="0">
                <a:solidFill>
                  <a:schemeClr val="tx1"/>
                </a:solidFill>
              </a:rPr>
              <a:t> </a:t>
            </a:r>
            <a:r>
              <a:rPr lang="tr-TR" sz="1400" dirty="0" err="1">
                <a:solidFill>
                  <a:schemeClr val="tx1"/>
                </a:solidFill>
              </a:rPr>
              <a:t>peringkat</a:t>
            </a:r>
            <a:r>
              <a:rPr lang="tr-TR" sz="1400" dirty="0">
                <a:solidFill>
                  <a:schemeClr val="tx1"/>
                </a:solidFill>
              </a:rPr>
              <a:t> </a:t>
            </a:r>
            <a:r>
              <a:rPr lang="tr-TR" sz="1400" dirty="0" err="1">
                <a:solidFill>
                  <a:schemeClr val="tx1"/>
                </a:solidFill>
              </a:rPr>
              <a:t>Brazil</a:t>
            </a:r>
            <a:r>
              <a:rPr lang="tr-TR" sz="1400" dirty="0">
                <a:solidFill>
                  <a:schemeClr val="tx1"/>
                </a:solidFill>
              </a:rPr>
              <a:t> </a:t>
            </a:r>
            <a:r>
              <a:rPr lang="tr-TR" sz="1400" dirty="0" err="1">
                <a:solidFill>
                  <a:schemeClr val="tx1"/>
                </a:solidFill>
              </a:rPr>
              <a:t>disebabkan</a:t>
            </a:r>
            <a:r>
              <a:rPr lang="tr-TR" sz="1400" dirty="0">
                <a:solidFill>
                  <a:schemeClr val="tx1"/>
                </a:solidFill>
              </a:rPr>
              <a:t> </a:t>
            </a:r>
            <a:r>
              <a:rPr lang="tr-TR" sz="1400" dirty="0" err="1">
                <a:solidFill>
                  <a:schemeClr val="tx1"/>
                </a:solidFill>
              </a:rPr>
              <a:t>oleh</a:t>
            </a:r>
            <a:r>
              <a:rPr lang="tr-TR" sz="1400" dirty="0">
                <a:solidFill>
                  <a:schemeClr val="tx1"/>
                </a:solidFill>
              </a:rPr>
              <a:t> </a:t>
            </a:r>
            <a:r>
              <a:rPr lang="tr-TR" sz="1400" dirty="0" err="1">
                <a:solidFill>
                  <a:schemeClr val="tx1"/>
                </a:solidFill>
              </a:rPr>
              <a:t>turunnya</a:t>
            </a:r>
            <a:r>
              <a:rPr lang="tr-TR" sz="1400" dirty="0">
                <a:solidFill>
                  <a:schemeClr val="tx1"/>
                </a:solidFill>
              </a:rPr>
              <a:t> </a:t>
            </a:r>
            <a:r>
              <a:rPr lang="tr-TR" sz="1400" dirty="0" err="1">
                <a:solidFill>
                  <a:schemeClr val="tx1"/>
                </a:solidFill>
              </a:rPr>
              <a:t>harga</a:t>
            </a:r>
            <a:r>
              <a:rPr lang="tr-TR" sz="1400" dirty="0">
                <a:solidFill>
                  <a:schemeClr val="tx1"/>
                </a:solidFill>
              </a:rPr>
              <a:t> </a:t>
            </a:r>
            <a:r>
              <a:rPr lang="tr-TR" sz="1400" dirty="0" err="1" smtClean="0">
                <a:solidFill>
                  <a:schemeClr val="tx1"/>
                </a:solidFill>
              </a:rPr>
              <a:t>komoditas</a:t>
            </a:r>
            <a:r>
              <a:rPr lang="tr-TR" sz="1400" dirty="0" smtClean="0">
                <a:solidFill>
                  <a:schemeClr val="tx1"/>
                </a:solidFill>
              </a:rPr>
              <a:t> </a:t>
            </a:r>
            <a:r>
              <a:rPr lang="tr-TR" sz="1400" dirty="0" err="1" smtClean="0">
                <a:solidFill>
                  <a:schemeClr val="tx1"/>
                </a:solidFill>
              </a:rPr>
              <a:t>yang</a:t>
            </a:r>
            <a:r>
              <a:rPr lang="tr-TR" sz="1400" dirty="0" smtClean="0">
                <a:solidFill>
                  <a:schemeClr val="tx1"/>
                </a:solidFill>
              </a:rPr>
              <a:t> </a:t>
            </a:r>
            <a:r>
              <a:rPr lang="tr-TR" sz="1400" dirty="0" err="1" smtClean="0">
                <a:solidFill>
                  <a:schemeClr val="tx1"/>
                </a:solidFill>
              </a:rPr>
              <a:t>mempengaruhi</a:t>
            </a:r>
            <a:r>
              <a:rPr lang="tr-TR" sz="1400" dirty="0" smtClean="0">
                <a:solidFill>
                  <a:schemeClr val="tx1"/>
                </a:solidFill>
              </a:rPr>
              <a:t> </a:t>
            </a:r>
            <a:r>
              <a:rPr lang="tr-TR" sz="1400" dirty="0" err="1" smtClean="0">
                <a:solidFill>
                  <a:schemeClr val="tx1"/>
                </a:solidFill>
              </a:rPr>
              <a:t>pertumbuhan</a:t>
            </a:r>
            <a:r>
              <a:rPr lang="tr-TR" sz="1400" dirty="0" smtClean="0">
                <a:solidFill>
                  <a:schemeClr val="tx1"/>
                </a:solidFill>
              </a:rPr>
              <a:t> ekonomi </a:t>
            </a:r>
            <a:r>
              <a:rPr lang="tr-TR" sz="1400" dirty="0" err="1" smtClean="0">
                <a:solidFill>
                  <a:schemeClr val="tx1"/>
                </a:solidFill>
              </a:rPr>
              <a:t>Brazil</a:t>
            </a:r>
            <a:r>
              <a:rPr lang="tr-TR" sz="1400" dirty="0" smtClean="0">
                <a:solidFill>
                  <a:schemeClr val="tx1"/>
                </a:solidFill>
              </a:rPr>
              <a:t> </a:t>
            </a:r>
            <a:r>
              <a:rPr lang="tr-TR" sz="1400" dirty="0" err="1" smtClean="0">
                <a:solidFill>
                  <a:schemeClr val="tx1"/>
                </a:solidFill>
              </a:rPr>
              <a:t>serta</a:t>
            </a:r>
            <a:r>
              <a:rPr lang="tr-TR" sz="1400" dirty="0" smtClean="0">
                <a:solidFill>
                  <a:schemeClr val="tx1"/>
                </a:solidFill>
              </a:rPr>
              <a:t> </a:t>
            </a:r>
            <a:r>
              <a:rPr lang="tr-TR" sz="1400" dirty="0" err="1" smtClean="0">
                <a:solidFill>
                  <a:schemeClr val="tx1"/>
                </a:solidFill>
              </a:rPr>
              <a:t>tantangan</a:t>
            </a:r>
            <a:r>
              <a:rPr lang="tr-TR" sz="1400" dirty="0" smtClean="0">
                <a:solidFill>
                  <a:schemeClr val="tx1"/>
                </a:solidFill>
              </a:rPr>
              <a:t> </a:t>
            </a:r>
            <a:r>
              <a:rPr lang="tr-TR" sz="1400" dirty="0" err="1">
                <a:solidFill>
                  <a:schemeClr val="tx1"/>
                </a:solidFill>
              </a:rPr>
              <a:t>di</a:t>
            </a:r>
            <a:r>
              <a:rPr lang="tr-TR" sz="1400" dirty="0">
                <a:solidFill>
                  <a:schemeClr val="tx1"/>
                </a:solidFill>
              </a:rPr>
              <a:t> sisi </a:t>
            </a:r>
            <a:r>
              <a:rPr lang="tr-TR" sz="1400" dirty="0" smtClean="0">
                <a:solidFill>
                  <a:schemeClr val="tx1"/>
                </a:solidFill>
              </a:rPr>
              <a:t>fiskal </a:t>
            </a:r>
            <a:r>
              <a:rPr lang="tr-TR" sz="1400" dirty="0" err="1" smtClean="0">
                <a:solidFill>
                  <a:schemeClr val="tx1"/>
                </a:solidFill>
              </a:rPr>
              <a:t>khususnya</a:t>
            </a:r>
            <a:r>
              <a:rPr lang="tr-TR" sz="1400" dirty="0" smtClean="0">
                <a:solidFill>
                  <a:schemeClr val="tx1"/>
                </a:solidFill>
              </a:rPr>
              <a:t> </a:t>
            </a:r>
            <a:r>
              <a:rPr lang="tr-TR" sz="1400" dirty="0" err="1" smtClean="0">
                <a:solidFill>
                  <a:schemeClr val="tx1"/>
                </a:solidFill>
              </a:rPr>
              <a:t>terkait</a:t>
            </a:r>
            <a:r>
              <a:rPr lang="tr-TR" sz="1400" dirty="0" smtClean="0">
                <a:solidFill>
                  <a:schemeClr val="tx1"/>
                </a:solidFill>
              </a:rPr>
              <a:t> </a:t>
            </a:r>
            <a:r>
              <a:rPr lang="tr-TR" sz="1400" dirty="0" err="1" smtClean="0">
                <a:solidFill>
                  <a:schemeClr val="tx1"/>
                </a:solidFill>
              </a:rPr>
              <a:t>defisit</a:t>
            </a:r>
            <a:r>
              <a:rPr lang="tr-TR" sz="1400" dirty="0" smtClean="0">
                <a:solidFill>
                  <a:schemeClr val="tx1"/>
                </a:solidFill>
              </a:rPr>
              <a:t> </a:t>
            </a:r>
            <a:r>
              <a:rPr lang="tr-TR" sz="1400" dirty="0" err="1" smtClean="0">
                <a:solidFill>
                  <a:schemeClr val="tx1"/>
                </a:solidFill>
              </a:rPr>
              <a:t>anggaran</a:t>
            </a:r>
            <a:r>
              <a:rPr lang="tr-TR" sz="1400" dirty="0" smtClean="0">
                <a:solidFill>
                  <a:schemeClr val="tx1"/>
                </a:solidFill>
              </a:rPr>
              <a:t>. </a:t>
            </a:r>
            <a:endParaRPr lang="tr-TR" sz="1400" dirty="0">
              <a:solidFill>
                <a:schemeClr val="tx1"/>
              </a:solidFill>
            </a:endParaRPr>
          </a:p>
          <a:p>
            <a:pPr marL="227013" indent="-227013">
              <a:lnSpc>
                <a:spcPct val="110000"/>
              </a:lnSpc>
              <a:buFont typeface="Arial" panose="020B0604020202020204" pitchFamily="34" charset="0"/>
              <a:buChar char="•"/>
            </a:pPr>
            <a:r>
              <a:rPr lang="tr-TR" sz="1400" dirty="0" err="1" smtClean="0">
                <a:solidFill>
                  <a:schemeClr val="tx1"/>
                </a:solidFill>
              </a:rPr>
              <a:t>Brazil</a:t>
            </a:r>
            <a:r>
              <a:rPr lang="tr-TR" sz="1400" dirty="0" smtClean="0">
                <a:solidFill>
                  <a:schemeClr val="tx1"/>
                </a:solidFill>
              </a:rPr>
              <a:t> </a:t>
            </a:r>
            <a:r>
              <a:rPr lang="tr-TR" sz="1400" dirty="0" err="1">
                <a:solidFill>
                  <a:schemeClr val="tx1"/>
                </a:solidFill>
              </a:rPr>
              <a:t>merupakan</a:t>
            </a:r>
            <a:r>
              <a:rPr lang="tr-TR" sz="1400" dirty="0">
                <a:solidFill>
                  <a:schemeClr val="tx1"/>
                </a:solidFill>
              </a:rPr>
              <a:t> </a:t>
            </a:r>
            <a:r>
              <a:rPr lang="tr-TR" sz="1400" dirty="0" err="1">
                <a:solidFill>
                  <a:schemeClr val="tx1"/>
                </a:solidFill>
              </a:rPr>
              <a:t>negara</a:t>
            </a:r>
            <a:r>
              <a:rPr lang="tr-TR" sz="1400" dirty="0">
                <a:solidFill>
                  <a:schemeClr val="tx1"/>
                </a:solidFill>
              </a:rPr>
              <a:t> </a:t>
            </a:r>
            <a:r>
              <a:rPr lang="tr-TR" sz="1400" dirty="0" err="1">
                <a:solidFill>
                  <a:schemeClr val="tx1"/>
                </a:solidFill>
              </a:rPr>
              <a:t>kedua</a:t>
            </a:r>
            <a:r>
              <a:rPr lang="tr-TR" sz="1400" dirty="0">
                <a:solidFill>
                  <a:schemeClr val="tx1"/>
                </a:solidFill>
              </a:rPr>
              <a:t> </a:t>
            </a:r>
            <a:r>
              <a:rPr lang="tr-TR" sz="1400" dirty="0" err="1">
                <a:solidFill>
                  <a:schemeClr val="tx1"/>
                </a:solidFill>
              </a:rPr>
              <a:t>yang</a:t>
            </a:r>
            <a:r>
              <a:rPr lang="tr-TR" sz="1400" dirty="0">
                <a:solidFill>
                  <a:schemeClr val="tx1"/>
                </a:solidFill>
              </a:rPr>
              <a:t> </a:t>
            </a:r>
            <a:r>
              <a:rPr lang="tr-TR" sz="1400" dirty="0" err="1">
                <a:solidFill>
                  <a:schemeClr val="tx1"/>
                </a:solidFill>
              </a:rPr>
              <a:t>diturunkan</a:t>
            </a:r>
            <a:r>
              <a:rPr lang="tr-TR" sz="1400" dirty="0">
                <a:solidFill>
                  <a:schemeClr val="tx1"/>
                </a:solidFill>
              </a:rPr>
              <a:t> </a:t>
            </a:r>
            <a:r>
              <a:rPr lang="tr-TR" sz="1400" dirty="0" err="1">
                <a:solidFill>
                  <a:schemeClr val="tx1"/>
                </a:solidFill>
              </a:rPr>
              <a:t>credit</a:t>
            </a:r>
            <a:r>
              <a:rPr lang="tr-TR" sz="1400" dirty="0">
                <a:solidFill>
                  <a:schemeClr val="tx1"/>
                </a:solidFill>
              </a:rPr>
              <a:t> </a:t>
            </a:r>
            <a:r>
              <a:rPr lang="tr-TR" sz="1400" dirty="0" err="1">
                <a:solidFill>
                  <a:schemeClr val="tx1"/>
                </a:solidFill>
              </a:rPr>
              <a:t>ratingnya</a:t>
            </a:r>
            <a:r>
              <a:rPr lang="tr-TR" sz="1400" dirty="0">
                <a:solidFill>
                  <a:schemeClr val="tx1"/>
                </a:solidFill>
              </a:rPr>
              <a:t> </a:t>
            </a:r>
            <a:r>
              <a:rPr lang="tr-TR" sz="1400" dirty="0" err="1">
                <a:solidFill>
                  <a:schemeClr val="tx1"/>
                </a:solidFill>
              </a:rPr>
              <a:t>oleh</a:t>
            </a:r>
            <a:r>
              <a:rPr lang="tr-TR" sz="1400" dirty="0">
                <a:solidFill>
                  <a:schemeClr val="tx1"/>
                </a:solidFill>
              </a:rPr>
              <a:t> S&amp;</a:t>
            </a:r>
            <a:r>
              <a:rPr lang="tr-TR" sz="1400" dirty="0" smtClean="0">
                <a:solidFill>
                  <a:schemeClr val="tx1"/>
                </a:solidFill>
              </a:rPr>
              <a:t>P </a:t>
            </a:r>
            <a:r>
              <a:rPr lang="tr-TR" sz="1400" dirty="0" err="1" smtClean="0">
                <a:solidFill>
                  <a:schemeClr val="tx1"/>
                </a:solidFill>
              </a:rPr>
              <a:t>di</a:t>
            </a:r>
            <a:r>
              <a:rPr lang="tr-TR" sz="1400" dirty="0" smtClean="0">
                <a:solidFill>
                  <a:schemeClr val="tx1"/>
                </a:solidFill>
              </a:rPr>
              <a:t> 2015 </a:t>
            </a:r>
            <a:r>
              <a:rPr lang="tr-TR" sz="1400" dirty="0" err="1">
                <a:solidFill>
                  <a:schemeClr val="tx1"/>
                </a:solidFill>
              </a:rPr>
              <a:t>setelah</a:t>
            </a:r>
            <a:r>
              <a:rPr lang="tr-TR" sz="1400" dirty="0">
                <a:solidFill>
                  <a:schemeClr val="tx1"/>
                </a:solidFill>
              </a:rPr>
              <a:t> </a:t>
            </a:r>
            <a:r>
              <a:rPr lang="tr-TR" sz="1400" dirty="0" err="1">
                <a:solidFill>
                  <a:schemeClr val="tx1"/>
                </a:solidFill>
              </a:rPr>
              <a:t>Rusia</a:t>
            </a:r>
            <a:r>
              <a:rPr lang="tr-TR" sz="1400" dirty="0">
                <a:solidFill>
                  <a:schemeClr val="tx1"/>
                </a:solidFill>
              </a:rPr>
              <a:t>. </a:t>
            </a:r>
            <a:r>
              <a:rPr lang="tr-TR" sz="1400" dirty="0" err="1">
                <a:solidFill>
                  <a:schemeClr val="tx1"/>
                </a:solidFill>
              </a:rPr>
              <a:t>Penurunan</a:t>
            </a:r>
            <a:r>
              <a:rPr lang="tr-TR" sz="1400" dirty="0">
                <a:solidFill>
                  <a:schemeClr val="tx1"/>
                </a:solidFill>
              </a:rPr>
              <a:t> </a:t>
            </a:r>
            <a:r>
              <a:rPr lang="tr-TR" sz="1400" dirty="0" err="1">
                <a:solidFill>
                  <a:schemeClr val="tx1"/>
                </a:solidFill>
              </a:rPr>
              <a:t>rating</a:t>
            </a:r>
            <a:r>
              <a:rPr lang="tr-TR" sz="1400" dirty="0">
                <a:solidFill>
                  <a:schemeClr val="tx1"/>
                </a:solidFill>
              </a:rPr>
              <a:t> ini </a:t>
            </a:r>
            <a:r>
              <a:rPr lang="tr-TR" sz="1400" dirty="0" err="1">
                <a:solidFill>
                  <a:schemeClr val="tx1"/>
                </a:solidFill>
              </a:rPr>
              <a:t>diprediksi</a:t>
            </a:r>
            <a:r>
              <a:rPr lang="tr-TR" sz="1400" dirty="0">
                <a:solidFill>
                  <a:schemeClr val="tx1"/>
                </a:solidFill>
              </a:rPr>
              <a:t> </a:t>
            </a:r>
            <a:r>
              <a:rPr lang="tr-TR" sz="1400" dirty="0" err="1">
                <a:solidFill>
                  <a:schemeClr val="tx1"/>
                </a:solidFill>
              </a:rPr>
              <a:t>berpengaruh</a:t>
            </a:r>
            <a:r>
              <a:rPr lang="tr-TR" sz="1400" dirty="0">
                <a:solidFill>
                  <a:schemeClr val="tx1"/>
                </a:solidFill>
              </a:rPr>
              <a:t> </a:t>
            </a:r>
            <a:r>
              <a:rPr lang="tr-TR" sz="1400" dirty="0" err="1">
                <a:solidFill>
                  <a:schemeClr val="tx1"/>
                </a:solidFill>
              </a:rPr>
              <a:t>terhadap</a:t>
            </a:r>
            <a:r>
              <a:rPr lang="tr-TR" sz="1400" dirty="0">
                <a:solidFill>
                  <a:schemeClr val="tx1"/>
                </a:solidFill>
              </a:rPr>
              <a:t> </a:t>
            </a:r>
            <a:r>
              <a:rPr lang="tr-TR" sz="1400" dirty="0" err="1" smtClean="0">
                <a:solidFill>
                  <a:schemeClr val="tx1"/>
                </a:solidFill>
              </a:rPr>
              <a:t>EMEs</a:t>
            </a:r>
            <a:r>
              <a:rPr lang="tr-TR" sz="1400" dirty="0" smtClean="0">
                <a:solidFill>
                  <a:schemeClr val="tx1"/>
                </a:solidFill>
              </a:rPr>
              <a:t> </a:t>
            </a:r>
            <a:r>
              <a:rPr lang="tr-TR" sz="1400" dirty="0" err="1" smtClean="0">
                <a:solidFill>
                  <a:schemeClr val="tx1"/>
                </a:solidFill>
              </a:rPr>
              <a:t>lainnya</a:t>
            </a:r>
            <a:r>
              <a:rPr lang="tr-TR" sz="1400" dirty="0">
                <a:solidFill>
                  <a:schemeClr val="tx1"/>
                </a:solidFill>
              </a:rPr>
              <a:t> </a:t>
            </a:r>
            <a:r>
              <a:rPr lang="tr-TR" sz="1400" dirty="0" smtClean="0">
                <a:solidFill>
                  <a:schemeClr val="tx1"/>
                </a:solidFill>
              </a:rPr>
              <a:t>dan </a:t>
            </a:r>
            <a:r>
              <a:rPr lang="en-US" sz="1400" dirty="0" err="1" smtClean="0">
                <a:solidFill>
                  <a:schemeClr val="tx1"/>
                </a:solidFill>
              </a:rPr>
              <a:t>memberikan</a:t>
            </a:r>
            <a:r>
              <a:rPr lang="en-US" sz="1400" dirty="0" smtClean="0">
                <a:solidFill>
                  <a:schemeClr val="tx1"/>
                </a:solidFill>
              </a:rPr>
              <a:t> </a:t>
            </a:r>
            <a:r>
              <a:rPr lang="en-US" sz="1400" dirty="0" err="1">
                <a:solidFill>
                  <a:schemeClr val="tx1"/>
                </a:solidFill>
              </a:rPr>
              <a:t>peluang</a:t>
            </a:r>
            <a:r>
              <a:rPr lang="en-US" sz="1400" dirty="0">
                <a:solidFill>
                  <a:schemeClr val="tx1"/>
                </a:solidFill>
              </a:rPr>
              <a:t> </a:t>
            </a:r>
            <a:r>
              <a:rPr lang="en-US" sz="1400" dirty="0" err="1">
                <a:solidFill>
                  <a:schemeClr val="tx1"/>
                </a:solidFill>
              </a:rPr>
              <a:t>terjadinya</a:t>
            </a:r>
            <a:r>
              <a:rPr lang="en-US" sz="1400" dirty="0">
                <a:solidFill>
                  <a:schemeClr val="tx1"/>
                </a:solidFill>
              </a:rPr>
              <a:t> </a:t>
            </a:r>
            <a:r>
              <a:rPr lang="en-US" sz="1400" dirty="0" err="1">
                <a:solidFill>
                  <a:schemeClr val="tx1"/>
                </a:solidFill>
              </a:rPr>
              <a:t>perpindahan</a:t>
            </a:r>
            <a:r>
              <a:rPr lang="en-US" sz="1400" dirty="0">
                <a:solidFill>
                  <a:schemeClr val="tx1"/>
                </a:solidFill>
              </a:rPr>
              <a:t> </a:t>
            </a:r>
            <a:r>
              <a:rPr lang="en-US" sz="1400" dirty="0" err="1">
                <a:solidFill>
                  <a:schemeClr val="tx1"/>
                </a:solidFill>
              </a:rPr>
              <a:t>arus</a:t>
            </a:r>
            <a:r>
              <a:rPr lang="en-US" sz="1400" dirty="0">
                <a:solidFill>
                  <a:schemeClr val="tx1"/>
                </a:solidFill>
              </a:rPr>
              <a:t> modal </a:t>
            </a:r>
            <a:r>
              <a:rPr lang="en-US" sz="1400" dirty="0" smtClean="0">
                <a:solidFill>
                  <a:schemeClr val="tx1"/>
                </a:solidFill>
              </a:rPr>
              <a:t>investor </a:t>
            </a:r>
            <a:r>
              <a:rPr lang="en-US" sz="1400" dirty="0">
                <a:solidFill>
                  <a:schemeClr val="tx1"/>
                </a:solidFill>
              </a:rPr>
              <a:t>global </a:t>
            </a:r>
            <a:r>
              <a:rPr lang="en-US" sz="1400" dirty="0" err="1" smtClean="0">
                <a:solidFill>
                  <a:schemeClr val="tx1"/>
                </a:solidFill>
              </a:rPr>
              <a:t>kepada</a:t>
            </a:r>
            <a:r>
              <a:rPr lang="en-US" sz="1400" dirty="0" smtClean="0">
                <a:solidFill>
                  <a:schemeClr val="tx1"/>
                </a:solidFill>
              </a:rPr>
              <a:t> </a:t>
            </a:r>
            <a:r>
              <a:rPr lang="en-US" sz="1400" dirty="0">
                <a:solidFill>
                  <a:schemeClr val="tx1"/>
                </a:solidFill>
              </a:rPr>
              <a:t>EM </a:t>
            </a:r>
            <a:r>
              <a:rPr lang="en-US" sz="1400" dirty="0" smtClean="0">
                <a:solidFill>
                  <a:schemeClr val="tx1"/>
                </a:solidFill>
              </a:rPr>
              <a:t>yang </a:t>
            </a:r>
            <a:r>
              <a:rPr lang="en-US" sz="1400" dirty="0" err="1" smtClean="0">
                <a:solidFill>
                  <a:schemeClr val="tx1"/>
                </a:solidFill>
              </a:rPr>
              <a:t>dianggap</a:t>
            </a:r>
            <a:r>
              <a:rPr lang="en-US" sz="1400" dirty="0" smtClean="0">
                <a:solidFill>
                  <a:schemeClr val="tx1"/>
                </a:solidFill>
              </a:rPr>
              <a:t> </a:t>
            </a:r>
            <a:r>
              <a:rPr lang="en-US" sz="1400" dirty="0" err="1" smtClean="0">
                <a:solidFill>
                  <a:schemeClr val="tx1"/>
                </a:solidFill>
              </a:rPr>
              <a:t>lebih</a:t>
            </a:r>
            <a:r>
              <a:rPr lang="en-US" sz="1400" dirty="0" smtClean="0">
                <a:solidFill>
                  <a:schemeClr val="tx1"/>
                </a:solidFill>
              </a:rPr>
              <a:t> </a:t>
            </a:r>
            <a:r>
              <a:rPr lang="en-US" sz="1400" dirty="0" err="1" smtClean="0">
                <a:solidFill>
                  <a:schemeClr val="tx1"/>
                </a:solidFill>
              </a:rPr>
              <a:t>stabil</a:t>
            </a:r>
            <a:r>
              <a:rPr lang="en-US" sz="1400" dirty="0" smtClean="0">
                <a:solidFill>
                  <a:schemeClr val="tx1"/>
                </a:solidFill>
              </a:rPr>
              <a:t> (</a:t>
            </a:r>
            <a:r>
              <a:rPr lang="en-US" sz="1400" dirty="0" err="1">
                <a:solidFill>
                  <a:schemeClr val="tx1"/>
                </a:solidFill>
              </a:rPr>
              <a:t>termasuk</a:t>
            </a:r>
            <a:r>
              <a:rPr lang="en-US" sz="1400" dirty="0">
                <a:solidFill>
                  <a:schemeClr val="tx1"/>
                </a:solidFill>
              </a:rPr>
              <a:t> Indonesia</a:t>
            </a:r>
            <a:r>
              <a:rPr lang="en-US" sz="1400" dirty="0" smtClean="0">
                <a:solidFill>
                  <a:schemeClr val="tx1"/>
                </a:solidFill>
              </a:rPr>
              <a:t>)</a:t>
            </a:r>
            <a:endParaRPr lang="tr-TR" sz="1400" dirty="0" smtClean="0">
              <a:solidFill>
                <a:schemeClr val="tx1"/>
              </a:solidFill>
            </a:endParaRPr>
          </a:p>
          <a:p>
            <a:pPr marL="227013" indent="-227013">
              <a:lnSpc>
                <a:spcPct val="110000"/>
              </a:lnSpc>
              <a:buFont typeface="Arial" panose="020B0604020202020204" pitchFamily="34" charset="0"/>
              <a:buChar char="•"/>
            </a:pPr>
            <a:r>
              <a:rPr lang="tr-TR" sz="1400" dirty="0" err="1" smtClean="0">
                <a:solidFill>
                  <a:schemeClr val="tx1"/>
                </a:solidFill>
              </a:rPr>
              <a:t>Setelah</a:t>
            </a:r>
            <a:r>
              <a:rPr lang="tr-TR" sz="1400" dirty="0" smtClean="0">
                <a:solidFill>
                  <a:schemeClr val="tx1"/>
                </a:solidFill>
              </a:rPr>
              <a:t> </a:t>
            </a:r>
            <a:r>
              <a:rPr lang="tr-TR" sz="1400" dirty="0" err="1" smtClean="0">
                <a:solidFill>
                  <a:schemeClr val="tx1"/>
                </a:solidFill>
              </a:rPr>
              <a:t>sebelumnya</a:t>
            </a:r>
            <a:r>
              <a:rPr lang="tr-TR" sz="1400" dirty="0" smtClean="0">
                <a:solidFill>
                  <a:schemeClr val="tx1"/>
                </a:solidFill>
              </a:rPr>
              <a:t> </a:t>
            </a:r>
            <a:r>
              <a:rPr lang="tr-TR" sz="1400" dirty="0" err="1" smtClean="0">
                <a:solidFill>
                  <a:schemeClr val="tx1"/>
                </a:solidFill>
              </a:rPr>
              <a:t>sempat</a:t>
            </a:r>
            <a:r>
              <a:rPr lang="tr-TR" sz="1400" dirty="0" smtClean="0">
                <a:solidFill>
                  <a:schemeClr val="tx1"/>
                </a:solidFill>
              </a:rPr>
              <a:t> </a:t>
            </a:r>
            <a:r>
              <a:rPr lang="tr-TR" sz="1400" dirty="0" err="1" smtClean="0">
                <a:solidFill>
                  <a:schemeClr val="tx1"/>
                </a:solidFill>
              </a:rPr>
              <a:t>memperoleh</a:t>
            </a:r>
            <a:r>
              <a:rPr lang="tr-TR" sz="1400" dirty="0" smtClean="0">
                <a:solidFill>
                  <a:schemeClr val="tx1"/>
                </a:solidFill>
              </a:rPr>
              <a:t> </a:t>
            </a:r>
            <a:r>
              <a:rPr lang="tr-TR" sz="1400" dirty="0" err="1">
                <a:solidFill>
                  <a:schemeClr val="tx1"/>
                </a:solidFill>
              </a:rPr>
              <a:t>Investment</a:t>
            </a:r>
            <a:r>
              <a:rPr lang="tr-TR" sz="1400" dirty="0">
                <a:solidFill>
                  <a:schemeClr val="tx1"/>
                </a:solidFill>
              </a:rPr>
              <a:t> Grade </a:t>
            </a:r>
            <a:r>
              <a:rPr lang="tr-TR" sz="1400" dirty="0" err="1">
                <a:solidFill>
                  <a:schemeClr val="tx1"/>
                </a:solidFill>
              </a:rPr>
              <a:t>dari</a:t>
            </a:r>
            <a:r>
              <a:rPr lang="tr-TR" sz="1400" dirty="0">
                <a:solidFill>
                  <a:schemeClr val="tx1"/>
                </a:solidFill>
              </a:rPr>
              <a:t> S&amp;P, </a:t>
            </a:r>
            <a:r>
              <a:rPr lang="tr-TR" sz="1400" dirty="0" err="1">
                <a:solidFill>
                  <a:schemeClr val="tx1"/>
                </a:solidFill>
              </a:rPr>
              <a:t>Brazil</a:t>
            </a:r>
            <a:r>
              <a:rPr lang="tr-TR" sz="1400" dirty="0">
                <a:solidFill>
                  <a:schemeClr val="tx1"/>
                </a:solidFill>
              </a:rPr>
              <a:t> dan </a:t>
            </a:r>
            <a:r>
              <a:rPr lang="tr-TR" sz="1400" dirty="0" err="1" smtClean="0">
                <a:solidFill>
                  <a:schemeClr val="tx1"/>
                </a:solidFill>
              </a:rPr>
              <a:t>Russia</a:t>
            </a:r>
            <a:r>
              <a:rPr lang="tr-TR" sz="1400" dirty="0" smtClean="0">
                <a:solidFill>
                  <a:schemeClr val="tx1"/>
                </a:solidFill>
              </a:rPr>
              <a:t> saat ini </a:t>
            </a:r>
            <a:r>
              <a:rPr lang="tr-TR" sz="1400" dirty="0" err="1">
                <a:solidFill>
                  <a:schemeClr val="tx1"/>
                </a:solidFill>
              </a:rPr>
              <a:t>berada</a:t>
            </a:r>
            <a:r>
              <a:rPr lang="tr-TR" sz="1400" dirty="0">
                <a:solidFill>
                  <a:schemeClr val="tx1"/>
                </a:solidFill>
              </a:rPr>
              <a:t> </a:t>
            </a:r>
            <a:r>
              <a:rPr lang="tr-TR" sz="1400" dirty="0" err="1">
                <a:solidFill>
                  <a:schemeClr val="tx1"/>
                </a:solidFill>
              </a:rPr>
              <a:t>pada</a:t>
            </a:r>
            <a:r>
              <a:rPr lang="tr-TR" sz="1400" dirty="0">
                <a:solidFill>
                  <a:schemeClr val="tx1"/>
                </a:solidFill>
              </a:rPr>
              <a:t> </a:t>
            </a:r>
            <a:r>
              <a:rPr lang="tr-TR" sz="1400" dirty="0" err="1">
                <a:solidFill>
                  <a:schemeClr val="tx1"/>
                </a:solidFill>
              </a:rPr>
              <a:t>peringkat</a:t>
            </a:r>
            <a:r>
              <a:rPr lang="tr-TR" sz="1400" dirty="0">
                <a:solidFill>
                  <a:schemeClr val="tx1"/>
                </a:solidFill>
              </a:rPr>
              <a:t> </a:t>
            </a:r>
            <a:r>
              <a:rPr lang="tr-TR" sz="1400" dirty="0" err="1">
                <a:solidFill>
                  <a:schemeClr val="tx1"/>
                </a:solidFill>
              </a:rPr>
              <a:t>yang</a:t>
            </a:r>
            <a:r>
              <a:rPr lang="tr-TR" sz="1400" dirty="0">
                <a:solidFill>
                  <a:schemeClr val="tx1"/>
                </a:solidFill>
              </a:rPr>
              <a:t> sama </a:t>
            </a:r>
            <a:r>
              <a:rPr lang="tr-TR" sz="1400" dirty="0" err="1">
                <a:solidFill>
                  <a:schemeClr val="tx1"/>
                </a:solidFill>
              </a:rPr>
              <a:t>dengan</a:t>
            </a:r>
            <a:r>
              <a:rPr lang="tr-TR" sz="1400" dirty="0">
                <a:solidFill>
                  <a:schemeClr val="tx1"/>
                </a:solidFill>
              </a:rPr>
              <a:t> </a:t>
            </a:r>
            <a:r>
              <a:rPr lang="tr-TR" sz="1400" dirty="0" err="1">
                <a:solidFill>
                  <a:schemeClr val="tx1"/>
                </a:solidFill>
              </a:rPr>
              <a:t>Indonesia</a:t>
            </a:r>
            <a:r>
              <a:rPr lang="tr-TR" sz="1400" dirty="0">
                <a:solidFill>
                  <a:schemeClr val="tx1"/>
                </a:solidFill>
              </a:rPr>
              <a:t> (BB+). </a:t>
            </a:r>
            <a:r>
              <a:rPr lang="tr-TR" sz="1400" dirty="0" err="1">
                <a:solidFill>
                  <a:schemeClr val="tx1"/>
                </a:solidFill>
              </a:rPr>
              <a:t>Namun</a:t>
            </a:r>
            <a:r>
              <a:rPr lang="tr-TR" sz="1400" dirty="0">
                <a:solidFill>
                  <a:schemeClr val="tx1"/>
                </a:solidFill>
              </a:rPr>
              <a:t> </a:t>
            </a:r>
            <a:r>
              <a:rPr lang="tr-TR" sz="1400" dirty="0" err="1">
                <a:solidFill>
                  <a:schemeClr val="tx1"/>
                </a:solidFill>
              </a:rPr>
              <a:t>Indonesia</a:t>
            </a:r>
            <a:r>
              <a:rPr lang="tr-TR" sz="1400" dirty="0">
                <a:solidFill>
                  <a:schemeClr val="tx1"/>
                </a:solidFill>
              </a:rPr>
              <a:t> </a:t>
            </a:r>
            <a:r>
              <a:rPr lang="tr-TR" sz="1400" dirty="0" err="1">
                <a:solidFill>
                  <a:schemeClr val="tx1"/>
                </a:solidFill>
              </a:rPr>
              <a:t>mempunyai</a:t>
            </a:r>
            <a:r>
              <a:rPr lang="tr-TR" sz="1400" dirty="0">
                <a:solidFill>
                  <a:schemeClr val="tx1"/>
                </a:solidFill>
              </a:rPr>
              <a:t> Outlook </a:t>
            </a:r>
            <a:r>
              <a:rPr lang="tr-TR" sz="1400" dirty="0" err="1">
                <a:solidFill>
                  <a:schemeClr val="tx1"/>
                </a:solidFill>
              </a:rPr>
              <a:t>Positif</a:t>
            </a:r>
            <a:r>
              <a:rPr lang="tr-TR" sz="1400" dirty="0">
                <a:solidFill>
                  <a:schemeClr val="tx1"/>
                </a:solidFill>
              </a:rPr>
              <a:t> </a:t>
            </a:r>
            <a:r>
              <a:rPr lang="tr-TR" sz="1400" dirty="0" err="1">
                <a:solidFill>
                  <a:schemeClr val="tx1"/>
                </a:solidFill>
              </a:rPr>
              <a:t>dibanding</a:t>
            </a:r>
            <a:r>
              <a:rPr lang="tr-TR" sz="1400" dirty="0">
                <a:solidFill>
                  <a:schemeClr val="tx1"/>
                </a:solidFill>
              </a:rPr>
              <a:t> </a:t>
            </a:r>
            <a:r>
              <a:rPr lang="tr-TR" sz="1400" dirty="0" err="1">
                <a:solidFill>
                  <a:schemeClr val="tx1"/>
                </a:solidFill>
              </a:rPr>
              <a:t>Brazil</a:t>
            </a:r>
            <a:r>
              <a:rPr lang="tr-TR" sz="1400" dirty="0">
                <a:solidFill>
                  <a:schemeClr val="tx1"/>
                </a:solidFill>
              </a:rPr>
              <a:t> dan </a:t>
            </a:r>
            <a:r>
              <a:rPr lang="tr-TR" sz="1400" dirty="0" err="1">
                <a:solidFill>
                  <a:schemeClr val="tx1"/>
                </a:solidFill>
              </a:rPr>
              <a:t>Russia</a:t>
            </a:r>
            <a:r>
              <a:rPr lang="tr-TR" sz="1400" dirty="0">
                <a:solidFill>
                  <a:schemeClr val="tx1"/>
                </a:solidFill>
              </a:rPr>
              <a:t> </a:t>
            </a:r>
            <a:r>
              <a:rPr lang="tr-TR" sz="1400" dirty="0" err="1">
                <a:solidFill>
                  <a:schemeClr val="tx1"/>
                </a:solidFill>
              </a:rPr>
              <a:t>yang</a:t>
            </a:r>
            <a:r>
              <a:rPr lang="tr-TR" sz="1400" dirty="0">
                <a:solidFill>
                  <a:schemeClr val="tx1"/>
                </a:solidFill>
              </a:rPr>
              <a:t> Negatif</a:t>
            </a:r>
            <a:r>
              <a:rPr lang="tr-TR" sz="1400" dirty="0" smtClean="0">
                <a:solidFill>
                  <a:schemeClr val="tx1"/>
                </a:solidFill>
              </a:rPr>
              <a:t>.</a:t>
            </a:r>
            <a:endParaRPr lang="tr-TR" sz="1400" dirty="0">
              <a:solidFill>
                <a:schemeClr val="tx1"/>
              </a:solidFill>
            </a:endParaRPr>
          </a:p>
        </p:txBody>
      </p:sp>
      <p:graphicFrame>
        <p:nvGraphicFramePr>
          <p:cNvPr id="19" name="Chart 18"/>
          <p:cNvGraphicFramePr>
            <a:graphicFrameLocks/>
          </p:cNvGraphicFramePr>
          <p:nvPr>
            <p:extLst>
              <p:ext uri="{D42A27DB-BD31-4B8C-83A1-F6EECF244321}">
                <p14:modId xmlns:p14="http://schemas.microsoft.com/office/powerpoint/2010/main" val="2221285716"/>
              </p:ext>
            </p:extLst>
          </p:nvPr>
        </p:nvGraphicFramePr>
        <p:xfrm>
          <a:off x="361852" y="762000"/>
          <a:ext cx="8661338" cy="3283416"/>
        </p:xfrm>
        <a:graphic>
          <a:graphicData uri="http://schemas.openxmlformats.org/drawingml/2006/chart">
            <c:chart xmlns:c="http://schemas.openxmlformats.org/drawingml/2006/chart" xmlns:r="http://schemas.openxmlformats.org/officeDocument/2006/relationships" r:id="rId2"/>
          </a:graphicData>
        </a:graphic>
      </p:graphicFrame>
      <p:cxnSp>
        <p:nvCxnSpPr>
          <p:cNvPr id="20" name="Straight Connector 19"/>
          <p:cNvCxnSpPr/>
          <p:nvPr/>
        </p:nvCxnSpPr>
        <p:spPr>
          <a:xfrm>
            <a:off x="1018335" y="2042983"/>
            <a:ext cx="8082245" cy="0"/>
          </a:xfrm>
          <a:prstGeom prst="line">
            <a:avLst/>
          </a:prstGeom>
          <a:ln w="12700" cmpd="sng">
            <a:solidFill>
              <a:schemeClr val="accent6">
                <a:lumMod val="7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032956" y="1783436"/>
            <a:ext cx="2821484" cy="200055"/>
          </a:xfrm>
          <a:prstGeom prst="rect">
            <a:avLst/>
          </a:prstGeom>
          <a:noFill/>
        </p:spPr>
        <p:txBody>
          <a:bodyPr wrap="square" rtlCol="0">
            <a:spAutoFit/>
          </a:bodyPr>
          <a:lstStyle/>
          <a:p>
            <a:r>
              <a:rPr lang="en-US" sz="700" b="1" dirty="0" smtClean="0">
                <a:solidFill>
                  <a:schemeClr val="accent6">
                    <a:lumMod val="75000"/>
                  </a:schemeClr>
                </a:solidFill>
              </a:rPr>
              <a:t>Investment Grade</a:t>
            </a:r>
            <a:endParaRPr lang="en-US" sz="700" b="1" dirty="0">
              <a:solidFill>
                <a:schemeClr val="accent6">
                  <a:lumMod val="75000"/>
                </a:schemeClr>
              </a:solidFill>
            </a:endParaRPr>
          </a:p>
        </p:txBody>
      </p:sp>
      <p:sp>
        <p:nvSpPr>
          <p:cNvPr id="26" name="Oval 25"/>
          <p:cNvSpPr/>
          <p:nvPr/>
        </p:nvSpPr>
        <p:spPr>
          <a:xfrm>
            <a:off x="7901225" y="1969717"/>
            <a:ext cx="1085187" cy="496097"/>
          </a:xfrm>
          <a:prstGeom prst="ellipse">
            <a:avLst/>
          </a:prstGeom>
          <a:no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p:cNvSpPr txBox="1"/>
          <p:nvPr/>
        </p:nvSpPr>
        <p:spPr>
          <a:xfrm>
            <a:off x="5527169" y="1530453"/>
            <a:ext cx="3189011" cy="415498"/>
          </a:xfrm>
          <a:prstGeom prst="rect">
            <a:avLst/>
          </a:prstGeom>
          <a:noFill/>
        </p:spPr>
        <p:txBody>
          <a:bodyPr wrap="square" rtlCol="0">
            <a:spAutoFit/>
          </a:bodyPr>
          <a:lstStyle/>
          <a:p>
            <a:pPr algn="r"/>
            <a:r>
              <a:rPr lang="en-US" sz="1050" b="1" i="1" dirty="0" smtClean="0"/>
              <a:t>Brazil, Russia </a:t>
            </a:r>
            <a:r>
              <a:rPr lang="en-US" sz="1050" b="1" i="1" dirty="0" err="1" smtClean="0"/>
              <a:t>dan</a:t>
            </a:r>
            <a:r>
              <a:rPr lang="en-US" sz="1050" b="1" i="1" dirty="0" smtClean="0"/>
              <a:t> Indonesia </a:t>
            </a:r>
            <a:r>
              <a:rPr lang="en-US" sz="1050" b="1" i="1" dirty="0" err="1" smtClean="0"/>
              <a:t>berada</a:t>
            </a:r>
            <a:r>
              <a:rPr lang="en-US" sz="1050" b="1" i="1" dirty="0" smtClean="0"/>
              <a:t> </a:t>
            </a:r>
            <a:r>
              <a:rPr lang="en-US" sz="1050" b="1" i="1" dirty="0" err="1" smtClean="0"/>
              <a:t>pada</a:t>
            </a:r>
            <a:r>
              <a:rPr lang="en-US" sz="1050" b="1" i="1" dirty="0" smtClean="0"/>
              <a:t> rating yang </a:t>
            </a:r>
            <a:r>
              <a:rPr lang="en-US" sz="1050" b="1" i="1" dirty="0" err="1" smtClean="0"/>
              <a:t>sama</a:t>
            </a:r>
            <a:r>
              <a:rPr lang="en-US" sz="1050" b="1" i="1" dirty="0" smtClean="0"/>
              <a:t> </a:t>
            </a:r>
            <a:r>
              <a:rPr lang="en-US" sz="1050" b="1" i="1" dirty="0" err="1" smtClean="0"/>
              <a:t>dari</a:t>
            </a:r>
            <a:r>
              <a:rPr lang="en-US" sz="1050" b="1" i="1" dirty="0" smtClean="0"/>
              <a:t> S&amp;P </a:t>
            </a:r>
            <a:r>
              <a:rPr lang="en-US" sz="1050" b="1" i="1" dirty="0" err="1" smtClean="0"/>
              <a:t>yaity</a:t>
            </a:r>
            <a:r>
              <a:rPr lang="en-US" sz="1050" b="1" i="1" dirty="0" smtClean="0"/>
              <a:t> BB+</a:t>
            </a:r>
            <a:endParaRPr lang="en-US" sz="1050" b="1" i="1" dirty="0"/>
          </a:p>
        </p:txBody>
      </p:sp>
      <p:pic>
        <p:nvPicPr>
          <p:cNvPr id="2" name="Picture 1"/>
          <p:cNvPicPr>
            <a:picLocks noChangeAspect="1"/>
          </p:cNvPicPr>
          <p:nvPr/>
        </p:nvPicPr>
        <p:blipFill>
          <a:blip r:embed="rId3"/>
          <a:stretch>
            <a:fillRect/>
          </a:stretch>
        </p:blipFill>
        <p:spPr>
          <a:xfrm>
            <a:off x="4228357" y="2759573"/>
            <a:ext cx="4487823" cy="966191"/>
          </a:xfrm>
          <a:prstGeom prst="rect">
            <a:avLst/>
          </a:prstGeom>
        </p:spPr>
      </p:pic>
      <p:sp>
        <p:nvSpPr>
          <p:cNvPr id="3" name="Rectangle 2"/>
          <p:cNvSpPr/>
          <p:nvPr/>
        </p:nvSpPr>
        <p:spPr>
          <a:xfrm>
            <a:off x="4228359" y="3308416"/>
            <a:ext cx="4355997" cy="144000"/>
          </a:xfrm>
          <a:prstGeom prst="rect">
            <a:avLst/>
          </a:prstGeom>
          <a:noFill/>
          <a:ln>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Slide Number Placeholder 3"/>
          <p:cNvSpPr txBox="1">
            <a:spLocks/>
          </p:cNvSpPr>
          <p:nvPr/>
        </p:nvSpPr>
        <p:spPr>
          <a:xfrm>
            <a:off x="0" y="6494738"/>
            <a:ext cx="676663" cy="363262"/>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92C441B-0EFA-4044-BD8E-5D2A6FCD95FF}" type="slidenum">
              <a:rPr lang="id-ID" sz="1400" b="1" smtClean="0">
                <a:solidFill>
                  <a:schemeClr val="bg1"/>
                </a:solidFill>
              </a:rPr>
              <a:pPr/>
              <a:t>31</a:t>
            </a:fld>
            <a:endParaRPr lang="id-ID" sz="1400" b="1" dirty="0">
              <a:solidFill>
                <a:schemeClr val="bg1"/>
              </a:solidFill>
            </a:endParaRPr>
          </a:p>
        </p:txBody>
      </p:sp>
    </p:spTree>
    <p:extLst>
      <p:ext uri="{BB962C8B-B14F-4D97-AF65-F5344CB8AC3E}">
        <p14:creationId xmlns:p14="http://schemas.microsoft.com/office/powerpoint/2010/main" val="63958507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bwMode="auto">
          <a:xfrm>
            <a:off x="0" y="26988"/>
            <a:ext cx="9144000"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id-ID" altLang="id-ID" smtClean="0"/>
              <a:t>Inflasi</a:t>
            </a:r>
            <a:endParaRPr lang="en-US" altLang="id-ID" smtClean="0"/>
          </a:p>
        </p:txBody>
      </p:sp>
      <p:sp>
        <p:nvSpPr>
          <p:cNvPr id="3" name="Content Placeholder 2"/>
          <p:cNvSpPr>
            <a:spLocks noGrp="1"/>
          </p:cNvSpPr>
          <p:nvPr>
            <p:ph idx="1"/>
          </p:nvPr>
        </p:nvSpPr>
        <p:spPr>
          <a:xfrm>
            <a:off x="-31750" y="1143000"/>
            <a:ext cx="9175750" cy="762000"/>
          </a:xfrm>
        </p:spPr>
        <p:txBody>
          <a:bodyPr/>
          <a:lstStyle/>
          <a:p>
            <a:pPr indent="-255588"/>
            <a:r>
              <a:rPr lang="id-ID" sz="1800" dirty="0"/>
              <a:t>Inflasi IHK pada Agustus 2015 tercatat sebesar 0,39% (mtm) atau 7,18% (yoy</a:t>
            </a:r>
            <a:r>
              <a:rPr lang="id-ID" sz="1800" dirty="0" smtClean="0"/>
              <a:t>).</a:t>
            </a:r>
          </a:p>
          <a:p>
            <a:pPr indent="-255588"/>
            <a:r>
              <a:rPr lang="id-ID" sz="1800" dirty="0"/>
              <a:t>Hal tersebut didorong oleh deflasi kelompok </a:t>
            </a:r>
            <a:r>
              <a:rPr lang="id-ID" sz="1800" i="1" dirty="0"/>
              <a:t>administered prices</a:t>
            </a:r>
            <a:r>
              <a:rPr lang="id-ID" sz="1800" dirty="0"/>
              <a:t> dan inflasi inti yang relatif terkendali. </a:t>
            </a:r>
            <a:endParaRPr lang="id-ID" sz="1800" dirty="0" smtClean="0"/>
          </a:p>
          <a:p>
            <a:pPr indent="-255588"/>
            <a:r>
              <a:rPr lang="id-ID" sz="1800" dirty="0"/>
              <a:t>Dengan demikian, inflasi IHK selama Januari-Agustus 2015 mencapai 2,29% (ytd</a:t>
            </a:r>
            <a:r>
              <a:rPr lang="id-ID" sz="1800" dirty="0" smtClean="0"/>
              <a:t>).</a:t>
            </a:r>
          </a:p>
        </p:txBody>
      </p:sp>
      <p:sp>
        <p:nvSpPr>
          <p:cNvPr id="86020" name="TextBox 10"/>
          <p:cNvSpPr txBox="1">
            <a:spLocks noChangeArrowheads="1"/>
          </p:cNvSpPr>
          <p:nvPr/>
        </p:nvSpPr>
        <p:spPr bwMode="auto">
          <a:xfrm>
            <a:off x="0" y="533400"/>
            <a:ext cx="91440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95000"/>
              </a:lnSpc>
              <a:spcAft>
                <a:spcPts val="300"/>
              </a:spcAft>
            </a:pPr>
            <a:r>
              <a:rPr lang="sv-SE" altLang="id-ID" sz="2000" b="1" i="1" dirty="0">
                <a:solidFill>
                  <a:srgbClr val="C00000"/>
                </a:solidFill>
                <a:cs typeface="Calibri" pitchFamily="34" charset="0"/>
              </a:rPr>
              <a:t>Sebagaimana pola koreksi harga pascalebaran, inflasi Agustus 2015 mengalami </a:t>
            </a:r>
            <a:r>
              <a:rPr lang="sv-SE" altLang="id-ID" sz="2000" b="1" i="1" dirty="0" smtClean="0">
                <a:solidFill>
                  <a:srgbClr val="C00000"/>
                </a:solidFill>
                <a:cs typeface="Calibri" pitchFamily="34" charset="0"/>
              </a:rPr>
              <a:t>perlambatan</a:t>
            </a:r>
            <a:r>
              <a:rPr lang="id-ID" altLang="id-ID" sz="2000" b="1" i="1" dirty="0" smtClean="0">
                <a:solidFill>
                  <a:srgbClr val="C00000"/>
                </a:solidFill>
                <a:cs typeface="Calibri" pitchFamily="34" charset="0"/>
              </a:rPr>
              <a:t>....</a:t>
            </a:r>
            <a:endParaRPr lang="id-ID" altLang="id-ID" sz="2000" b="1" i="1" dirty="0">
              <a:solidFill>
                <a:srgbClr val="C00000"/>
              </a:solidFill>
              <a:cs typeface="Calibri" pitchFamily="34" charset="0"/>
            </a:endParaRPr>
          </a:p>
        </p:txBody>
      </p:sp>
      <p:grpSp>
        <p:nvGrpSpPr>
          <p:cNvPr id="86021" name="Group 3"/>
          <p:cNvGrpSpPr>
            <a:grpSpLocks/>
          </p:cNvGrpSpPr>
          <p:nvPr/>
        </p:nvGrpSpPr>
        <p:grpSpPr bwMode="auto">
          <a:xfrm>
            <a:off x="228600" y="2514604"/>
            <a:ext cx="8610599" cy="373062"/>
            <a:chOff x="458742" y="2768727"/>
            <a:chExt cx="8151857" cy="322533"/>
          </a:xfrm>
        </p:grpSpPr>
        <p:sp>
          <p:nvSpPr>
            <p:cNvPr id="12" name="Rectangle 11"/>
            <p:cNvSpPr>
              <a:spLocks noChangeArrowheads="1"/>
            </p:cNvSpPr>
            <p:nvPr/>
          </p:nvSpPr>
          <p:spPr bwMode="auto">
            <a:xfrm>
              <a:off x="458742" y="2768727"/>
              <a:ext cx="7848267" cy="322533"/>
            </a:xfrm>
            <a:prstGeom prst="rect">
              <a:avLst/>
            </a:prstGeom>
            <a:solidFill>
              <a:srgbClr val="00206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r>
                <a:rPr lang="id-ID" sz="1500" b="1" dirty="0">
                  <a:solidFill>
                    <a:prstClr val="white"/>
                  </a:solidFill>
                  <a:ea typeface="ＭＳ Ｐゴシック" charset="0"/>
                </a:rPr>
                <a:t>Inflasi</a:t>
              </a:r>
            </a:p>
          </p:txBody>
        </p:sp>
        <p:sp>
          <p:nvSpPr>
            <p:cNvPr id="18" name="Rectangle 17"/>
            <p:cNvSpPr>
              <a:spLocks noChangeArrowheads="1"/>
            </p:cNvSpPr>
            <p:nvPr/>
          </p:nvSpPr>
          <p:spPr bwMode="auto">
            <a:xfrm>
              <a:off x="8352097" y="2768727"/>
              <a:ext cx="258502" cy="322533"/>
            </a:xfrm>
            <a:prstGeom prst="rect">
              <a:avLst/>
            </a:prstGeom>
            <a:solidFill>
              <a:srgbClr val="C00000"/>
            </a:solidFill>
            <a:ln>
              <a:noFill/>
            </a:ln>
            <a:effectLst>
              <a:outerShdw blurRad="44450" dist="27940" dir="5400000" algn="ctr" rotWithShape="0">
                <a:srgbClr val="808080">
                  <a:alpha val="31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fontAlgn="auto">
                <a:spcBef>
                  <a:spcPts val="0"/>
                </a:spcBef>
                <a:spcAft>
                  <a:spcPts val="0"/>
                </a:spcAft>
                <a:defRPr/>
              </a:pPr>
              <a:endParaRPr lang="id-ID" sz="1500" b="1" dirty="0">
                <a:solidFill>
                  <a:prstClr val="white"/>
                </a:solidFill>
                <a:ea typeface="ＭＳ Ｐゴシック" charset="0"/>
              </a:endParaRPr>
            </a:p>
          </p:txBody>
        </p:sp>
      </p:grpSp>
      <p:sp>
        <p:nvSpPr>
          <p:cNvPr id="8602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endParaRPr lang="id-ID" altLang="id-ID"/>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4"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5"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7"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sp>
        <p:nvSpPr>
          <p:cNvPr id="6"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d-ID"/>
          </a:p>
        </p:txBody>
      </p:sp>
      <p:pic>
        <p:nvPicPr>
          <p:cNvPr id="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887666"/>
            <a:ext cx="8610599" cy="3817934"/>
          </a:xfrm>
          <a:prstGeom prst="rect">
            <a:avLst/>
          </a:prstGeom>
          <a:noFill/>
          <a:ln w="9525">
            <a:solidFill>
              <a:srgbClr val="BFBFBF"/>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8531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rotWithShape="1">
          <a:blip r:embed="rId3"/>
          <a:srcRect l="5729" t="18152" r="4752" b="18153"/>
          <a:stretch/>
        </p:blipFill>
        <p:spPr bwMode="auto">
          <a:xfrm>
            <a:off x="79132" y="934820"/>
            <a:ext cx="8976945" cy="4882656"/>
          </a:xfrm>
          <a:prstGeom prst="rect">
            <a:avLst/>
          </a:prstGeom>
          <a:ln>
            <a:noFill/>
          </a:ln>
          <a:extLst>
            <a:ext uri="{53640926-AAD7-44D8-BBD7-CCE9431645EC}">
              <a14:shadowObscured xmlns:a14="http://schemas.microsoft.com/office/drawing/2010/main"/>
            </a:ext>
          </a:extLst>
        </p:spPr>
      </p:pic>
      <p:sp>
        <p:nvSpPr>
          <p:cNvPr id="81923" name="Title 1"/>
          <p:cNvSpPr>
            <a:spLocks noGrp="1"/>
          </p:cNvSpPr>
          <p:nvPr>
            <p:ph type="title"/>
          </p:nvPr>
        </p:nvSpPr>
        <p:spPr>
          <a:xfrm>
            <a:off x="625448" y="-76200"/>
            <a:ext cx="8232832" cy="500066"/>
          </a:xfrm>
        </p:spPr>
        <p:txBody>
          <a:bodyPr/>
          <a:lstStyle/>
          <a:p>
            <a:r>
              <a:rPr lang="en-US" altLang="id-ID" dirty="0" err="1" smtClean="0"/>
              <a:t>Inflasi</a:t>
            </a:r>
            <a:r>
              <a:rPr lang="id-ID" altLang="id-ID" dirty="0" smtClean="0"/>
              <a:t>: Regional</a:t>
            </a:r>
          </a:p>
        </p:txBody>
      </p:sp>
      <p:sp>
        <p:nvSpPr>
          <p:cNvPr id="20" name="Text Box 14"/>
          <p:cNvSpPr txBox="1">
            <a:spLocks/>
          </p:cNvSpPr>
          <p:nvPr/>
        </p:nvSpPr>
        <p:spPr>
          <a:xfrm>
            <a:off x="-29307" y="6340476"/>
            <a:ext cx="2804746" cy="2381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anchor="ctr"/>
          <a:lstStyle/>
          <a:p>
            <a:pPr eaLnBrk="0" hangingPunct="0">
              <a:lnSpc>
                <a:spcPct val="115000"/>
              </a:lnSpc>
              <a:spcAft>
                <a:spcPts val="1000"/>
              </a:spcAft>
              <a:defRPr/>
            </a:pPr>
            <a:r>
              <a:rPr lang="en-US" sz="1100" i="1" dirty="0" err="1">
                <a:solidFill>
                  <a:prstClr val="black"/>
                </a:solidFill>
                <a:ea typeface="Calibri"/>
                <a:cs typeface="Times New Roman"/>
              </a:rPr>
              <a:t>Sumber</a:t>
            </a:r>
            <a:r>
              <a:rPr lang="en-US" sz="1100" i="1" dirty="0">
                <a:solidFill>
                  <a:prstClr val="black"/>
                </a:solidFill>
                <a:ea typeface="Calibri"/>
                <a:cs typeface="Times New Roman"/>
              </a:rPr>
              <a:t>: BPS </a:t>
            </a:r>
            <a:endParaRPr lang="en-US" dirty="0">
              <a:solidFill>
                <a:prstClr val="black"/>
              </a:solidFill>
              <a:ea typeface="Calibri"/>
              <a:cs typeface="Times New Roman"/>
            </a:endParaRPr>
          </a:p>
        </p:txBody>
      </p:sp>
      <p:grpSp>
        <p:nvGrpSpPr>
          <p:cNvPr id="81925" name="Group 20"/>
          <p:cNvGrpSpPr>
            <a:grpSpLocks/>
          </p:cNvGrpSpPr>
          <p:nvPr/>
        </p:nvGrpSpPr>
        <p:grpSpPr bwMode="auto">
          <a:xfrm>
            <a:off x="79131" y="595314"/>
            <a:ext cx="8976946" cy="307975"/>
            <a:chOff x="35496" y="2708920"/>
            <a:chExt cx="9000024" cy="210003"/>
          </a:xfrm>
        </p:grpSpPr>
        <p:sp>
          <p:nvSpPr>
            <p:cNvPr id="22" name="TextBox 21"/>
            <p:cNvSpPr txBox="1"/>
            <p:nvPr/>
          </p:nvSpPr>
          <p:spPr>
            <a:xfrm>
              <a:off x="251462" y="2708920"/>
              <a:ext cx="8784058" cy="210003"/>
            </a:xfrm>
            <a:prstGeom prst="rect">
              <a:avLst/>
            </a:prstGeom>
          </p:spPr>
          <p:style>
            <a:lnRef idx="1">
              <a:schemeClr val="accent1"/>
            </a:lnRef>
            <a:fillRef idx="3">
              <a:schemeClr val="accent1"/>
            </a:fillRef>
            <a:effectRef idx="2">
              <a:schemeClr val="accent1"/>
            </a:effectRef>
            <a:fontRef idx="minor">
              <a:schemeClr val="lt1"/>
            </a:fontRef>
          </p:style>
          <p:txBody>
            <a:bodyPr>
              <a:spAutoFit/>
            </a:bodyPr>
            <a:lstStyle/>
            <a:p>
              <a:pPr algn="ctr" eaLnBrk="0" hangingPunct="0">
                <a:defRPr/>
              </a:pPr>
              <a:r>
                <a:rPr lang="id-ID" sz="1400" dirty="0">
                  <a:solidFill>
                    <a:prstClr val="white"/>
                  </a:solidFill>
                </a:rPr>
                <a:t>Peta Inflasi Daerah, </a:t>
              </a:r>
              <a:r>
                <a:rPr lang="id-ID" sz="1400" dirty="0" smtClean="0">
                  <a:solidFill>
                    <a:prstClr val="white"/>
                  </a:solidFill>
                </a:rPr>
                <a:t>Agustus 201</a:t>
              </a:r>
              <a:r>
                <a:rPr lang="en-US" sz="1400" dirty="0">
                  <a:solidFill>
                    <a:prstClr val="white"/>
                  </a:solidFill>
                </a:rPr>
                <a:t>5</a:t>
              </a:r>
              <a:r>
                <a:rPr lang="id-ID" sz="1400" dirty="0">
                  <a:solidFill>
                    <a:prstClr val="white"/>
                  </a:solidFill>
                </a:rPr>
                <a:t> (% yoy)</a:t>
              </a:r>
            </a:p>
          </p:txBody>
        </p:sp>
        <p:sp>
          <p:nvSpPr>
            <p:cNvPr id="23" name="TextBox 22"/>
            <p:cNvSpPr txBox="1"/>
            <p:nvPr/>
          </p:nvSpPr>
          <p:spPr>
            <a:xfrm>
              <a:off x="35496" y="2708920"/>
              <a:ext cx="215966" cy="210003"/>
            </a:xfrm>
            <a:prstGeom prst="rect">
              <a:avLst/>
            </a:prstGeom>
          </p:spPr>
          <p:style>
            <a:lnRef idx="1">
              <a:schemeClr val="accent2"/>
            </a:lnRef>
            <a:fillRef idx="3">
              <a:schemeClr val="accent2"/>
            </a:fillRef>
            <a:effectRef idx="2">
              <a:schemeClr val="accent2"/>
            </a:effectRef>
            <a:fontRef idx="minor">
              <a:schemeClr val="lt1"/>
            </a:fontRef>
          </p:style>
          <p:txBody>
            <a:bodyPr>
              <a:spAutoFit/>
            </a:bodyPr>
            <a:lstStyle/>
            <a:p>
              <a:pPr algn="ctr" eaLnBrk="0" hangingPunct="0">
                <a:defRPr/>
              </a:pPr>
              <a:endParaRPr lang="id-ID" sz="1400" dirty="0">
                <a:solidFill>
                  <a:prstClr val="white"/>
                </a:solidFill>
              </a:endParaRPr>
            </a:p>
          </p:txBody>
        </p:sp>
      </p:grpSp>
      <p:sp>
        <p:nvSpPr>
          <p:cNvPr id="81926" name="TextBox 24"/>
          <p:cNvSpPr txBox="1">
            <a:spLocks noChangeArrowheads="1"/>
          </p:cNvSpPr>
          <p:nvPr/>
        </p:nvSpPr>
        <p:spPr bwMode="auto">
          <a:xfrm>
            <a:off x="7445620" y="1173163"/>
            <a:ext cx="1528396" cy="461962"/>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id-ID" altLang="id-ID" sz="1200" b="1" dirty="0">
                <a:solidFill>
                  <a:schemeClr val="accent1"/>
                </a:solidFill>
              </a:rPr>
              <a:t>Inflasi Nasional</a:t>
            </a:r>
            <a:r>
              <a:rPr lang="en-US" altLang="id-ID" sz="1200" b="1" dirty="0">
                <a:solidFill>
                  <a:schemeClr val="accent1"/>
                </a:solidFill>
              </a:rPr>
              <a:t>:                             </a:t>
            </a:r>
            <a:r>
              <a:rPr lang="en-US" altLang="id-ID" sz="1200" b="1" dirty="0" smtClean="0">
                <a:solidFill>
                  <a:schemeClr val="accent1"/>
                </a:solidFill>
              </a:rPr>
              <a:t>7,</a:t>
            </a:r>
            <a:r>
              <a:rPr lang="id-ID" altLang="id-ID" sz="1200" b="1" dirty="0" smtClean="0">
                <a:solidFill>
                  <a:schemeClr val="accent1"/>
                </a:solidFill>
              </a:rPr>
              <a:t>18</a:t>
            </a:r>
            <a:r>
              <a:rPr lang="en-US" altLang="id-ID" sz="1200" b="1" dirty="0" smtClean="0">
                <a:solidFill>
                  <a:schemeClr val="accent1"/>
                </a:solidFill>
              </a:rPr>
              <a:t> </a:t>
            </a:r>
            <a:r>
              <a:rPr lang="en-US" altLang="id-ID" sz="1200" b="1" dirty="0">
                <a:solidFill>
                  <a:schemeClr val="accent1"/>
                </a:solidFill>
              </a:rPr>
              <a:t>% (</a:t>
            </a:r>
            <a:r>
              <a:rPr lang="en-US" altLang="id-ID" sz="1200" b="1" dirty="0" err="1">
                <a:solidFill>
                  <a:schemeClr val="accent1"/>
                </a:solidFill>
              </a:rPr>
              <a:t>yoy</a:t>
            </a:r>
            <a:r>
              <a:rPr lang="en-US" altLang="id-ID" sz="1200" b="1" dirty="0">
                <a:solidFill>
                  <a:schemeClr val="accent1"/>
                </a:solidFill>
              </a:rPr>
              <a:t>)</a:t>
            </a:r>
          </a:p>
        </p:txBody>
      </p:sp>
      <p:pic>
        <p:nvPicPr>
          <p:cNvPr id="11" name="Picture 10"/>
          <p:cNvPicPr/>
          <p:nvPr/>
        </p:nvPicPr>
        <p:blipFill rotWithShape="1">
          <a:blip r:embed="rId4" cstate="print">
            <a:extLst>
              <a:ext uri="{28A0092B-C50C-407E-A947-70E740481C1C}">
                <a14:useLocalDpi xmlns:a14="http://schemas.microsoft.com/office/drawing/2010/main" val="0"/>
              </a:ext>
            </a:extLst>
          </a:blip>
          <a:srcRect t="92713" r="2200"/>
          <a:stretch/>
        </p:blipFill>
        <p:spPr bwMode="auto">
          <a:xfrm>
            <a:off x="-201" y="5861857"/>
            <a:ext cx="4936588" cy="478618"/>
          </a:xfrm>
          <a:prstGeom prst="rect">
            <a:avLst/>
          </a:prstGeom>
          <a:noFill/>
          <a:ln>
            <a:noFill/>
          </a:ln>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4244388708"/>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d-ID" dirty="0" smtClean="0"/>
              <a:t>Aliran Modal </a:t>
            </a:r>
            <a:r>
              <a:rPr lang="en-US" dirty="0" err="1" smtClean="0"/>
              <a:t>dan</a:t>
            </a:r>
            <a:r>
              <a:rPr lang="en-US" dirty="0" smtClean="0"/>
              <a:t> </a:t>
            </a:r>
            <a:r>
              <a:rPr lang="en-US" dirty="0" err="1" smtClean="0"/>
              <a:t>Finansial</a:t>
            </a:r>
            <a:endParaRPr lang="en-US" dirty="0"/>
          </a:p>
        </p:txBody>
      </p:sp>
      <p:sp>
        <p:nvSpPr>
          <p:cNvPr id="31" name="Rectangle 30"/>
          <p:cNvSpPr/>
          <p:nvPr/>
        </p:nvSpPr>
        <p:spPr>
          <a:xfrm>
            <a:off x="0" y="533400"/>
            <a:ext cx="9144000" cy="1369606"/>
          </a:xfrm>
          <a:prstGeom prst="rect">
            <a:avLst/>
          </a:prstGeom>
        </p:spPr>
        <p:txBody>
          <a:bodyPr wrap="square">
            <a:spAutoFit/>
          </a:bodyPr>
          <a:lstStyle/>
          <a:p>
            <a:pPr marL="0" lvl="1" fontAlgn="auto">
              <a:spcBef>
                <a:spcPts val="0"/>
              </a:spcBef>
              <a:spcAft>
                <a:spcPts val="600"/>
              </a:spcAft>
            </a:pPr>
            <a:r>
              <a:rPr lang="it-IT" sz="2000" b="1" i="1" dirty="0" smtClean="0">
                <a:solidFill>
                  <a:srgbClr val="C00000"/>
                </a:solidFill>
                <a:latin typeface="Calibri"/>
              </a:rPr>
              <a:t>Meskipun mengalami </a:t>
            </a:r>
            <a:r>
              <a:rPr lang="it-IT" sz="2000" b="1" i="1" dirty="0">
                <a:solidFill>
                  <a:srgbClr val="C00000"/>
                </a:solidFill>
                <a:latin typeface="Calibri"/>
              </a:rPr>
              <a:t>tekanan akibat meningkatnya ketidakpastian di pasar keuangan </a:t>
            </a:r>
            <a:r>
              <a:rPr lang="it-IT" sz="2000" b="1" i="1" dirty="0" smtClean="0">
                <a:solidFill>
                  <a:srgbClr val="C00000"/>
                </a:solidFill>
                <a:latin typeface="Calibri"/>
              </a:rPr>
              <a:t>global, secara akumulatif aliran modal masuk hingga Agustus 2015 mencapai 3,4 miliar dolar AS..</a:t>
            </a:r>
            <a:r>
              <a:rPr lang="id-ID" sz="2000" b="1" i="1" dirty="0" smtClean="0">
                <a:solidFill>
                  <a:srgbClr val="C00000"/>
                </a:solidFill>
                <a:latin typeface="Calibri"/>
              </a:rPr>
              <a:t>.</a:t>
            </a:r>
            <a:r>
              <a:rPr lang="it-IT" sz="2000" b="1" i="1" dirty="0" smtClean="0">
                <a:solidFill>
                  <a:srgbClr val="C00000"/>
                </a:solidFill>
                <a:latin typeface="Calibri"/>
              </a:rPr>
              <a:t>.</a:t>
            </a:r>
            <a:endParaRPr lang="en-US" sz="2000" b="1" i="1" dirty="0" smtClean="0">
              <a:solidFill>
                <a:srgbClr val="C00000"/>
              </a:solidFill>
              <a:latin typeface="Calibri"/>
            </a:endParaRPr>
          </a:p>
          <a:p>
            <a:pPr marL="0" lvl="1" algn="just" fontAlgn="auto">
              <a:spcBef>
                <a:spcPts val="0"/>
              </a:spcBef>
              <a:spcAft>
                <a:spcPts val="600"/>
              </a:spcAft>
              <a:buClr>
                <a:prstClr val="black">
                  <a:lumMod val="85000"/>
                  <a:lumOff val="15000"/>
                </a:prstClr>
              </a:buClr>
              <a:defRPr/>
            </a:pPr>
            <a:endParaRPr lang="id-ID" dirty="0" smtClean="0">
              <a:solidFill>
                <a:prstClr val="black"/>
              </a:solidFill>
              <a:latin typeface="Calibri"/>
            </a:endParaRPr>
          </a:p>
        </p:txBody>
      </p:sp>
      <p:grpSp>
        <p:nvGrpSpPr>
          <p:cNvPr id="10" name="Group 9"/>
          <p:cNvGrpSpPr/>
          <p:nvPr/>
        </p:nvGrpSpPr>
        <p:grpSpPr>
          <a:xfrm>
            <a:off x="228600" y="1981200"/>
            <a:ext cx="8534400" cy="381005"/>
            <a:chOff x="193197" y="3576595"/>
            <a:chExt cx="4084448" cy="189493"/>
          </a:xfrm>
        </p:grpSpPr>
        <p:sp>
          <p:nvSpPr>
            <p:cNvPr id="11" name="Rectangle 10"/>
            <p:cNvSpPr>
              <a:spLocks noChangeArrowheads="1"/>
            </p:cNvSpPr>
            <p:nvPr/>
          </p:nvSpPr>
          <p:spPr bwMode="auto">
            <a:xfrm>
              <a:off x="193197" y="3576595"/>
              <a:ext cx="3822573" cy="189490"/>
            </a:xfrm>
            <a:prstGeom prst="rect">
              <a:avLst/>
            </a:prstGeom>
            <a:solidFill>
              <a:srgbClr val="002060"/>
            </a:solidFill>
            <a:ln w="9525" algn="ctr">
              <a:noFill/>
              <a:miter lim="800000"/>
              <a:headEnd/>
              <a:tailEnd/>
            </a:ln>
            <a:effectLst>
              <a:outerShdw blurRad="44450" dist="27940" dir="5400000" algn="ctr">
                <a:srgbClr val="000000">
                  <a:alpha val="32000"/>
                </a:srgbClr>
              </a:outerShdw>
            </a:effectLst>
          </p:spPr>
          <p:txBody>
            <a:bodyPr wrap="square" anchor="ctr">
              <a:spAutoFit/>
            </a:bodyPr>
            <a:lstStyle/>
            <a:p>
              <a:pPr algn="ctr" fontAlgn="auto">
                <a:spcBef>
                  <a:spcPts val="0"/>
                </a:spcBef>
                <a:spcAft>
                  <a:spcPts val="0"/>
                </a:spcAft>
              </a:pPr>
              <a:r>
                <a:rPr lang="id-ID" sz="1500" b="1" dirty="0" smtClean="0">
                  <a:solidFill>
                    <a:prstClr val="white"/>
                  </a:solidFill>
                </a:rPr>
                <a:t>Aliran Dana Masuk Asing</a:t>
              </a:r>
              <a:endParaRPr lang="id-ID" sz="1500" b="1" dirty="0">
                <a:solidFill>
                  <a:prstClr val="white"/>
                </a:solidFill>
              </a:endParaRPr>
            </a:p>
          </p:txBody>
        </p:sp>
        <p:sp>
          <p:nvSpPr>
            <p:cNvPr id="12" name="Rectangle 11"/>
            <p:cNvSpPr>
              <a:spLocks noChangeArrowheads="1"/>
            </p:cNvSpPr>
            <p:nvPr/>
          </p:nvSpPr>
          <p:spPr bwMode="auto">
            <a:xfrm>
              <a:off x="4015771" y="3576598"/>
              <a:ext cx="261874" cy="189490"/>
            </a:xfrm>
            <a:prstGeom prst="rect">
              <a:avLst/>
            </a:prstGeom>
            <a:solidFill>
              <a:srgbClr val="C00000"/>
            </a:solidFill>
            <a:ln w="9525" algn="ctr">
              <a:noFill/>
              <a:miter lim="800000"/>
              <a:headEnd/>
              <a:tailEnd/>
            </a:ln>
            <a:effectLst>
              <a:outerShdw blurRad="44450" dist="27940" dir="5400000" algn="ctr">
                <a:srgbClr val="000000">
                  <a:alpha val="32000"/>
                </a:srgbClr>
              </a:outerShdw>
            </a:effectLst>
          </p:spPr>
          <p:txBody>
            <a:bodyPr wrap="square" anchor="ctr">
              <a:spAutoFit/>
            </a:bodyPr>
            <a:lstStyle/>
            <a:p>
              <a:pPr algn="ctr" fontAlgn="auto">
                <a:spcBef>
                  <a:spcPts val="0"/>
                </a:spcBef>
                <a:spcAft>
                  <a:spcPts val="0"/>
                </a:spcAft>
              </a:pPr>
              <a:endParaRPr lang="id-ID" sz="1500" b="1" dirty="0">
                <a:solidFill>
                  <a:prstClr val="white"/>
                </a:solidFill>
              </a:endParaRPr>
            </a:p>
          </p:txBody>
        </p:sp>
      </p:grpSp>
      <p:pic>
        <p:nvPicPr>
          <p:cNvPr id="8" name="Picture 7"/>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2362205"/>
            <a:ext cx="8534400" cy="3886195"/>
          </a:xfrm>
          <a:prstGeom prst="rect">
            <a:avLst/>
          </a:prstGeom>
          <a:noFill/>
          <a:ln>
            <a:solidFill>
              <a:schemeClr val="bg1">
                <a:lumMod val="85000"/>
              </a:schemeClr>
            </a:solidFill>
          </a:ln>
          <a:effectLst/>
          <a:extLst/>
        </p:spPr>
      </p:pic>
    </p:spTree>
    <p:extLst>
      <p:ext uri="{BB962C8B-B14F-4D97-AF65-F5344CB8AC3E}">
        <p14:creationId xmlns:p14="http://schemas.microsoft.com/office/powerpoint/2010/main" val="40052768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20" y="1052751"/>
            <a:ext cx="9108699" cy="4951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5"/>
          <p:cNvSpPr txBox="1">
            <a:spLocks noGrp="1"/>
          </p:cNvSpPr>
          <p:nvPr/>
        </p:nvSpPr>
        <p:spPr bwMode="auto">
          <a:xfrm>
            <a:off x="7011079" y="6546927"/>
            <a:ext cx="2132921" cy="30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nchor="ct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pPr algn="r" eaLnBrk="1" hangingPunct="1"/>
            <a:fld id="{D3DD9FAF-9E4D-47DD-8F9F-E3D17A6C4F59}" type="slidenum">
              <a:rPr lang="en-US" sz="1000">
                <a:solidFill>
                  <a:schemeClr val="bg1"/>
                </a:solidFill>
                <a:latin typeface="Calibri" pitchFamily="34" charset="0"/>
              </a:rPr>
              <a:pPr algn="r" eaLnBrk="1" hangingPunct="1"/>
              <a:t>35</a:t>
            </a:fld>
            <a:endParaRPr lang="en-US" sz="1000">
              <a:solidFill>
                <a:schemeClr val="bg1"/>
              </a:solidFill>
              <a:latin typeface="Calibri" pitchFamily="34" charset="0"/>
            </a:endParaRPr>
          </a:p>
        </p:txBody>
      </p:sp>
      <p:sp>
        <p:nvSpPr>
          <p:cNvPr id="14340" name="Slide Number Placeholder 1"/>
          <p:cNvSpPr>
            <a:spLocks noGrp="1"/>
          </p:cNvSpPr>
          <p:nvPr>
            <p:ph type="sldNum" sz="quarter" idx="10"/>
          </p:nvPr>
        </p:nvSpPr>
        <p:spPr bwMode="auto">
          <a:ln>
            <a:miter lim="800000"/>
            <a:headEnd/>
            <a:tailEnd/>
          </a:ln>
        </p:spPr>
        <p:txBody>
          <a:bodyPr lIns="80165" tIns="40083" rIns="80165" bIns="40083"/>
          <a:lstStyle/>
          <a:p>
            <a:pPr>
              <a:defRPr/>
            </a:pPr>
            <a:fld id="{E0C52451-F2DE-4B19-AC4C-6D18FFBE399B}" type="slidenum">
              <a:rPr sz="1200"/>
              <a:pPr>
                <a:defRPr/>
              </a:pPr>
              <a:t>35</a:t>
            </a:fld>
            <a:endParaRPr sz="1200" dirty="0"/>
          </a:p>
        </p:txBody>
      </p:sp>
      <p:sp>
        <p:nvSpPr>
          <p:cNvPr id="6" name="TextBox 8"/>
          <p:cNvSpPr txBox="1">
            <a:spLocks noChangeArrowheads="1"/>
          </p:cNvSpPr>
          <p:nvPr/>
        </p:nvSpPr>
        <p:spPr bwMode="auto">
          <a:xfrm>
            <a:off x="314983" y="6027034"/>
            <a:ext cx="8524896" cy="807903"/>
          </a:xfrm>
          <a:prstGeom prst="rect">
            <a:avLst/>
          </a:prstGeom>
          <a:noFill/>
          <a:ln w="9525">
            <a:noFill/>
            <a:miter lim="800000"/>
            <a:headEnd/>
            <a:tailEnd/>
          </a:ln>
        </p:spPr>
        <p:txBody>
          <a:bodyPr lIns="91428" tIns="45715" rIns="91428" bIns="45715">
            <a:spAutoFit/>
          </a:bodyPr>
          <a:lstStyle/>
          <a:p>
            <a:pPr marL="146032" indent="-166668" algn="just">
              <a:buFont typeface="Arial" pitchFamily="34" charset="0"/>
              <a:buChar char="•"/>
              <a:defRPr/>
            </a:pPr>
            <a:r>
              <a:rPr lang="en-US" sz="1200">
                <a:latin typeface="+mj-lt"/>
                <a:ea typeface="Lucida Sans" pitchFamily="34" charset="0"/>
                <a:cs typeface="Raavi" pitchFamily="2"/>
              </a:rPr>
              <a:t>Average foreign </a:t>
            </a:r>
            <a:r>
              <a:rPr lang="en-US" sz="1200" dirty="0">
                <a:latin typeface="+mj-lt"/>
                <a:ea typeface="Lucida Sans" pitchFamily="34" charset="0"/>
                <a:cs typeface="Raavi" pitchFamily="2"/>
              </a:rPr>
              <a:t>incoming bids 2015 is Rp5.18T</a:t>
            </a:r>
          </a:p>
          <a:p>
            <a:pPr marL="146032" indent="-166668" algn="just">
              <a:buFont typeface="Arial" pitchFamily="34" charset="0"/>
              <a:buChar char="•"/>
              <a:defRPr/>
            </a:pPr>
            <a:r>
              <a:rPr lang="en-US" sz="1200" dirty="0">
                <a:latin typeface="+mj-lt"/>
                <a:ea typeface="Lucida Sans" pitchFamily="34" charset="0"/>
                <a:cs typeface="Raavi" pitchFamily="2"/>
              </a:rPr>
              <a:t>Average incoming bids 2015 = Rp16.09T, increased from average incoming bids 2014 = Rp14.02T</a:t>
            </a:r>
          </a:p>
          <a:p>
            <a:pPr marL="146032" indent="-166668" algn="just">
              <a:buFont typeface="Arial" pitchFamily="34" charset="0"/>
              <a:buChar char="•"/>
              <a:defRPr/>
            </a:pPr>
            <a:r>
              <a:rPr lang="en-US" sz="1200" dirty="0">
                <a:latin typeface="+mj-lt"/>
                <a:ea typeface="Lucida Sans" pitchFamily="34" charset="0"/>
                <a:cs typeface="Raavi" pitchFamily="2"/>
              </a:rPr>
              <a:t>Average awarded bid 2015 = Rp7.40T, while average awarded bid 2014 = Rp6.52T.</a:t>
            </a:r>
          </a:p>
          <a:p>
            <a:pPr marL="146032" indent="-166668" algn="just">
              <a:defRPr/>
            </a:pPr>
            <a:endParaRPr lang="en-US" sz="1000" dirty="0">
              <a:latin typeface="+mj-lt"/>
              <a:ea typeface="Lucida Sans" pitchFamily="34" charset="0"/>
              <a:cs typeface="Raavi" pitchFamily="2"/>
            </a:endParaRPr>
          </a:p>
        </p:txBody>
      </p:sp>
      <p:cxnSp>
        <p:nvCxnSpPr>
          <p:cNvPr id="10" name="Straight Connector 9"/>
          <p:cNvCxnSpPr/>
          <p:nvPr/>
        </p:nvCxnSpPr>
        <p:spPr>
          <a:xfrm>
            <a:off x="837691" y="5486976"/>
            <a:ext cx="4267199" cy="0"/>
          </a:xfrm>
          <a:prstGeom prst="line">
            <a:avLst/>
          </a:prstGeom>
          <a:ln w="25400">
            <a:solidFill>
              <a:srgbClr val="660066"/>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837691" y="5334320"/>
            <a:ext cx="4267199" cy="0"/>
          </a:xfrm>
          <a:prstGeom prst="line">
            <a:avLst/>
          </a:prstGeom>
          <a:ln w="22225">
            <a:solidFill>
              <a:srgbClr val="00B050"/>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5104891" y="2057977"/>
            <a:ext cx="0" cy="3656543"/>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2056891" y="2896145"/>
            <a:ext cx="0" cy="243817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876800" y="3200016"/>
            <a:ext cx="0" cy="2286960"/>
          </a:xfrm>
          <a:prstGeom prst="line">
            <a:avLst/>
          </a:prstGeom>
          <a:ln w="22225">
            <a:solidFill>
              <a:srgbClr val="7030A0"/>
            </a:solidFill>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bwMode="auto">
          <a:xfrm>
            <a:off x="3963080" y="2667160"/>
            <a:ext cx="1767704" cy="532856"/>
          </a:xfrm>
          <a:prstGeom prst="roundRect">
            <a:avLst/>
          </a:prstGeom>
          <a:solidFill>
            <a:schemeClr val="bg1">
              <a:alpha val="46000"/>
            </a:schemeClr>
          </a:solidFill>
          <a:ln w="9525" cap="flat" cmpd="sng" algn="ctr">
            <a:solidFill>
              <a:srgbClr val="7030A0"/>
            </a:solidFill>
            <a:prstDash val="solid"/>
            <a:round/>
            <a:headEnd type="none" w="med" len="med"/>
            <a:tailEnd type="none" w="med" len="med"/>
          </a:ln>
          <a:effectLst>
            <a:outerShdw blurRad="50800" dist="38100" dir="10800000" algn="r" rotWithShape="0">
              <a:prstClr val="black">
                <a:alpha val="40000"/>
              </a:prstClr>
            </a:outerShdw>
          </a:effectLst>
        </p:spPr>
        <p:txBody>
          <a:bodyPr lIns="91428" tIns="45715" rIns="91428" bIns="45715"/>
          <a:lstStyle/>
          <a:p>
            <a:pPr>
              <a:defRPr/>
            </a:pPr>
            <a:r>
              <a:rPr lang="en-US" sz="1200" b="1" dirty="0">
                <a:latin typeface="Arial" charset="0"/>
              </a:rPr>
              <a:t>Average Awarded Bids 2014 = Rp6.52T</a:t>
            </a:r>
          </a:p>
        </p:txBody>
      </p:sp>
      <p:sp>
        <p:nvSpPr>
          <p:cNvPr id="29" name="Rounded Rectangle 28"/>
          <p:cNvSpPr/>
          <p:nvPr/>
        </p:nvSpPr>
        <p:spPr bwMode="auto">
          <a:xfrm>
            <a:off x="1219200" y="2361848"/>
            <a:ext cx="1676740" cy="534297"/>
          </a:xfrm>
          <a:prstGeom prst="roundRect">
            <a:avLst/>
          </a:prstGeom>
          <a:solidFill>
            <a:schemeClr val="bg1">
              <a:alpha val="46000"/>
            </a:schemeClr>
          </a:solidFill>
          <a:ln w="9525" cap="flat" cmpd="sng" algn="ctr">
            <a:solidFill>
              <a:srgbClr val="00B050"/>
            </a:solidFill>
            <a:prstDash val="solid"/>
            <a:round/>
            <a:headEnd type="none" w="med" len="med"/>
            <a:tailEnd type="none" w="med" len="med"/>
          </a:ln>
          <a:effectLst>
            <a:outerShdw blurRad="50800" dist="38100" dir="10800000" algn="r" rotWithShape="0">
              <a:prstClr val="black">
                <a:alpha val="40000"/>
              </a:prstClr>
            </a:outerShdw>
          </a:effectLst>
        </p:spPr>
        <p:txBody>
          <a:bodyPr lIns="91428" tIns="45715" rIns="91428" bIns="45715"/>
          <a:lstStyle/>
          <a:p>
            <a:pPr algn="ctr">
              <a:defRPr/>
            </a:pPr>
            <a:r>
              <a:rPr lang="en-US" sz="1200" b="1" dirty="0">
                <a:latin typeface="+mj-lt"/>
                <a:cs typeface="Arial" pitchFamily="34" charset="0"/>
              </a:rPr>
              <a:t>Average Incoming Bids 2014= Rp14.02T</a:t>
            </a:r>
          </a:p>
        </p:txBody>
      </p:sp>
      <p:cxnSp>
        <p:nvCxnSpPr>
          <p:cNvPr id="15" name="Straight Connector 14"/>
          <p:cNvCxnSpPr/>
          <p:nvPr/>
        </p:nvCxnSpPr>
        <p:spPr>
          <a:xfrm>
            <a:off x="837691" y="5563305"/>
            <a:ext cx="4267199" cy="0"/>
          </a:xfrm>
          <a:prstGeom prst="line">
            <a:avLst/>
          </a:prstGeom>
          <a:ln w="22225">
            <a:solidFill>
              <a:srgbClr val="D92DC0"/>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505539" y="4038184"/>
            <a:ext cx="0" cy="1525121"/>
          </a:xfrm>
          <a:prstGeom prst="line">
            <a:avLst/>
          </a:prstGeom>
          <a:ln w="22225">
            <a:solidFill>
              <a:srgbClr val="D92DC0"/>
            </a:solidFill>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bwMode="auto">
          <a:xfrm>
            <a:off x="2743879" y="3429000"/>
            <a:ext cx="1675382" cy="609184"/>
          </a:xfrm>
          <a:prstGeom prst="roundRect">
            <a:avLst/>
          </a:prstGeom>
          <a:solidFill>
            <a:schemeClr val="bg1">
              <a:alpha val="46000"/>
            </a:schemeClr>
          </a:solidFill>
          <a:ln w="9525" cap="flat" cmpd="sng" algn="ctr">
            <a:solidFill>
              <a:srgbClr val="D92DC0"/>
            </a:solidFill>
            <a:prstDash val="solid"/>
            <a:round/>
            <a:headEnd type="none" w="med" len="med"/>
            <a:tailEnd type="none" w="med" len="med"/>
          </a:ln>
          <a:effectLst>
            <a:outerShdw blurRad="50800" dist="38100" dir="10800000" algn="r" rotWithShape="0">
              <a:prstClr val="black">
                <a:alpha val="40000"/>
              </a:prstClr>
            </a:outerShdw>
          </a:effectLst>
        </p:spPr>
        <p:txBody>
          <a:bodyPr lIns="91428" tIns="45715" rIns="91428" bIns="45715"/>
          <a:lstStyle/>
          <a:p>
            <a:pPr algn="ctr">
              <a:defRPr/>
            </a:pPr>
            <a:r>
              <a:rPr lang="en-US" sz="1200" b="1" dirty="0">
                <a:latin typeface="+mj-lt"/>
                <a:cs typeface="Arial" pitchFamily="34" charset="0"/>
              </a:rPr>
              <a:t>Average Foreign Incoming Bids 2014= Rp4.42T</a:t>
            </a:r>
          </a:p>
        </p:txBody>
      </p:sp>
      <p:sp>
        <p:nvSpPr>
          <p:cNvPr id="17425" name="Rectangle 4"/>
          <p:cNvSpPr>
            <a:spLocks/>
          </p:cNvSpPr>
          <p:nvPr/>
        </p:nvSpPr>
        <p:spPr bwMode="auto">
          <a:xfrm>
            <a:off x="457540" y="609905"/>
            <a:ext cx="7924799" cy="761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8" tIns="45715" rIns="91428" bIns="45715" anchor="ctr"/>
          <a:lstStyle/>
          <a:p>
            <a:endParaRPr lang="en-GB" sz="2400" b="1" dirty="0">
              <a:latin typeface="Lucida Sans Unicode" pitchFamily="34" charset="0"/>
            </a:endParaRPr>
          </a:p>
        </p:txBody>
      </p:sp>
      <p:sp>
        <p:nvSpPr>
          <p:cNvPr id="22" name="Rectangle 21"/>
          <p:cNvSpPr/>
          <p:nvPr/>
        </p:nvSpPr>
        <p:spPr bwMode="auto">
          <a:xfrm>
            <a:off x="6465290" y="1705140"/>
            <a:ext cx="2008015" cy="200181"/>
          </a:xfrm>
          <a:prstGeom prst="rect">
            <a:avLst/>
          </a:prstGeom>
          <a:solidFill>
            <a:schemeClr val="bg1"/>
          </a:solidFill>
          <a:ln w="9525" cap="flat" cmpd="sng" algn="ctr">
            <a:noFill/>
            <a:prstDash val="solid"/>
            <a:round/>
            <a:headEnd type="none" w="med" len="med"/>
            <a:tailEnd type="none" w="med" len="med"/>
          </a:ln>
          <a:effectLst/>
        </p:spPr>
        <p:txBody>
          <a:bodyPr lIns="40083" tIns="40083" rIns="40083" bIns="40083" anchor="ctr"/>
          <a:lstStyle/>
          <a:p>
            <a:pPr algn="ctr" eaLnBrk="0" hangingPunct="0">
              <a:defRPr/>
            </a:pPr>
            <a:r>
              <a:rPr lang="en-US" sz="1000" dirty="0">
                <a:latin typeface="Trebuchet MS" pitchFamily="34" charset="0"/>
                <a:ea typeface="Lucida Sans" pitchFamily="34" charset="0"/>
                <a:cs typeface="Lucida Sans" pitchFamily="34" charset="0"/>
              </a:rPr>
              <a:t>[as of September 15, 2015]</a:t>
            </a:r>
          </a:p>
          <a:p>
            <a:pPr algn="ctr" eaLnBrk="0" hangingPunct="0">
              <a:defRPr/>
            </a:pPr>
            <a:endParaRPr lang="en-US" sz="700" b="1" dirty="0">
              <a:latin typeface="+mn-lt"/>
            </a:endParaRPr>
          </a:p>
        </p:txBody>
      </p:sp>
      <p:grpSp>
        <p:nvGrpSpPr>
          <p:cNvPr id="24" name="Group 13"/>
          <p:cNvGrpSpPr/>
          <p:nvPr/>
        </p:nvGrpSpPr>
        <p:grpSpPr>
          <a:xfrm>
            <a:off x="0" y="0"/>
            <a:ext cx="8656320" cy="548640"/>
            <a:chOff x="0" y="0"/>
            <a:chExt cx="8656320" cy="548640"/>
          </a:xfrm>
        </p:grpSpPr>
        <p:sp>
          <p:nvSpPr>
            <p:cNvPr id="25" name="Rectangle 24"/>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26" name="Rectangle 25"/>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27" name="Title 1"/>
          <p:cNvSpPr>
            <a:spLocks noGrp="1"/>
          </p:cNvSpPr>
          <p:nvPr>
            <p:ph type="title"/>
          </p:nvPr>
        </p:nvSpPr>
        <p:spPr>
          <a:xfrm>
            <a:off x="0" y="26894"/>
            <a:ext cx="9144000" cy="487362"/>
          </a:xfrm>
        </p:spPr>
        <p:txBody>
          <a:bodyPr/>
          <a:lstStyle/>
          <a:p>
            <a:pPr algn="just"/>
            <a:r>
              <a:rPr lang="en-US" sz="2400" b="1" dirty="0">
                <a:latin typeface="Lucida Sans Unicode" pitchFamily="34" charset="0"/>
              </a:rPr>
              <a:t>GS Primary Market Performance 2015</a:t>
            </a:r>
            <a:endParaRPr lang="en-GB" sz="2400" b="1" dirty="0">
              <a:latin typeface="Lucida Sans Unicode" pitchFamily="34" charset="0"/>
            </a:endParaRPr>
          </a:p>
        </p:txBody>
      </p:sp>
      <p:sp>
        <p:nvSpPr>
          <p:cNvPr id="30" name="TextBox 29"/>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35</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3312303220"/>
      </p:ext>
    </p:extLst>
  </p:cSld>
  <p:clrMapOvr>
    <a:masterClrMapping/>
  </p:clrMapOvr>
  <p:transition>
    <p:random/>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330" y="1379665"/>
            <a:ext cx="4669075" cy="260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3" name="Picture 2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17014" y="1291816"/>
            <a:ext cx="4470852" cy="2632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877" y="3918652"/>
            <a:ext cx="4701659" cy="2939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5" name="TextBox 22"/>
          <p:cNvSpPr txBox="1">
            <a:spLocks noChangeArrowheads="1"/>
          </p:cNvSpPr>
          <p:nvPr/>
        </p:nvSpPr>
        <p:spPr bwMode="auto">
          <a:xfrm>
            <a:off x="3186484" y="1280296"/>
            <a:ext cx="1382122" cy="20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5" tIns="40073" rIns="80145" bIns="4007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id-ID" sz="800">
                <a:solidFill>
                  <a:srgbClr val="000000"/>
                </a:solidFill>
                <a:latin typeface="Tahoma" pitchFamily="34" charset="0"/>
                <a:ea typeface="LF_Kai"/>
                <a:cs typeface="Tahoma" pitchFamily="34" charset="0"/>
              </a:rPr>
              <a:t>As of</a:t>
            </a:r>
            <a:r>
              <a:rPr lang="en-US" sz="800">
                <a:solidFill>
                  <a:srgbClr val="000000"/>
                </a:solidFill>
                <a:latin typeface="Tahoma" pitchFamily="34" charset="0"/>
                <a:ea typeface="LF_Kai"/>
                <a:cs typeface="Tahoma" pitchFamily="34" charset="0"/>
              </a:rPr>
              <a:t> September 25, </a:t>
            </a:r>
            <a:r>
              <a:rPr lang="id-ID" sz="800">
                <a:solidFill>
                  <a:srgbClr val="000000"/>
                </a:solidFill>
                <a:latin typeface="Tahoma" pitchFamily="34" charset="0"/>
                <a:ea typeface="LF_Kai"/>
                <a:cs typeface="Tahoma" pitchFamily="34" charset="0"/>
              </a:rPr>
              <a:t>201</a:t>
            </a:r>
            <a:r>
              <a:rPr lang="en-US" sz="800">
                <a:solidFill>
                  <a:srgbClr val="000000"/>
                </a:solidFill>
                <a:latin typeface="Tahoma" pitchFamily="34" charset="0"/>
                <a:ea typeface="LF_Kai"/>
                <a:cs typeface="Tahoma" pitchFamily="34" charset="0"/>
              </a:rPr>
              <a:t>5</a:t>
            </a:r>
          </a:p>
        </p:txBody>
      </p:sp>
      <p:sp>
        <p:nvSpPr>
          <p:cNvPr id="20486" name="Picture 20"/>
          <p:cNvSpPr>
            <a:spLocks noChangeAspect="1" noChangeArrowheads="1"/>
          </p:cNvSpPr>
          <p:nvPr/>
        </p:nvSpPr>
        <p:spPr bwMode="auto">
          <a:xfrm>
            <a:off x="306836" y="1656174"/>
            <a:ext cx="3980729" cy="2032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5" tIns="40073" rIns="80145" bIns="40073"/>
          <a:lstStyle/>
          <a:p>
            <a:pPr eaLnBrk="0" hangingPunct="0"/>
            <a:endParaRPr lang="id-ID"/>
          </a:p>
        </p:txBody>
      </p:sp>
      <p:sp>
        <p:nvSpPr>
          <p:cNvPr id="78" name="TextBox 35"/>
          <p:cNvSpPr txBox="1">
            <a:spLocks noChangeArrowheads="1"/>
          </p:cNvSpPr>
          <p:nvPr/>
        </p:nvSpPr>
        <p:spPr bwMode="auto">
          <a:xfrm>
            <a:off x="809179" y="1523680"/>
            <a:ext cx="968029" cy="324034"/>
          </a:xfrm>
          <a:prstGeom prst="rect">
            <a:avLst/>
          </a:prstGeom>
          <a:solidFill>
            <a:schemeClr val="bg1"/>
          </a:solidFill>
          <a:ln w="9525">
            <a:solidFill>
              <a:srgbClr val="FFC000"/>
            </a:solidFill>
            <a:miter lim="800000"/>
            <a:headEnd/>
            <a:tailEnd/>
          </a:ln>
        </p:spPr>
        <p:txBody>
          <a:bodyPr lIns="70263" tIns="35132" rIns="70263" bIns="35132">
            <a:spAutoFit/>
          </a:bodyPr>
          <a:lstStyle/>
          <a:p>
            <a:pPr algn="ctr" eaLnBrk="0" fontAlgn="auto" hangingPunct="0">
              <a:spcBef>
                <a:spcPts val="0"/>
              </a:spcBef>
              <a:spcAft>
                <a:spcPts val="0"/>
              </a:spcAft>
              <a:defRPr/>
            </a:pPr>
            <a:r>
              <a:rPr lang="en-US" sz="800" b="1" kern="0" dirty="0">
                <a:solidFill>
                  <a:srgbClr val="990000"/>
                </a:solidFill>
                <a:latin typeface="Arial"/>
                <a:ea typeface="MS PGothic"/>
                <a:cs typeface="MS PGothic"/>
              </a:rPr>
              <a:t>Global Financial Crisis</a:t>
            </a:r>
          </a:p>
        </p:txBody>
      </p:sp>
      <p:sp>
        <p:nvSpPr>
          <p:cNvPr id="20488" name="TextBox 18"/>
          <p:cNvSpPr txBox="1">
            <a:spLocks noChangeArrowheads="1"/>
          </p:cNvSpPr>
          <p:nvPr/>
        </p:nvSpPr>
        <p:spPr bwMode="auto">
          <a:xfrm>
            <a:off x="2085402" y="2262478"/>
            <a:ext cx="1737835" cy="217462"/>
          </a:xfrm>
          <a:prstGeom prst="rect">
            <a:avLst/>
          </a:prstGeom>
          <a:solidFill>
            <a:schemeClr val="bg1"/>
          </a:solidFill>
          <a:ln w="9525">
            <a:solidFill>
              <a:srgbClr val="FFC000"/>
            </a:solidFill>
            <a:miter lim="800000"/>
            <a:headEnd/>
            <a:tailEnd/>
          </a:ln>
        </p:spPr>
        <p:txBody>
          <a:bodyPr lIns="80145" tIns="40073" rIns="80145" bIns="40073" anchor="ct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pPr algn="ctr"/>
            <a:r>
              <a:rPr lang="en-US" sz="900" b="1">
                <a:solidFill>
                  <a:srgbClr val="990000"/>
                </a:solidFill>
                <a:latin typeface="Calibri" pitchFamily="34" charset="0"/>
                <a:ea typeface="LF_Kai"/>
                <a:cs typeface="LF_Kai"/>
              </a:rPr>
              <a:t>Eurozone sovereign debt crisis</a:t>
            </a:r>
          </a:p>
        </p:txBody>
      </p:sp>
      <p:sp>
        <p:nvSpPr>
          <p:cNvPr id="80" name="Rectangle 79"/>
          <p:cNvSpPr/>
          <p:nvPr/>
        </p:nvSpPr>
        <p:spPr bwMode="auto">
          <a:xfrm>
            <a:off x="403232" y="1454553"/>
            <a:ext cx="128980" cy="1805950"/>
          </a:xfrm>
          <a:prstGeom prst="rect">
            <a:avLst/>
          </a:prstGeom>
          <a:solidFill>
            <a:schemeClr val="tx2">
              <a:lumMod val="60000"/>
              <a:lumOff val="4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145" tIns="40073" rIns="80145" bIns="40073" anchor="ctr"/>
          <a:lstStyle/>
          <a:p>
            <a:pPr algn="ctr" eaLnBrk="0" hangingPunct="0">
              <a:defRPr/>
            </a:pPr>
            <a:endParaRPr lang="en-US" sz="1000" dirty="0">
              <a:solidFill>
                <a:srgbClr val="000000"/>
              </a:solidFill>
            </a:endParaRPr>
          </a:p>
        </p:txBody>
      </p:sp>
      <p:sp>
        <p:nvSpPr>
          <p:cNvPr id="81" name="Rectangle 80"/>
          <p:cNvSpPr/>
          <p:nvPr/>
        </p:nvSpPr>
        <p:spPr bwMode="auto">
          <a:xfrm>
            <a:off x="1712039" y="2341687"/>
            <a:ext cx="128980" cy="914496"/>
          </a:xfrm>
          <a:prstGeom prst="rect">
            <a:avLst/>
          </a:prstGeom>
          <a:solidFill>
            <a:schemeClr val="tx2">
              <a:lumMod val="60000"/>
              <a:lumOff val="40000"/>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0145" tIns="40073" rIns="80145" bIns="40073" anchor="ctr"/>
          <a:lstStyle/>
          <a:p>
            <a:pPr algn="ctr" eaLnBrk="0" hangingPunct="0">
              <a:defRPr/>
            </a:pPr>
            <a:endParaRPr lang="en-US" sz="1000" dirty="0">
              <a:solidFill>
                <a:srgbClr val="FFFFFF"/>
              </a:solidFill>
            </a:endParaRPr>
          </a:p>
        </p:txBody>
      </p:sp>
      <p:sp>
        <p:nvSpPr>
          <p:cNvPr id="20491" name="TextBox 11"/>
          <p:cNvSpPr txBox="1">
            <a:spLocks noChangeArrowheads="1"/>
          </p:cNvSpPr>
          <p:nvPr/>
        </p:nvSpPr>
        <p:spPr bwMode="auto">
          <a:xfrm>
            <a:off x="279683" y="1297577"/>
            <a:ext cx="1562694" cy="20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5" tIns="40073" rIns="80145" bIns="4007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en-US" sz="800">
                <a:solidFill>
                  <a:srgbClr val="000000"/>
                </a:solidFill>
                <a:ea typeface="LF_Kai"/>
                <a:cs typeface="LF_Kai"/>
              </a:rPr>
              <a:t>[In Percentage]</a:t>
            </a:r>
          </a:p>
        </p:txBody>
      </p:sp>
      <p:sp>
        <p:nvSpPr>
          <p:cNvPr id="85" name="TextBox 5"/>
          <p:cNvSpPr txBox="1">
            <a:spLocks noChangeArrowheads="1"/>
          </p:cNvSpPr>
          <p:nvPr>
            <p:custDataLst>
              <p:tags r:id="rId1"/>
            </p:custDataLst>
          </p:nvPr>
        </p:nvSpPr>
        <p:spPr bwMode="gray">
          <a:xfrm>
            <a:off x="4689439" y="1087315"/>
            <a:ext cx="4036394" cy="223223"/>
          </a:xfrm>
          <a:prstGeom prst="rect">
            <a:avLst/>
          </a:prstGeom>
          <a:solidFill>
            <a:schemeClr val="accent1">
              <a:lumMod val="25000"/>
              <a:lumOff val="75000"/>
            </a:schemeClr>
          </a:solidFill>
        </p:spPr>
        <p:txBody>
          <a:bodyPr lIns="80145" tIns="40073" rIns="80145" bIns="40073">
            <a:spAutoFit/>
          </a:bodyPr>
          <a:lstStyle/>
          <a:p>
            <a:pPr algn="ctr" eaLnBrk="0" hangingPunct="0">
              <a:defRPr sz="1800" b="1" i="0" u="none" strike="noStrike" kern="1200" baseline="0">
                <a:solidFill>
                  <a:srgbClr val="000000"/>
                </a:solidFill>
                <a:latin typeface="Calibri"/>
                <a:ea typeface="Calibri"/>
                <a:cs typeface="Calibri"/>
              </a:defRPr>
            </a:pPr>
            <a:r>
              <a:rPr lang="en-US" sz="900" b="1" dirty="0">
                <a:solidFill>
                  <a:srgbClr val="000000"/>
                </a:solidFill>
                <a:latin typeface="Tahoma" pitchFamily="34" charset="0"/>
                <a:ea typeface="Calibri"/>
                <a:cs typeface="Tahoma" pitchFamily="34" charset="0"/>
              </a:rPr>
              <a:t>Activities of the domestic bonds  are growing</a:t>
            </a:r>
          </a:p>
        </p:txBody>
      </p:sp>
      <p:sp>
        <p:nvSpPr>
          <p:cNvPr id="86" name="Text Box 28"/>
          <p:cNvSpPr txBox="1">
            <a:spLocks noChangeArrowheads="1"/>
          </p:cNvSpPr>
          <p:nvPr/>
        </p:nvSpPr>
        <p:spPr bwMode="auto">
          <a:xfrm>
            <a:off x="336706" y="1107477"/>
            <a:ext cx="4109709" cy="210262"/>
          </a:xfrm>
          <a:prstGeom prst="rect">
            <a:avLst/>
          </a:prstGeom>
          <a:solidFill>
            <a:schemeClr val="accent1">
              <a:lumMod val="25000"/>
              <a:lumOff val="75000"/>
            </a:schemeClr>
          </a:solidFill>
        </p:spPr>
        <p:txBody>
          <a:bodyPr lIns="80145" tIns="40073" rIns="80145" bIns="40073">
            <a:spAutoFit/>
          </a:bodyPr>
          <a:lstStyle/>
          <a:p>
            <a:pPr algn="ctr" eaLnBrk="0" hangingPunct="0">
              <a:lnSpc>
                <a:spcPct val="90000"/>
              </a:lnSpc>
              <a:buClr>
                <a:srgbClr val="009E9C"/>
              </a:buClr>
              <a:buSzPct val="90000"/>
              <a:defRPr sz="1800" b="1" i="0" u="none" strike="noStrike" kern="1200" baseline="0">
                <a:solidFill>
                  <a:srgbClr val="000000"/>
                </a:solidFill>
                <a:latin typeface="Calibri"/>
                <a:ea typeface="Calibri"/>
                <a:cs typeface="Calibri"/>
              </a:defRPr>
            </a:pPr>
            <a:r>
              <a:rPr lang="id-ID" sz="900" b="1" dirty="0">
                <a:solidFill>
                  <a:srgbClr val="000000"/>
                </a:solidFill>
                <a:latin typeface="Tahoma" pitchFamily="34" charset="0"/>
                <a:ea typeface="Calibri"/>
                <a:cs typeface="Tahoma" pitchFamily="34" charset="0"/>
              </a:rPr>
              <a:t>Yield</a:t>
            </a:r>
            <a:r>
              <a:rPr lang="en-US" sz="900" b="1" dirty="0">
                <a:solidFill>
                  <a:srgbClr val="000000"/>
                </a:solidFill>
                <a:latin typeface="Tahoma" pitchFamily="34" charset="0"/>
                <a:ea typeface="Calibri"/>
                <a:cs typeface="Tahoma" pitchFamily="34" charset="0"/>
              </a:rPr>
              <a:t>s</a:t>
            </a:r>
            <a:r>
              <a:rPr lang="id-ID" sz="900" b="1" dirty="0">
                <a:solidFill>
                  <a:srgbClr val="000000"/>
                </a:solidFill>
                <a:latin typeface="Tahoma" pitchFamily="34" charset="0"/>
                <a:ea typeface="Calibri"/>
                <a:cs typeface="Tahoma" pitchFamily="34" charset="0"/>
              </a:rPr>
              <a:t> of </a:t>
            </a:r>
            <a:r>
              <a:rPr lang="en-US" sz="900" b="1" dirty="0">
                <a:solidFill>
                  <a:srgbClr val="000000"/>
                </a:solidFill>
                <a:latin typeface="Tahoma" pitchFamily="34" charset="0"/>
                <a:ea typeface="Calibri"/>
                <a:cs typeface="Tahoma" pitchFamily="34" charset="0"/>
              </a:rPr>
              <a:t>Benchmark Series steadily decrease</a:t>
            </a:r>
          </a:p>
        </p:txBody>
      </p:sp>
      <p:sp>
        <p:nvSpPr>
          <p:cNvPr id="87" name="TextBox 8"/>
          <p:cNvSpPr txBox="1">
            <a:spLocks noChangeArrowheads="1"/>
          </p:cNvSpPr>
          <p:nvPr/>
        </p:nvSpPr>
        <p:spPr bwMode="auto">
          <a:xfrm>
            <a:off x="416810" y="3921532"/>
            <a:ext cx="4060831" cy="223223"/>
          </a:xfrm>
          <a:prstGeom prst="rect">
            <a:avLst/>
          </a:prstGeom>
          <a:solidFill>
            <a:schemeClr val="accent1">
              <a:lumMod val="25000"/>
              <a:lumOff val="75000"/>
            </a:schemeClr>
          </a:solidFill>
        </p:spPr>
        <p:txBody>
          <a:bodyPr lIns="80145" tIns="40073" rIns="80145" bIns="40073">
            <a:spAutoFit/>
          </a:bodyPr>
          <a:lstStyle/>
          <a:p>
            <a:pPr algn="ctr" eaLnBrk="0" hangingPunct="0">
              <a:defRPr sz="1800" b="1" i="0" u="none" strike="noStrike" kern="1200" baseline="0">
                <a:solidFill>
                  <a:srgbClr val="000000"/>
                </a:solidFill>
                <a:latin typeface="Calibri"/>
                <a:ea typeface="Calibri"/>
                <a:cs typeface="Calibri"/>
              </a:defRPr>
            </a:pPr>
            <a:r>
              <a:rPr lang="en-US" sz="900" b="1" dirty="0">
                <a:solidFill>
                  <a:srgbClr val="000000"/>
                </a:solidFill>
                <a:latin typeface="Tahoma" pitchFamily="34" charset="0"/>
                <a:ea typeface="Calibri"/>
                <a:cs typeface="Tahoma" pitchFamily="34" charset="0"/>
              </a:rPr>
              <a:t>Bid Ask Spread 10 Y Government Bond</a:t>
            </a:r>
          </a:p>
        </p:txBody>
      </p:sp>
      <p:sp>
        <p:nvSpPr>
          <p:cNvPr id="88" name="Rectangle 87"/>
          <p:cNvSpPr/>
          <p:nvPr/>
        </p:nvSpPr>
        <p:spPr>
          <a:xfrm>
            <a:off x="4715236" y="3920092"/>
            <a:ext cx="4025532" cy="223224"/>
          </a:xfrm>
          <a:prstGeom prst="rect">
            <a:avLst/>
          </a:prstGeom>
          <a:solidFill>
            <a:schemeClr val="accent1">
              <a:lumMod val="25000"/>
              <a:lumOff val="75000"/>
            </a:schemeClr>
          </a:solidFill>
        </p:spPr>
        <p:txBody>
          <a:bodyPr lIns="80145" tIns="40073" rIns="80145" bIns="40073">
            <a:spAutoFit/>
          </a:bodyPr>
          <a:lstStyle/>
          <a:p>
            <a:pPr algn="ctr" eaLnBrk="0" hangingPunct="0">
              <a:defRPr sz="1800" b="1" i="0" u="none" strike="noStrike" kern="1200" baseline="0">
                <a:solidFill>
                  <a:srgbClr val="000000"/>
                </a:solidFill>
                <a:latin typeface="Calibri"/>
                <a:ea typeface="Calibri"/>
                <a:cs typeface="Calibri"/>
              </a:defRPr>
            </a:pPr>
            <a:r>
              <a:rPr lang="en-US" sz="900" b="1" dirty="0">
                <a:solidFill>
                  <a:srgbClr val="000000"/>
                </a:solidFill>
                <a:latin typeface="Tahoma" pitchFamily="34" charset="0"/>
                <a:ea typeface="Calibri"/>
                <a:cs typeface="Tahoma" pitchFamily="34" charset="0"/>
              </a:rPr>
              <a:t>Turn Over 10 Y Government Bond </a:t>
            </a:r>
          </a:p>
        </p:txBody>
      </p:sp>
      <p:sp>
        <p:nvSpPr>
          <p:cNvPr id="20496" name="TextBox 22"/>
          <p:cNvSpPr txBox="1">
            <a:spLocks noChangeArrowheads="1"/>
          </p:cNvSpPr>
          <p:nvPr/>
        </p:nvSpPr>
        <p:spPr bwMode="auto">
          <a:xfrm>
            <a:off x="3272018" y="4252768"/>
            <a:ext cx="1343269" cy="204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0145" tIns="40073" rIns="80145" bIns="4007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id-ID" sz="800">
                <a:solidFill>
                  <a:srgbClr val="000000"/>
                </a:solidFill>
                <a:latin typeface="Tahoma" pitchFamily="34" charset="0"/>
                <a:ea typeface="LF_Kai"/>
                <a:cs typeface="Tahoma" pitchFamily="34" charset="0"/>
              </a:rPr>
              <a:t>As of</a:t>
            </a:r>
            <a:r>
              <a:rPr lang="en-US" sz="800">
                <a:solidFill>
                  <a:srgbClr val="000000"/>
                </a:solidFill>
                <a:latin typeface="Tahoma" pitchFamily="34" charset="0"/>
                <a:ea typeface="LF_Kai"/>
                <a:cs typeface="Tahoma" pitchFamily="34" charset="0"/>
              </a:rPr>
              <a:t> September 15, </a:t>
            </a:r>
            <a:r>
              <a:rPr lang="id-ID" sz="800">
                <a:solidFill>
                  <a:srgbClr val="000000"/>
                </a:solidFill>
                <a:latin typeface="Tahoma" pitchFamily="34" charset="0"/>
                <a:ea typeface="LF_Kai"/>
                <a:cs typeface="Tahoma" pitchFamily="34" charset="0"/>
              </a:rPr>
              <a:t>201</a:t>
            </a:r>
            <a:r>
              <a:rPr lang="en-US" sz="800">
                <a:solidFill>
                  <a:srgbClr val="000000"/>
                </a:solidFill>
                <a:latin typeface="Tahoma" pitchFamily="34" charset="0"/>
                <a:ea typeface="LF_Kai"/>
                <a:cs typeface="Tahoma" pitchFamily="34" charset="0"/>
              </a:rPr>
              <a:t>5</a:t>
            </a:r>
          </a:p>
        </p:txBody>
      </p:sp>
      <p:sp>
        <p:nvSpPr>
          <p:cNvPr id="20497" name="TextBox 22"/>
          <p:cNvSpPr txBox="1">
            <a:spLocks noChangeArrowheads="1"/>
          </p:cNvSpPr>
          <p:nvPr/>
        </p:nvSpPr>
        <p:spPr bwMode="auto">
          <a:xfrm>
            <a:off x="7551437" y="1574086"/>
            <a:ext cx="1387553" cy="20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5" tIns="40073" rIns="80145" bIns="4007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id-ID" sz="800">
                <a:solidFill>
                  <a:srgbClr val="000000"/>
                </a:solidFill>
                <a:latin typeface="Tahoma" pitchFamily="34" charset="0"/>
                <a:ea typeface="LF_Kai"/>
                <a:cs typeface="Tahoma" pitchFamily="34" charset="0"/>
              </a:rPr>
              <a:t>As of</a:t>
            </a:r>
            <a:r>
              <a:rPr lang="en-US" sz="800">
                <a:solidFill>
                  <a:srgbClr val="000000"/>
                </a:solidFill>
                <a:latin typeface="Tahoma" pitchFamily="34" charset="0"/>
                <a:ea typeface="LF_Kai"/>
                <a:cs typeface="Tahoma" pitchFamily="34" charset="0"/>
              </a:rPr>
              <a:t> September 15, </a:t>
            </a:r>
            <a:r>
              <a:rPr lang="id-ID" sz="800">
                <a:solidFill>
                  <a:srgbClr val="000000"/>
                </a:solidFill>
                <a:latin typeface="Tahoma" pitchFamily="34" charset="0"/>
                <a:ea typeface="LF_Kai"/>
                <a:cs typeface="Tahoma" pitchFamily="34" charset="0"/>
              </a:rPr>
              <a:t>201</a:t>
            </a:r>
            <a:r>
              <a:rPr lang="en-US" sz="800">
                <a:solidFill>
                  <a:srgbClr val="000000"/>
                </a:solidFill>
                <a:latin typeface="Tahoma" pitchFamily="34" charset="0"/>
                <a:ea typeface="LF_Kai"/>
                <a:cs typeface="Tahoma" pitchFamily="34" charset="0"/>
              </a:rPr>
              <a:t>5</a:t>
            </a:r>
          </a:p>
        </p:txBody>
      </p:sp>
      <p:sp>
        <p:nvSpPr>
          <p:cNvPr id="28692" name="Slide Number Placeholder 25"/>
          <p:cNvSpPr>
            <a:spLocks noGrp="1"/>
          </p:cNvSpPr>
          <p:nvPr>
            <p:ph type="sldNum" sz="quarter" idx="14"/>
          </p:nvPr>
        </p:nvSpPr>
        <p:spPr bwMode="auto">
          <a:xfrm>
            <a:off x="8808652" y="6575730"/>
            <a:ext cx="195506" cy="207382"/>
          </a:xfrm>
          <a:ln>
            <a:miter lim="800000"/>
            <a:headEnd/>
            <a:tailEnd/>
          </a:ln>
        </p:spPr>
        <p:txBody>
          <a:bodyPr vert="horz" wrap="square" numCol="1" compatLnSpc="1">
            <a:prstTxWarp prst="textNoShape">
              <a:avLst/>
            </a:prstTxWarp>
          </a:bodyPr>
          <a:lstStyle/>
          <a:p>
            <a:pPr>
              <a:defRPr/>
            </a:pPr>
            <a:fld id="{243B4BBE-4521-4630-957B-9D184FA3C452}" type="slidenum">
              <a:rPr smtClean="0">
                <a:cs typeface="STKaiti"/>
              </a:rPr>
              <a:pPr>
                <a:defRPr/>
              </a:pPr>
              <a:t>36</a:t>
            </a:fld>
            <a:endParaRPr dirty="0" smtClean="0">
              <a:cs typeface="STKaiti"/>
            </a:endParaRPr>
          </a:p>
        </p:txBody>
      </p:sp>
      <p:pic>
        <p:nvPicPr>
          <p:cNvPr id="20500" name="Picture 2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3878" y="4157717"/>
            <a:ext cx="4055402" cy="2514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35"/>
          <p:cNvSpPr txBox="1">
            <a:spLocks noChangeArrowheads="1"/>
          </p:cNvSpPr>
          <p:nvPr/>
        </p:nvSpPr>
        <p:spPr bwMode="auto">
          <a:xfrm>
            <a:off x="3276091" y="4658890"/>
            <a:ext cx="966671" cy="563393"/>
          </a:xfrm>
          <a:prstGeom prst="rect">
            <a:avLst/>
          </a:prstGeom>
          <a:solidFill>
            <a:schemeClr val="bg1"/>
          </a:solidFill>
          <a:ln w="9525">
            <a:solidFill>
              <a:srgbClr val="FFC000"/>
            </a:solidFill>
            <a:miter lim="800000"/>
            <a:headEnd/>
            <a:tailEnd/>
          </a:ln>
        </p:spPr>
        <p:txBody>
          <a:bodyPr lIns="70263" tIns="35132" rIns="70263" bIns="35132">
            <a:spAutoFit/>
          </a:bodyPr>
          <a:lstStyle/>
          <a:p>
            <a:pPr algn="ctr" eaLnBrk="0" fontAlgn="auto" hangingPunct="0">
              <a:spcBef>
                <a:spcPts val="0"/>
              </a:spcBef>
              <a:spcAft>
                <a:spcPts val="0"/>
              </a:spcAft>
              <a:defRPr/>
            </a:pPr>
            <a:r>
              <a:rPr lang="en-US" sz="800" b="1" kern="0" dirty="0">
                <a:solidFill>
                  <a:srgbClr val="990000"/>
                </a:solidFill>
                <a:latin typeface="Arial"/>
                <a:ea typeface="MS PGothic"/>
                <a:cs typeface="MS PGothic"/>
              </a:rPr>
              <a:t>Spread 9.362 bps</a:t>
            </a:r>
          </a:p>
          <a:p>
            <a:pPr algn="ctr" eaLnBrk="0" fontAlgn="auto" hangingPunct="0">
              <a:spcBef>
                <a:spcPts val="0"/>
              </a:spcBef>
              <a:spcAft>
                <a:spcPts val="0"/>
              </a:spcAft>
              <a:defRPr/>
            </a:pPr>
            <a:r>
              <a:rPr lang="en-US" sz="800" b="1" kern="0" dirty="0">
                <a:solidFill>
                  <a:srgbClr val="990000"/>
                </a:solidFill>
                <a:latin typeface="Arial"/>
                <a:ea typeface="MS PGothic"/>
                <a:cs typeface="MS PGothic"/>
              </a:rPr>
              <a:t> (ask 9.303%, bid 9.421%)</a:t>
            </a:r>
          </a:p>
        </p:txBody>
      </p:sp>
      <p:grpSp>
        <p:nvGrpSpPr>
          <p:cNvPr id="23" name="Group 13"/>
          <p:cNvGrpSpPr/>
          <p:nvPr/>
        </p:nvGrpSpPr>
        <p:grpSpPr>
          <a:xfrm>
            <a:off x="0" y="0"/>
            <a:ext cx="8656320" cy="548640"/>
            <a:chOff x="0" y="0"/>
            <a:chExt cx="8656320" cy="548640"/>
          </a:xfrm>
        </p:grpSpPr>
        <p:sp>
          <p:nvSpPr>
            <p:cNvPr id="24" name="Rectangle 23"/>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25" name="Rectangle 24"/>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26" name="Title 1"/>
          <p:cNvSpPr txBox="1">
            <a:spLocks/>
          </p:cNvSpPr>
          <p:nvPr/>
        </p:nvSpPr>
        <p:spPr>
          <a:xfrm>
            <a:off x="416810" y="26894"/>
            <a:ext cx="8727190" cy="487362"/>
          </a:xfrm>
          <a:prstGeom prst="rect">
            <a:avLst/>
          </a:prstGeom>
        </p:spPr>
        <p:txBody>
          <a:bodyPr vert="horz" wrap="none" lIns="0" tIns="0" rIns="0" bIns="0" anchor="ctr" anchorCtr="0">
            <a:noAutofit/>
          </a:bodyPr>
          <a:lstStyle>
            <a:lvl1pPr algn="ctr" rtl="0" eaLnBrk="0" fontAlgn="base" hangingPunct="0">
              <a:spcBef>
                <a:spcPct val="0"/>
              </a:spcBef>
              <a:spcAft>
                <a:spcPct val="0"/>
              </a:spcAft>
              <a:defRPr sz="1900" kern="1200">
                <a:solidFill>
                  <a:schemeClr val="bg1"/>
                </a:solidFill>
                <a:effectLst/>
                <a:latin typeface="Calibri" pitchFamily="34" charset="0"/>
                <a:ea typeface="MS PGothic" pitchFamily="34" charset="-128"/>
                <a:cs typeface="Calibri" pitchFamily="34"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US" altLang="en-US" sz="2400" b="1" dirty="0">
                <a:solidFill>
                  <a:schemeClr val="tx1"/>
                </a:solidFill>
                <a:cs typeface="LF_Kai"/>
                <a:sym typeface="Wingdings" pitchFamily="2" charset="2"/>
              </a:rPr>
              <a:t>Secondary Market Performance</a:t>
            </a:r>
            <a:endParaRPr lang="en-GB" sz="2400" b="1" dirty="0">
              <a:latin typeface="Lucida Sans Unicode" pitchFamily="34" charset="0"/>
            </a:endParaRPr>
          </a:p>
        </p:txBody>
      </p:sp>
      <p:sp>
        <p:nvSpPr>
          <p:cNvPr id="28" name="TextBox 27"/>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36</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50945583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9" name="Slide Number Placeholder 2"/>
          <p:cNvSpPr>
            <a:spLocks noGrp="1"/>
          </p:cNvSpPr>
          <p:nvPr>
            <p:ph type="sldNum" sz="quarter" idx="10"/>
          </p:nvPr>
        </p:nvSpPr>
        <p:spPr bwMode="auto">
          <a:xfrm>
            <a:off x="8458200" y="6528206"/>
            <a:ext cx="579901" cy="167133"/>
          </a:xfrm>
          <a:ln>
            <a:miter lim="800000"/>
            <a:headEnd/>
            <a:tailEnd/>
          </a:ln>
        </p:spPr>
        <p:txBody>
          <a:bodyPr vert="horz" wrap="square" lIns="80165" tIns="40083" rIns="80165" bIns="40083" numCol="1" compatLnSpc="1">
            <a:prstTxWarp prst="textNoShape">
              <a:avLst/>
            </a:prstTxWarp>
          </a:bodyPr>
          <a:lstStyle/>
          <a:p>
            <a:pPr>
              <a:defRPr/>
            </a:pPr>
            <a:fld id="{A6292DF4-63A7-4464-AE8D-AE25BA593828}" type="slidenum">
              <a:rPr smtClean="0">
                <a:cs typeface="STKaiti"/>
              </a:rPr>
              <a:pPr>
                <a:defRPr/>
              </a:pPr>
              <a:t>37</a:t>
            </a:fld>
            <a:endParaRPr smtClean="0">
              <a:cs typeface="STKaiti"/>
            </a:endParaRPr>
          </a:p>
        </p:txBody>
      </p:sp>
      <p:sp>
        <p:nvSpPr>
          <p:cNvPr id="23556" name="TextBox 16"/>
          <p:cNvSpPr txBox="1">
            <a:spLocks noChangeArrowheads="1"/>
          </p:cNvSpPr>
          <p:nvPr/>
        </p:nvSpPr>
        <p:spPr bwMode="auto">
          <a:xfrm>
            <a:off x="217230" y="2852941"/>
            <a:ext cx="4712520" cy="272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76" tIns="43638" rIns="87276" bIns="43638">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en-US" sz="1200" b="1" i="1" dirty="0">
                <a:latin typeface="Calibri" pitchFamily="34" charset="0"/>
              </a:rPr>
              <a:t>Foreign Net Buy/Sell </a:t>
            </a:r>
            <a:r>
              <a:rPr lang="en-US" sz="1200" b="1" dirty="0">
                <a:latin typeface="Calibri" pitchFamily="34" charset="0"/>
              </a:rPr>
              <a:t>up to August (YTD) &amp; yearly total (IDR trillion)</a:t>
            </a:r>
          </a:p>
        </p:txBody>
      </p:sp>
      <p:sp>
        <p:nvSpPr>
          <p:cNvPr id="23557" name="TextBox 9"/>
          <p:cNvSpPr txBox="1">
            <a:spLocks noChangeArrowheads="1"/>
          </p:cNvSpPr>
          <p:nvPr/>
        </p:nvSpPr>
        <p:spPr bwMode="auto">
          <a:xfrm>
            <a:off x="222660" y="1114678"/>
            <a:ext cx="3657600" cy="28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76" tIns="43638" rIns="87276" bIns="43638">
            <a:spAutoFit/>
          </a:bodyPr>
          <a:lstStyle>
            <a:lvl1pPr marL="342900" indent="-342900" eaLnBrk="0" hangingPunct="0">
              <a:defRPr sz="1300">
                <a:solidFill>
                  <a:schemeClr val="tx1"/>
                </a:solidFill>
                <a:latin typeface="Book Antiqua" pitchFamily="18" charset="0"/>
                <a:ea typeface="STKaiti"/>
                <a:cs typeface="STKaiti"/>
              </a:defRPr>
            </a:lvl1pPr>
            <a:lvl2pPr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pPr lvl="1" algn="r"/>
            <a:r>
              <a:rPr lang="en-US" b="1">
                <a:latin typeface="Calibri" pitchFamily="34" charset="0"/>
              </a:rPr>
              <a:t>Investors Net Buy/Sell</a:t>
            </a:r>
            <a:r>
              <a:rPr lang="en-US" b="1" i="1">
                <a:latin typeface="Calibri" pitchFamily="34" charset="0"/>
              </a:rPr>
              <a:t> </a:t>
            </a:r>
            <a:r>
              <a:rPr lang="en-US" b="1">
                <a:latin typeface="Calibri" pitchFamily="34" charset="0"/>
              </a:rPr>
              <a:t>(IDR trillion)</a:t>
            </a:r>
          </a:p>
        </p:txBody>
      </p:sp>
      <p:sp>
        <p:nvSpPr>
          <p:cNvPr id="23558" name="TextBox 10"/>
          <p:cNvSpPr txBox="1">
            <a:spLocks noChangeArrowheads="1"/>
          </p:cNvSpPr>
          <p:nvPr/>
        </p:nvSpPr>
        <p:spPr bwMode="auto">
          <a:xfrm>
            <a:off x="141200" y="6551248"/>
            <a:ext cx="3445801" cy="28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76" tIns="43638" rIns="87276" bIns="43638">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en-US" i="1"/>
              <a:t>Source: Bank Indonesia</a:t>
            </a:r>
          </a:p>
        </p:txBody>
      </p:sp>
      <p:sp>
        <p:nvSpPr>
          <p:cNvPr id="23559" name="Rectangle 4"/>
          <p:cNvSpPr>
            <a:spLocks noChangeArrowheads="1"/>
          </p:cNvSpPr>
          <p:nvPr/>
        </p:nvSpPr>
        <p:spPr bwMode="auto">
          <a:xfrm>
            <a:off x="4962335" y="1392626"/>
            <a:ext cx="4009239" cy="327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87276" tIns="43638" rIns="87276" bIns="43638"/>
          <a:lstStyle/>
          <a:p>
            <a:pPr marL="219898" indent="-219898" algn="just" eaLnBrk="0" hangingPunct="0">
              <a:buFont typeface="Arial" pitchFamily="34" charset="0"/>
              <a:buChar char="•"/>
            </a:pPr>
            <a:r>
              <a:rPr lang="en-US"/>
              <a:t>Foreign investors (Asing) recorded a net buy of IDR67.67 trillion (year to date). While during the year of 2014 foreign net buy reached IDR137.52 trillion.</a:t>
            </a:r>
          </a:p>
          <a:p>
            <a:pPr marL="219898" indent="-219898" algn="just" eaLnBrk="0" hangingPunct="0">
              <a:buFont typeface="Arial" pitchFamily="34" charset="0"/>
              <a:buChar char="•"/>
            </a:pPr>
            <a:endParaRPr lang="en-US"/>
          </a:p>
          <a:p>
            <a:pPr marL="219898" indent="-219898" algn="just" eaLnBrk="0" hangingPunct="0">
              <a:buFont typeface="Arial" pitchFamily="34" charset="0"/>
              <a:buChar char="•"/>
            </a:pPr>
            <a:r>
              <a:rPr lang="en-US"/>
              <a:t>In August 2015 foreign investor recorded net buy of IDR64.33 trillion, thus during September (as of September 14 net buy is recorded  IDR3.35 trillion. </a:t>
            </a:r>
          </a:p>
          <a:p>
            <a:pPr marL="219898" indent="-219898" algn="just" eaLnBrk="0" hangingPunct="0"/>
            <a:endParaRPr lang="en-US">
              <a:solidFill>
                <a:srgbClr val="FF0000"/>
              </a:solidFill>
            </a:endParaRPr>
          </a:p>
        </p:txBody>
      </p:sp>
      <p:sp>
        <p:nvSpPr>
          <p:cNvPr id="23560" name="TextBox 11"/>
          <p:cNvSpPr txBox="1">
            <a:spLocks noChangeArrowheads="1"/>
          </p:cNvSpPr>
          <p:nvPr/>
        </p:nvSpPr>
        <p:spPr bwMode="auto">
          <a:xfrm>
            <a:off x="397802" y="2554828"/>
            <a:ext cx="3418648" cy="28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76" tIns="43638" rIns="87276" bIns="43638">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en-US" i="1"/>
              <a:t>Note:  as of  September 14, 2015</a:t>
            </a:r>
          </a:p>
        </p:txBody>
      </p:sp>
      <p:pic>
        <p:nvPicPr>
          <p:cNvPr id="23561"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9449" y="3169773"/>
            <a:ext cx="4427406" cy="329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2"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6237" y="1503518"/>
            <a:ext cx="4491218" cy="962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3"/>
          <p:cNvGrpSpPr/>
          <p:nvPr/>
        </p:nvGrpSpPr>
        <p:grpSpPr>
          <a:xfrm>
            <a:off x="0" y="0"/>
            <a:ext cx="8656320" cy="548640"/>
            <a:chOff x="0" y="0"/>
            <a:chExt cx="8656320" cy="548640"/>
          </a:xfrm>
        </p:grpSpPr>
        <p:sp>
          <p:nvSpPr>
            <p:cNvPr id="12" name="Rectangle 11"/>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3" name="Rectangle 12"/>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4" name="Title 1"/>
          <p:cNvSpPr txBox="1">
            <a:spLocks/>
          </p:cNvSpPr>
          <p:nvPr/>
        </p:nvSpPr>
        <p:spPr>
          <a:xfrm>
            <a:off x="416810" y="26894"/>
            <a:ext cx="8727190" cy="487362"/>
          </a:xfrm>
          <a:prstGeom prst="rect">
            <a:avLst/>
          </a:prstGeom>
        </p:spPr>
        <p:txBody>
          <a:bodyPr vert="horz" wrap="none" lIns="0" tIns="0" rIns="0" bIns="0" anchor="ctr" anchorCtr="0">
            <a:noAutofit/>
          </a:bodyPr>
          <a:lstStyle>
            <a:lvl1pPr algn="ctr" rtl="0" eaLnBrk="0" fontAlgn="base" hangingPunct="0">
              <a:spcBef>
                <a:spcPct val="0"/>
              </a:spcBef>
              <a:spcAft>
                <a:spcPct val="0"/>
              </a:spcAft>
              <a:defRPr sz="1900" kern="1200">
                <a:solidFill>
                  <a:schemeClr val="bg1"/>
                </a:solidFill>
                <a:effectLst/>
                <a:latin typeface="Calibri" pitchFamily="34" charset="0"/>
                <a:ea typeface="MS PGothic" pitchFamily="34" charset="-128"/>
                <a:cs typeface="Calibri" pitchFamily="34"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US" altLang="en-US" sz="2400" b="1" dirty="0">
                <a:solidFill>
                  <a:schemeClr val="tx1"/>
                </a:solidFill>
                <a:cs typeface="LF_Kai"/>
                <a:sym typeface="Wingdings" pitchFamily="2" charset="2"/>
              </a:rPr>
              <a:t>Foreign Investor Activity</a:t>
            </a:r>
            <a:r>
              <a:rPr lang="en-US" altLang="en-US" sz="1400" b="1" dirty="0">
                <a:solidFill>
                  <a:schemeClr val="tx1"/>
                </a:solidFill>
                <a:cs typeface="LF_Kai"/>
                <a:sym typeface="Wingdings" pitchFamily="2" charset="2"/>
              </a:rPr>
              <a:t> </a:t>
            </a:r>
            <a:endParaRPr lang="en-GB" sz="2400" b="1" dirty="0">
              <a:latin typeface="Lucida Sans Unicode" pitchFamily="34" charset="0"/>
            </a:endParaRPr>
          </a:p>
        </p:txBody>
      </p:sp>
      <p:sp>
        <p:nvSpPr>
          <p:cNvPr id="15" name="TextBox 14"/>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37</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8968609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30700"/>
            <a:ext cx="4503437" cy="5105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0" name="Text Box 26"/>
          <p:cNvSpPr txBox="1">
            <a:spLocks noChangeArrowheads="1"/>
          </p:cNvSpPr>
          <p:nvPr/>
        </p:nvSpPr>
        <p:spPr bwMode="auto">
          <a:xfrm>
            <a:off x="4565891" y="1255812"/>
            <a:ext cx="4362237" cy="28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65" tIns="40083" rIns="80165" bIns="4008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pPr algn="ctr">
              <a:lnSpc>
                <a:spcPct val="90000"/>
              </a:lnSpc>
              <a:buClr>
                <a:srgbClr val="009E9C"/>
              </a:buClr>
              <a:buSzPct val="90000"/>
            </a:pPr>
            <a:r>
              <a:rPr lang="en-US" sz="1400" b="1" u="sng">
                <a:latin typeface="Calibri" pitchFamily="34" charset="0"/>
                <a:ea typeface="LF_Kai"/>
                <a:cs typeface="LF_Kai"/>
              </a:rPr>
              <a:t>Net Buyer (Seller) - Non Resident </a:t>
            </a:r>
          </a:p>
        </p:txBody>
      </p:sp>
      <p:sp>
        <p:nvSpPr>
          <p:cNvPr id="24581" name="Text Box 26"/>
          <p:cNvSpPr txBox="1">
            <a:spLocks noChangeArrowheads="1"/>
          </p:cNvSpPr>
          <p:nvPr/>
        </p:nvSpPr>
        <p:spPr bwMode="auto">
          <a:xfrm>
            <a:off x="-88249" y="1255812"/>
            <a:ext cx="4154513" cy="28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65" tIns="40083" rIns="80165" bIns="4008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pPr algn="ctr">
              <a:lnSpc>
                <a:spcPct val="90000"/>
              </a:lnSpc>
              <a:buClr>
                <a:srgbClr val="009E9C"/>
              </a:buClr>
              <a:buSzPct val="90000"/>
            </a:pPr>
            <a:r>
              <a:rPr lang="en-US" sz="1400" b="1" u="sng">
                <a:latin typeface="Calibri" pitchFamily="34" charset="0"/>
                <a:ea typeface="LF_Kai"/>
                <a:cs typeface="LF_Kai"/>
              </a:rPr>
              <a:t>Foreign Ownership - Proportion by Tenor</a:t>
            </a:r>
          </a:p>
        </p:txBody>
      </p:sp>
      <p:sp>
        <p:nvSpPr>
          <p:cNvPr id="24582" name="TextBox 9"/>
          <p:cNvSpPr txBox="1">
            <a:spLocks noChangeArrowheads="1"/>
          </p:cNvSpPr>
          <p:nvPr/>
        </p:nvSpPr>
        <p:spPr bwMode="auto">
          <a:xfrm>
            <a:off x="4812989" y="1502079"/>
            <a:ext cx="1764989" cy="23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65" tIns="40083" rIns="80165" bIns="4008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id-ID" sz="1000" b="1">
                <a:latin typeface="Calibri" pitchFamily="34" charset="0"/>
                <a:ea typeface="LF_Kai"/>
                <a:cs typeface="LF_Kai"/>
              </a:rPr>
              <a:t>[</a:t>
            </a:r>
            <a:r>
              <a:rPr lang="en-US" sz="1000" b="1">
                <a:latin typeface="Calibri" pitchFamily="34" charset="0"/>
                <a:ea typeface="LF_Kai"/>
                <a:cs typeface="LF_Kai"/>
              </a:rPr>
              <a:t>In IDR Trillion</a:t>
            </a:r>
            <a:r>
              <a:rPr lang="id-ID" sz="1000" b="1">
                <a:latin typeface="Calibri" pitchFamily="34" charset="0"/>
                <a:ea typeface="LF_Kai"/>
                <a:cs typeface="LF_Kai"/>
              </a:rPr>
              <a:t>]</a:t>
            </a:r>
            <a:endParaRPr lang="en-US" sz="1000" b="1">
              <a:latin typeface="Calibri" pitchFamily="34" charset="0"/>
              <a:ea typeface="LF_Kai"/>
              <a:cs typeface="LF_Kai"/>
            </a:endParaRPr>
          </a:p>
        </p:txBody>
      </p:sp>
      <p:sp>
        <p:nvSpPr>
          <p:cNvPr id="11" name="TextBox 5"/>
          <p:cNvSpPr txBox="1">
            <a:spLocks noChangeArrowheads="1"/>
          </p:cNvSpPr>
          <p:nvPr/>
        </p:nvSpPr>
        <p:spPr bwMode="auto">
          <a:xfrm>
            <a:off x="839048" y="6145126"/>
            <a:ext cx="7271754" cy="306752"/>
          </a:xfrm>
          <a:prstGeom prst="rect">
            <a:avLst/>
          </a:prstGeom>
          <a:noFill/>
          <a:ln w="9525">
            <a:noFill/>
            <a:miter lim="800000"/>
            <a:headEnd/>
            <a:tailEnd/>
          </a:ln>
        </p:spPr>
        <p:txBody>
          <a:bodyPr lIns="80165" tIns="40083" rIns="80165" bIns="40083">
            <a:spAutoFit/>
          </a:bodyPr>
          <a:lstStyle/>
          <a:p>
            <a:pPr algn="ctr" eaLnBrk="0" hangingPunct="0">
              <a:defRPr/>
            </a:pPr>
            <a:r>
              <a:rPr lang="en-US" sz="1400" b="1" dirty="0">
                <a:solidFill>
                  <a:schemeClr val="tx2">
                    <a:lumMod val="75000"/>
                  </a:schemeClr>
                </a:solidFill>
                <a:ea typeface="+mn-ea"/>
                <a:cs typeface="Tahoma" pitchFamily="34" charset="0"/>
              </a:rPr>
              <a:t>Foreign investors mostly dominated by high quality long term investors</a:t>
            </a:r>
          </a:p>
        </p:txBody>
      </p:sp>
      <p:sp>
        <p:nvSpPr>
          <p:cNvPr id="31751" name="Slide Number Placeholder 8"/>
          <p:cNvSpPr>
            <a:spLocks noGrp="1"/>
          </p:cNvSpPr>
          <p:nvPr>
            <p:ph type="sldNum" sz="quarter" idx="14"/>
          </p:nvPr>
        </p:nvSpPr>
        <p:spPr bwMode="auto">
          <a:xfrm>
            <a:off x="8363332" y="6601652"/>
            <a:ext cx="628607" cy="256347"/>
          </a:xfrm>
          <a:ln>
            <a:miter lim="800000"/>
            <a:headEnd/>
            <a:tailEnd/>
          </a:ln>
        </p:spPr>
        <p:txBody>
          <a:bodyPr vert="horz" wrap="square" numCol="1" compatLnSpc="1">
            <a:prstTxWarp prst="textNoShape">
              <a:avLst/>
            </a:prstTxWarp>
          </a:bodyPr>
          <a:lstStyle/>
          <a:p>
            <a:pPr>
              <a:defRPr/>
            </a:pPr>
            <a:fld id="{FA4B1895-F76A-4B47-A2D6-4234856F513E}" type="slidenum">
              <a:rPr smtClean="0">
                <a:cs typeface="STKaiti"/>
              </a:rPr>
              <a:pPr>
                <a:defRPr/>
              </a:pPr>
              <a:t>38</a:t>
            </a:fld>
            <a:endParaRPr dirty="0" smtClean="0">
              <a:cs typeface="STKaiti"/>
            </a:endParaRPr>
          </a:p>
        </p:txBody>
      </p:sp>
      <p:sp>
        <p:nvSpPr>
          <p:cNvPr id="24585" name="TextBox 22"/>
          <p:cNvSpPr txBox="1">
            <a:spLocks noChangeArrowheads="1"/>
          </p:cNvSpPr>
          <p:nvPr/>
        </p:nvSpPr>
        <p:spPr bwMode="auto">
          <a:xfrm>
            <a:off x="7691279" y="1558244"/>
            <a:ext cx="1344107" cy="20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5" tIns="40073" rIns="80145" bIns="40073">
            <a:spAutoFit/>
          </a:bodyPr>
          <a:lstStyle>
            <a:lvl1pPr eaLnBrk="0" hangingPunct="0">
              <a:defRPr sz="1300">
                <a:solidFill>
                  <a:schemeClr val="tx1"/>
                </a:solidFill>
                <a:latin typeface="Book Antiqua" pitchFamily="18" charset="0"/>
                <a:ea typeface="STKaiti"/>
                <a:cs typeface="STKaiti"/>
              </a:defRPr>
            </a:lvl1pPr>
            <a:lvl2pPr marL="742950" indent="-285750" eaLnBrk="0" hangingPunct="0">
              <a:defRPr sz="1300">
                <a:solidFill>
                  <a:schemeClr val="tx1"/>
                </a:solidFill>
                <a:latin typeface="Book Antiqua" pitchFamily="18" charset="0"/>
                <a:ea typeface="STKaiti"/>
                <a:cs typeface="STKaiti"/>
              </a:defRPr>
            </a:lvl2pPr>
            <a:lvl3pPr marL="1143000" indent="-228600" eaLnBrk="0" hangingPunct="0">
              <a:defRPr sz="1300">
                <a:solidFill>
                  <a:schemeClr val="tx1"/>
                </a:solidFill>
                <a:latin typeface="Book Antiqua" pitchFamily="18" charset="0"/>
                <a:ea typeface="STKaiti"/>
                <a:cs typeface="STKaiti"/>
              </a:defRPr>
            </a:lvl3pPr>
            <a:lvl4pPr marL="1600200" indent="-228600" eaLnBrk="0" hangingPunct="0">
              <a:defRPr sz="1300">
                <a:solidFill>
                  <a:schemeClr val="tx1"/>
                </a:solidFill>
                <a:latin typeface="Book Antiqua" pitchFamily="18" charset="0"/>
                <a:ea typeface="STKaiti"/>
                <a:cs typeface="STKaiti"/>
              </a:defRPr>
            </a:lvl4pPr>
            <a:lvl5pPr marL="2057400" indent="-228600" eaLnBrk="0" hangingPunct="0">
              <a:defRPr sz="1300">
                <a:solidFill>
                  <a:schemeClr val="tx1"/>
                </a:solidFill>
                <a:latin typeface="Book Antiqua" pitchFamily="18" charset="0"/>
                <a:ea typeface="STKaiti"/>
                <a:cs typeface="STKaiti"/>
              </a:defRPr>
            </a:lvl5pPr>
            <a:lvl6pPr marL="2514600" indent="-228600" eaLnBrk="0" fontAlgn="base" hangingPunct="0">
              <a:spcBef>
                <a:spcPct val="0"/>
              </a:spcBef>
              <a:spcAft>
                <a:spcPct val="0"/>
              </a:spcAft>
              <a:defRPr sz="1300">
                <a:solidFill>
                  <a:schemeClr val="tx1"/>
                </a:solidFill>
                <a:latin typeface="Book Antiqua" pitchFamily="18" charset="0"/>
                <a:ea typeface="STKaiti"/>
                <a:cs typeface="STKaiti"/>
              </a:defRPr>
            </a:lvl6pPr>
            <a:lvl7pPr marL="2971800" indent="-228600" eaLnBrk="0" fontAlgn="base" hangingPunct="0">
              <a:spcBef>
                <a:spcPct val="0"/>
              </a:spcBef>
              <a:spcAft>
                <a:spcPct val="0"/>
              </a:spcAft>
              <a:defRPr sz="1300">
                <a:solidFill>
                  <a:schemeClr val="tx1"/>
                </a:solidFill>
                <a:latin typeface="Book Antiqua" pitchFamily="18" charset="0"/>
                <a:ea typeface="STKaiti"/>
                <a:cs typeface="STKaiti"/>
              </a:defRPr>
            </a:lvl7pPr>
            <a:lvl8pPr marL="3429000" indent="-228600" eaLnBrk="0" fontAlgn="base" hangingPunct="0">
              <a:spcBef>
                <a:spcPct val="0"/>
              </a:spcBef>
              <a:spcAft>
                <a:spcPct val="0"/>
              </a:spcAft>
              <a:defRPr sz="1300">
                <a:solidFill>
                  <a:schemeClr val="tx1"/>
                </a:solidFill>
                <a:latin typeface="Book Antiqua" pitchFamily="18" charset="0"/>
                <a:ea typeface="STKaiti"/>
                <a:cs typeface="STKaiti"/>
              </a:defRPr>
            </a:lvl8pPr>
            <a:lvl9pPr marL="3886200" indent="-228600" eaLnBrk="0" fontAlgn="base" hangingPunct="0">
              <a:spcBef>
                <a:spcPct val="0"/>
              </a:spcBef>
              <a:spcAft>
                <a:spcPct val="0"/>
              </a:spcAft>
              <a:defRPr sz="1300">
                <a:solidFill>
                  <a:schemeClr val="tx1"/>
                </a:solidFill>
                <a:latin typeface="Book Antiqua" pitchFamily="18" charset="0"/>
                <a:ea typeface="STKaiti"/>
                <a:cs typeface="STKaiti"/>
              </a:defRPr>
            </a:lvl9pPr>
          </a:lstStyle>
          <a:p>
            <a:r>
              <a:rPr lang="id-ID" sz="800">
                <a:solidFill>
                  <a:srgbClr val="000000"/>
                </a:solidFill>
                <a:latin typeface="Tahoma" pitchFamily="34" charset="0"/>
                <a:ea typeface="LF_Kai"/>
                <a:cs typeface="Tahoma" pitchFamily="34" charset="0"/>
              </a:rPr>
              <a:t>As of</a:t>
            </a:r>
            <a:r>
              <a:rPr lang="en-US" sz="800">
                <a:solidFill>
                  <a:srgbClr val="000000"/>
                </a:solidFill>
                <a:latin typeface="Tahoma" pitchFamily="34" charset="0"/>
                <a:ea typeface="LF_Kai"/>
                <a:cs typeface="Tahoma" pitchFamily="34" charset="0"/>
              </a:rPr>
              <a:t> September 15, </a:t>
            </a:r>
            <a:r>
              <a:rPr lang="id-ID" sz="800">
                <a:solidFill>
                  <a:srgbClr val="000000"/>
                </a:solidFill>
                <a:latin typeface="Tahoma" pitchFamily="34" charset="0"/>
                <a:ea typeface="LF_Kai"/>
                <a:cs typeface="Tahoma" pitchFamily="34" charset="0"/>
              </a:rPr>
              <a:t>201</a:t>
            </a:r>
            <a:r>
              <a:rPr lang="en-US" sz="800">
                <a:solidFill>
                  <a:srgbClr val="000000"/>
                </a:solidFill>
                <a:latin typeface="Tahoma" pitchFamily="34" charset="0"/>
                <a:ea typeface="LF_Kai"/>
                <a:cs typeface="Tahoma" pitchFamily="34" charset="0"/>
              </a:rPr>
              <a:t>5</a:t>
            </a:r>
          </a:p>
        </p:txBody>
      </p:sp>
      <p:pic>
        <p:nvPicPr>
          <p:cNvPr id="24586"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03437" y="1687857"/>
            <a:ext cx="4681293" cy="4661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3"/>
          <p:cNvGrpSpPr/>
          <p:nvPr/>
        </p:nvGrpSpPr>
        <p:grpSpPr>
          <a:xfrm>
            <a:off x="0" y="0"/>
            <a:ext cx="8656320" cy="548640"/>
            <a:chOff x="0" y="0"/>
            <a:chExt cx="8656320" cy="548640"/>
          </a:xfrm>
        </p:grpSpPr>
        <p:sp>
          <p:nvSpPr>
            <p:cNvPr id="13" name="Rectangle 12"/>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4" name="Rectangle 13"/>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5" name="Title 1"/>
          <p:cNvSpPr txBox="1">
            <a:spLocks/>
          </p:cNvSpPr>
          <p:nvPr/>
        </p:nvSpPr>
        <p:spPr>
          <a:xfrm>
            <a:off x="416810" y="26894"/>
            <a:ext cx="8727190" cy="487362"/>
          </a:xfrm>
          <a:prstGeom prst="rect">
            <a:avLst/>
          </a:prstGeom>
        </p:spPr>
        <p:txBody>
          <a:bodyPr vert="horz" wrap="none" lIns="0" tIns="0" rIns="0" bIns="0" anchor="ctr" anchorCtr="0">
            <a:noAutofit/>
          </a:bodyPr>
          <a:lstStyle>
            <a:lvl1pPr algn="ctr" rtl="0" eaLnBrk="0" fontAlgn="base" hangingPunct="0">
              <a:spcBef>
                <a:spcPct val="0"/>
              </a:spcBef>
              <a:spcAft>
                <a:spcPct val="0"/>
              </a:spcAft>
              <a:defRPr sz="1900" kern="1200">
                <a:solidFill>
                  <a:schemeClr val="bg1"/>
                </a:solidFill>
                <a:effectLst/>
                <a:latin typeface="Calibri" pitchFamily="34" charset="0"/>
                <a:ea typeface="MS PGothic" pitchFamily="34" charset="-128"/>
                <a:cs typeface="Calibri" pitchFamily="34"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US" altLang="en-US" sz="2400" b="1" dirty="0">
                <a:solidFill>
                  <a:schemeClr val="tx1"/>
                </a:solidFill>
                <a:cs typeface="LF_Kai"/>
                <a:sym typeface="Wingdings" pitchFamily="2" charset="2"/>
              </a:rPr>
              <a:t>Foreign Investor Activity</a:t>
            </a:r>
            <a:r>
              <a:rPr lang="en-US" altLang="en-US" sz="1400" b="1" dirty="0">
                <a:solidFill>
                  <a:schemeClr val="tx1"/>
                </a:solidFill>
                <a:cs typeface="LF_Kai"/>
                <a:sym typeface="Wingdings" pitchFamily="2" charset="2"/>
              </a:rPr>
              <a:t> </a:t>
            </a:r>
            <a:endParaRPr lang="en-GB" sz="2400" b="1" dirty="0">
              <a:latin typeface="Lucida Sans Unicode" pitchFamily="34" charset="0"/>
            </a:endParaRPr>
          </a:p>
        </p:txBody>
      </p:sp>
      <p:sp>
        <p:nvSpPr>
          <p:cNvPr id="16" name="TextBox 15"/>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38</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12097682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
          <p:cNvSpPr>
            <a:spLocks noChangeArrowheads="1"/>
          </p:cNvSpPr>
          <p:nvPr/>
        </p:nvSpPr>
        <p:spPr bwMode="auto">
          <a:xfrm>
            <a:off x="2506663" y="2133600"/>
            <a:ext cx="564673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id-ID" sz="4400" b="1" dirty="0" err="1" smtClean="0">
                <a:solidFill>
                  <a:srgbClr val="333399"/>
                </a:solidFill>
                <a:latin typeface="Franklin Gothic Medium Cond" pitchFamily="34" charset="0"/>
              </a:rPr>
              <a:t>Kebijakan</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Jangka</a:t>
            </a:r>
            <a:r>
              <a:rPr lang="en-US" altLang="id-ID" sz="4400" b="1" dirty="0" smtClean="0">
                <a:solidFill>
                  <a:srgbClr val="333399"/>
                </a:solidFill>
                <a:latin typeface="Franklin Gothic Medium Cond" pitchFamily="34" charset="0"/>
              </a:rPr>
              <a:t> </a:t>
            </a:r>
            <a:r>
              <a:rPr lang="en-US" altLang="id-ID" sz="4400" b="1" dirty="0" err="1" smtClean="0">
                <a:solidFill>
                  <a:srgbClr val="333399"/>
                </a:solidFill>
                <a:latin typeface="Franklin Gothic Medium Cond" pitchFamily="34" charset="0"/>
              </a:rPr>
              <a:t>Panjang</a:t>
            </a:r>
            <a:endParaRPr lang="en-US" altLang="id-ID" sz="4400" b="1" dirty="0">
              <a:solidFill>
                <a:srgbClr val="333399"/>
              </a:solidFill>
              <a:latin typeface="Franklin Gothic Medium Cond" pitchFamily="34" charset="0"/>
            </a:endParaRPr>
          </a:p>
        </p:txBody>
      </p:sp>
      <p:sp>
        <p:nvSpPr>
          <p:cNvPr id="3" name="Rectangle 2"/>
          <p:cNvSpPr/>
          <p:nvPr/>
        </p:nvSpPr>
        <p:spPr>
          <a:xfrm>
            <a:off x="2528888" y="21463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8268" y="2145892"/>
            <a:ext cx="1603932" cy="1359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67551096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p:cNvSpPr txBox="1">
            <a:spLocks/>
          </p:cNvSpPr>
          <p:nvPr/>
        </p:nvSpPr>
        <p:spPr bwMode="auto">
          <a:xfrm>
            <a:off x="26709" y="26293"/>
            <a:ext cx="7556500" cy="752475"/>
          </a:xfrm>
          <a:prstGeom prst="rect">
            <a:avLst/>
          </a:prstGeom>
          <a:noFill/>
          <a:ln>
            <a:noFill/>
          </a:ln>
          <a:effectLst/>
          <a:extLst/>
        </p:spPr>
        <p:style>
          <a:lnRef idx="1">
            <a:schemeClr val="accent2"/>
          </a:lnRef>
          <a:fillRef idx="3">
            <a:schemeClr val="accent2"/>
          </a:fillRef>
          <a:effectRef idx="2">
            <a:schemeClr val="accent2"/>
          </a:effectRef>
          <a:fontRef idx="minor">
            <a:schemeClr val="lt1"/>
          </a:fontRef>
        </p:style>
        <p:txBody>
          <a:bodyPr anchor="ctr"/>
          <a:lstStyle>
            <a:lvl1pPr defTabSz="457200">
              <a:defRPr>
                <a:solidFill>
                  <a:schemeClr val="tx1"/>
                </a:solidFill>
                <a:latin typeface="Calibri" charset="0"/>
                <a:ea typeface="ＭＳ Ｐゴシック" charset="0"/>
                <a:cs typeface="ＭＳ Ｐゴシック" charset="0"/>
              </a:defRPr>
            </a:lvl1pPr>
            <a:lvl2pPr marL="742950" indent="-285750" defTabSz="457200">
              <a:defRPr>
                <a:solidFill>
                  <a:schemeClr val="tx1"/>
                </a:solidFill>
                <a:latin typeface="Calibri" charset="0"/>
                <a:ea typeface="ＭＳ Ｐゴシック" charset="0"/>
              </a:defRPr>
            </a:lvl2pPr>
            <a:lvl3pPr marL="1143000" indent="-228600" defTabSz="457200">
              <a:defRPr>
                <a:solidFill>
                  <a:schemeClr val="tx1"/>
                </a:solidFill>
                <a:latin typeface="Calibri" charset="0"/>
                <a:ea typeface="ＭＳ Ｐゴシック" charset="0"/>
              </a:defRPr>
            </a:lvl3pPr>
            <a:lvl4pPr marL="1600200" indent="-228600" defTabSz="457200">
              <a:defRPr>
                <a:solidFill>
                  <a:schemeClr val="tx1"/>
                </a:solidFill>
                <a:latin typeface="Calibri" charset="0"/>
                <a:ea typeface="ＭＳ Ｐゴシック" charset="0"/>
              </a:defRPr>
            </a:lvl4pPr>
            <a:lvl5pPr marL="2057400" indent="-228600" defTabSz="4572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defRPr/>
            </a:pPr>
            <a:r>
              <a:rPr lang="en-US" altLang="en-US" b="1" dirty="0" err="1">
                <a:solidFill>
                  <a:srgbClr val="1F497D"/>
                </a:solidFill>
                <a:effectLst/>
                <a:latin typeface="Calibri"/>
                <a:ea typeface="MS PGothic" charset="0"/>
                <a:cs typeface="Calibri"/>
                <a:sym typeface="Calibri" charset="0"/>
              </a:rPr>
              <a:t>Perekonomian</a:t>
            </a:r>
            <a:r>
              <a:rPr lang="en-US" altLang="en-US" b="1" dirty="0">
                <a:solidFill>
                  <a:srgbClr val="1F497D"/>
                </a:solidFill>
                <a:effectLst/>
                <a:latin typeface="Calibri"/>
                <a:ea typeface="MS PGothic" charset="0"/>
                <a:cs typeface="Calibri"/>
                <a:sym typeface="Calibri" charset="0"/>
              </a:rPr>
              <a:t> global </a:t>
            </a:r>
            <a:r>
              <a:rPr lang="en-US" altLang="en-US" b="1" dirty="0" err="1" smtClean="0">
                <a:solidFill>
                  <a:srgbClr val="1F497D"/>
                </a:solidFill>
                <a:effectLst/>
                <a:latin typeface="Calibri"/>
                <a:ea typeface="MS PGothic" charset="0"/>
                <a:cs typeface="Calibri"/>
                <a:sym typeface="Calibri" charset="0"/>
              </a:rPr>
              <a:t>tampaknya</a:t>
            </a:r>
            <a:r>
              <a:rPr lang="en-US" altLang="en-US" b="1" dirty="0" smtClean="0">
                <a:solidFill>
                  <a:srgbClr val="1F497D"/>
                </a:solidFill>
                <a:effectLst/>
                <a:latin typeface="Calibri"/>
                <a:ea typeface="MS PGothic" charset="0"/>
                <a:cs typeface="Calibri"/>
                <a:sym typeface="Calibri" charset="0"/>
              </a:rPr>
              <a:t> </a:t>
            </a:r>
            <a:r>
              <a:rPr lang="en-US" altLang="en-US" b="1" dirty="0" err="1">
                <a:solidFill>
                  <a:srgbClr val="1F497D"/>
                </a:solidFill>
                <a:effectLst/>
                <a:latin typeface="Calibri"/>
                <a:ea typeface="MS PGothic" charset="0"/>
                <a:cs typeface="Calibri"/>
                <a:sym typeface="Calibri" charset="0"/>
              </a:rPr>
              <a:t>belum</a:t>
            </a:r>
            <a:r>
              <a:rPr lang="en-US" altLang="en-US" b="1" dirty="0">
                <a:solidFill>
                  <a:srgbClr val="1F497D"/>
                </a:solidFill>
                <a:effectLst/>
                <a:latin typeface="Calibri"/>
                <a:ea typeface="MS PGothic" charset="0"/>
                <a:cs typeface="Calibri"/>
                <a:sym typeface="Calibri" charset="0"/>
              </a:rPr>
              <a:t> </a:t>
            </a:r>
            <a:r>
              <a:rPr lang="en-US" altLang="en-US" b="1" dirty="0" err="1">
                <a:solidFill>
                  <a:srgbClr val="1F497D"/>
                </a:solidFill>
                <a:effectLst/>
                <a:latin typeface="Calibri"/>
                <a:ea typeface="MS PGothic" charset="0"/>
                <a:cs typeface="Calibri"/>
                <a:sym typeface="Calibri" charset="0"/>
              </a:rPr>
              <a:t>menunjukkan</a:t>
            </a:r>
            <a:r>
              <a:rPr lang="en-US" altLang="en-US" b="1" dirty="0">
                <a:solidFill>
                  <a:srgbClr val="1F497D"/>
                </a:solidFill>
                <a:effectLst/>
                <a:latin typeface="Calibri"/>
                <a:ea typeface="MS PGothic" charset="0"/>
                <a:cs typeface="Calibri"/>
                <a:sym typeface="Calibri" charset="0"/>
              </a:rPr>
              <a:t> </a:t>
            </a:r>
            <a:r>
              <a:rPr lang="en-US" altLang="en-US" b="1" dirty="0" err="1">
                <a:solidFill>
                  <a:srgbClr val="1F497D"/>
                </a:solidFill>
                <a:effectLst/>
                <a:latin typeface="Calibri"/>
                <a:ea typeface="MS PGothic" charset="0"/>
                <a:cs typeface="Calibri"/>
                <a:sym typeface="Calibri" charset="0"/>
              </a:rPr>
              <a:t>perbaikan</a:t>
            </a:r>
            <a:r>
              <a:rPr lang="en-US" altLang="en-US" b="1" dirty="0">
                <a:solidFill>
                  <a:srgbClr val="1F497D"/>
                </a:solidFill>
                <a:effectLst/>
                <a:latin typeface="Calibri"/>
                <a:ea typeface="MS PGothic" charset="0"/>
                <a:cs typeface="Calibri"/>
                <a:sym typeface="Calibri" charset="0"/>
              </a:rPr>
              <a:t> </a:t>
            </a:r>
            <a:r>
              <a:rPr lang="en-US" altLang="en-US" b="1" dirty="0" smtClean="0">
                <a:solidFill>
                  <a:srgbClr val="1F497D"/>
                </a:solidFill>
                <a:effectLst/>
                <a:latin typeface="Calibri"/>
                <a:ea typeface="MS PGothic" charset="0"/>
                <a:cs typeface="Calibri"/>
                <a:sym typeface="Calibri" charset="0"/>
              </a:rPr>
              <a:t>yang </a:t>
            </a:r>
            <a:r>
              <a:rPr lang="en-US" altLang="en-US" b="1" dirty="0" err="1" smtClean="0">
                <a:solidFill>
                  <a:srgbClr val="1F497D"/>
                </a:solidFill>
                <a:effectLst/>
                <a:latin typeface="Calibri"/>
                <a:ea typeface="MS PGothic" charset="0"/>
                <a:cs typeface="Calibri"/>
                <a:sym typeface="Calibri" charset="0"/>
              </a:rPr>
              <a:t>signifikan</a:t>
            </a:r>
            <a:endParaRPr lang="en-US" b="1" dirty="0" smtClean="0">
              <a:solidFill>
                <a:srgbClr val="1F497D"/>
              </a:solidFill>
              <a:effectLst/>
              <a:latin typeface="Calibri"/>
              <a:ea typeface="MS PGothic" charset="0"/>
              <a:cs typeface="Calibri"/>
              <a:sym typeface="Calibri" charset="0"/>
            </a:endParaRPr>
          </a:p>
          <a:p>
            <a:pPr>
              <a:defRPr/>
            </a:pPr>
            <a:r>
              <a:rPr lang="en-US" altLang="en-US" sz="1400" i="1" dirty="0">
                <a:solidFill>
                  <a:srgbClr val="1F497D"/>
                </a:solidFill>
                <a:effectLst/>
                <a:latin typeface="Calibri"/>
                <a:ea typeface="MS PGothic" charset="0"/>
                <a:cs typeface="Calibri"/>
                <a:sym typeface="Calibri" charset="0"/>
              </a:rPr>
              <a:t>…</a:t>
            </a:r>
            <a:r>
              <a:rPr lang="en-US" altLang="en-US" sz="1400" i="1" dirty="0" err="1">
                <a:solidFill>
                  <a:srgbClr val="1F497D"/>
                </a:solidFill>
                <a:effectLst/>
                <a:latin typeface="Calibri"/>
                <a:ea typeface="MS PGothic" charset="0"/>
                <a:cs typeface="Calibri"/>
                <a:sym typeface="Calibri" charset="0"/>
              </a:rPr>
              <a:t>proyeksi</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terakhir</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tidak</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seoptimis</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sebelumnya</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dengan</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beberapa</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risiko</a:t>
            </a:r>
            <a:r>
              <a:rPr lang="en-US" altLang="en-US" sz="1400" i="1" dirty="0">
                <a:solidFill>
                  <a:srgbClr val="1F497D"/>
                </a:solidFill>
                <a:effectLst/>
                <a:latin typeface="Calibri"/>
                <a:ea typeface="MS PGothic" charset="0"/>
                <a:cs typeface="Calibri"/>
                <a:sym typeface="Calibri" charset="0"/>
              </a:rPr>
              <a:t> yang </a:t>
            </a:r>
            <a:r>
              <a:rPr lang="en-US" altLang="en-US" sz="1400" i="1" dirty="0" err="1">
                <a:solidFill>
                  <a:srgbClr val="1F497D"/>
                </a:solidFill>
                <a:effectLst/>
                <a:latin typeface="Calibri"/>
                <a:ea typeface="MS PGothic" charset="0"/>
                <a:cs typeface="Calibri"/>
                <a:sym typeface="Calibri" charset="0"/>
              </a:rPr>
              <a:t>harus</a:t>
            </a:r>
            <a:r>
              <a:rPr lang="en-US" altLang="en-US" sz="1400" i="1" dirty="0">
                <a:solidFill>
                  <a:srgbClr val="1F497D"/>
                </a:solidFill>
                <a:effectLst/>
                <a:latin typeface="Calibri"/>
                <a:ea typeface="MS PGothic" charset="0"/>
                <a:cs typeface="Calibri"/>
                <a:sym typeface="Calibri" charset="0"/>
              </a:rPr>
              <a:t> </a:t>
            </a:r>
            <a:r>
              <a:rPr lang="en-US" altLang="en-US" sz="1400" i="1" dirty="0" err="1">
                <a:solidFill>
                  <a:srgbClr val="1F497D"/>
                </a:solidFill>
                <a:effectLst/>
                <a:latin typeface="Calibri"/>
                <a:ea typeface="MS PGothic" charset="0"/>
                <a:cs typeface="Calibri"/>
                <a:sym typeface="Calibri" charset="0"/>
              </a:rPr>
              <a:t>diwaspadai</a:t>
            </a:r>
            <a:endParaRPr lang="en-US" altLang="en-US" sz="1400" i="1" dirty="0">
              <a:solidFill>
                <a:srgbClr val="1F497D"/>
              </a:solidFill>
              <a:effectLst/>
              <a:latin typeface="Calibri"/>
              <a:ea typeface="MS PGothic" charset="0"/>
              <a:cs typeface="Calibri"/>
              <a:sym typeface="Calibri" charset="0"/>
            </a:endParaRPr>
          </a:p>
        </p:txBody>
      </p:sp>
      <p:graphicFrame>
        <p:nvGraphicFramePr>
          <p:cNvPr id="24" name="Table 17"/>
          <p:cNvGraphicFramePr>
            <a:graphicFrameLocks noGrp="1"/>
          </p:cNvGraphicFramePr>
          <p:nvPr/>
        </p:nvGraphicFramePr>
        <p:xfrm>
          <a:off x="152400" y="1028700"/>
          <a:ext cx="8824912" cy="2154238"/>
        </p:xfrm>
        <a:graphic>
          <a:graphicData uri="http://schemas.openxmlformats.org/drawingml/2006/table">
            <a:tbl>
              <a:tblPr/>
              <a:tblGrid>
                <a:gridCol w="894518"/>
                <a:gridCol w="1022307"/>
                <a:gridCol w="907673"/>
                <a:gridCol w="644580"/>
                <a:gridCol w="1168887"/>
                <a:gridCol w="1009151"/>
                <a:gridCol w="1061771"/>
                <a:gridCol w="954654"/>
                <a:gridCol w="1161371"/>
              </a:tblGrid>
              <a:tr h="206631">
                <a:tc rowSpan="2" gridSpan="2">
                  <a:txBody>
                    <a:bodyPr/>
                    <a:lstStyle/>
                    <a:p>
                      <a:pPr marL="0" marR="0" lvl="0" indent="0" algn="ctr" defTabSz="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chemeClr val="bg1"/>
                          </a:solidFill>
                          <a:effectLst/>
                          <a:latin typeface="+mn-lt"/>
                          <a:ea typeface="MS PGothic" charset="0"/>
                          <a:cs typeface="Calibri" charset="0"/>
                          <a:sym typeface="Calibri" charset="0"/>
                        </a:rPr>
                        <a:t>WEO IMF</a:t>
                      </a:r>
                    </a:p>
                  </a:txBody>
                  <a:tcPr marL="33230" marR="33230" marT="15338" marB="15338" anchor="ctr" horzOverflow="overflow">
                    <a:lnL>
                      <a:noFill/>
                    </a:lnL>
                    <a:lnR w="12700" cap="flat" cmpd="sng" algn="ctr">
                      <a:solidFill>
                        <a:schemeClr val="bg1"/>
                      </a:solidFill>
                      <a:prstDash val="solid"/>
                      <a:bevel/>
                      <a:headEnd type="none" w="med" len="med"/>
                      <a:tailEnd type="none" w="med" len="med"/>
                    </a:lnR>
                    <a:lnT>
                      <a:noFill/>
                    </a:lnT>
                    <a:lnB w="38100" cap="flat" cmpd="sng" algn="ctr">
                      <a:solidFill>
                        <a:srgbClr val="1F4E79"/>
                      </a:solidFill>
                      <a:prstDash val="solid"/>
                      <a:round/>
                      <a:headEnd type="none" w="med" len="med"/>
                      <a:tailEnd type="none" w="med" len="med"/>
                    </a:lnB>
                    <a:lnTlToBr>
                      <a:noFill/>
                    </a:lnTlToBr>
                    <a:lnBlToTr>
                      <a:noFill/>
                    </a:lnBlToTr>
                    <a:solidFill>
                      <a:schemeClr val="accent1"/>
                    </a:solidFill>
                  </a:tcPr>
                </a:tc>
                <a:tc rowSpan="2" hMerge="1">
                  <a:txBody>
                    <a:bodyPr/>
                    <a:lstStyle/>
                    <a:p>
                      <a:endParaRPr lang="en-US"/>
                    </a:p>
                  </a:txBody>
                  <a:tcPr/>
                </a:tc>
                <a:tc rowSpan="2">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n-lt"/>
                          <a:ea typeface="MS PGothic" charset="0"/>
                          <a:cs typeface="Calibri" charset="0"/>
                          <a:sym typeface="Calibri" charset="0"/>
                        </a:rPr>
                        <a:t>2014</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a:noFill/>
                    </a:lnT>
                    <a:lnB w="38100" cap="flat" cmpd="sng" algn="ctr">
                      <a:solidFill>
                        <a:srgbClr val="1F4E79"/>
                      </a:solidFill>
                      <a:prstDash val="solid"/>
                      <a:round/>
                      <a:headEnd type="none" w="med" len="med"/>
                      <a:tailEnd type="none" w="med" len="med"/>
                    </a:lnB>
                    <a:lnTlToBr>
                      <a:noFill/>
                    </a:lnTlToBr>
                    <a:lnBlToTr>
                      <a:noFill/>
                    </a:lnBlToTr>
                    <a:solidFill>
                      <a:srgbClr val="4472C4"/>
                    </a:solidFill>
                  </a:tcPr>
                </a:tc>
                <a:tc gridSpan="3">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n-lt"/>
                          <a:ea typeface="MS PGothic" charset="0"/>
                          <a:cs typeface="Calibri" charset="0"/>
                          <a:sym typeface="Calibri" charset="0"/>
                        </a:rPr>
                        <a:t>201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a:noFill/>
                    </a:lnT>
                    <a:lnB w="12700" cap="flat" cmpd="sng" algn="ctr">
                      <a:solidFill>
                        <a:schemeClr val="bg1"/>
                      </a:solidFill>
                      <a:prstDash val="solid"/>
                      <a:bevel/>
                      <a:headEnd type="none" w="med" len="med"/>
                      <a:tailEnd type="none" w="med" len="med"/>
                    </a:lnB>
                    <a:lnTlToBr>
                      <a:noFill/>
                    </a:lnTlToBr>
                    <a:lnBlToTr>
                      <a:noFill/>
                    </a:lnBlToTr>
                    <a:solidFill>
                      <a:schemeClr val="accent2"/>
                    </a:solidFill>
                  </a:tcPr>
                </a:tc>
                <a:tc hMerge="1">
                  <a:txBody>
                    <a:bodyPr/>
                    <a:lstStyle/>
                    <a:p>
                      <a:endParaRPr lang="en-US"/>
                    </a:p>
                  </a:txBody>
                  <a:tcPr/>
                </a:tc>
                <a:tc hMerge="1">
                  <a:txBody>
                    <a:bodyPr/>
                    <a:lstStyle/>
                    <a:p>
                      <a:endParaRPr lang="en-US"/>
                    </a:p>
                  </a:txBody>
                  <a:tcPr/>
                </a:tc>
                <a:tc gridSpan="3">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n-lt"/>
                          <a:ea typeface="MS PGothic" charset="0"/>
                          <a:cs typeface="Calibri" charset="0"/>
                          <a:sym typeface="Calibri" charset="0"/>
                        </a:rPr>
                        <a:t>2016</a:t>
                      </a: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a:noFill/>
                    </a:lnT>
                    <a:lnB w="12700" cap="flat" cmpd="sng" algn="ctr">
                      <a:solidFill>
                        <a:schemeClr val="bg1"/>
                      </a:solidFill>
                      <a:prstDash val="solid"/>
                      <a:bevel/>
                      <a:headEnd type="none" w="med" len="med"/>
                      <a:tailEnd type="none" w="med" len="med"/>
                    </a:lnB>
                    <a:lnTlToBr>
                      <a:noFill/>
                    </a:lnTlToBr>
                    <a:lnBlToTr>
                      <a:noFill/>
                    </a:lnBlToTr>
                    <a:solidFill>
                      <a:srgbClr val="4472C4"/>
                    </a:solidFill>
                  </a:tcPr>
                </a:tc>
                <a:tc hMerge="1">
                  <a:txBody>
                    <a:bodyPr/>
                    <a:lstStyle/>
                    <a:p>
                      <a:endParaRPr lang="en-US"/>
                    </a:p>
                  </a:txBody>
                  <a:tcPr/>
                </a:tc>
                <a:tc hMerge="1">
                  <a:txBody>
                    <a:bodyPr/>
                    <a:lstStyle/>
                    <a:p>
                      <a:endParaRPr lang="en-US"/>
                    </a:p>
                  </a:txBody>
                  <a:tcPr/>
                </a:tc>
              </a:tr>
              <a:tr h="260852">
                <a:tc gridSpan="2" vMerge="1">
                  <a:txBody>
                    <a:bodyPr/>
                    <a:lstStyle/>
                    <a:p>
                      <a:endParaRPr lang="en-US"/>
                    </a:p>
                  </a:txBody>
                  <a:tcPr/>
                </a:tc>
                <a:tc hMerge="1" vMerge="1">
                  <a:txBody>
                    <a:bodyPr/>
                    <a:lstStyle/>
                    <a:p>
                      <a:endParaRPr lang="en-US"/>
                    </a:p>
                  </a:txBody>
                  <a:tcPr/>
                </a:tc>
                <a:tc vMerge="1">
                  <a:txBody>
                    <a:bodyPr/>
                    <a:lstStyle/>
                    <a:p>
                      <a:endParaRPr lang="en-US"/>
                    </a:p>
                  </a:txBody>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Jan’15</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4B18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April’15</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4B18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Jul’15</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4B18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Jan’15</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8FAADC"/>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April </a:t>
                      </a:r>
                      <a:r>
                        <a:rPr kumimoji="0" lang="ja-JP" altLang="en-US" sz="1100" b="1" i="0" u="none" strike="noStrike" cap="none" normalizeH="0" baseline="0">
                          <a:ln>
                            <a:noFill/>
                          </a:ln>
                          <a:solidFill>
                            <a:schemeClr val="tx1"/>
                          </a:solidFill>
                          <a:effectLst/>
                          <a:latin typeface="+mn-lt"/>
                          <a:ea typeface="MS PGothic" charset="0"/>
                          <a:cs typeface="Calibri" charset="0"/>
                          <a:sym typeface="Calibri" charset="0"/>
                        </a:rPr>
                        <a:t>‘</a:t>
                      </a:r>
                      <a:r>
                        <a:rPr kumimoji="0" lang="en-US" sz="1100" b="1" i="0" u="none" strike="noStrike" cap="none" normalizeH="0" baseline="0">
                          <a:ln>
                            <a:noFill/>
                          </a:ln>
                          <a:solidFill>
                            <a:schemeClr val="tx1"/>
                          </a:solidFill>
                          <a:effectLst/>
                          <a:latin typeface="+mn-lt"/>
                          <a:ea typeface="MS PGothic" charset="0"/>
                          <a:cs typeface="Calibri" charset="0"/>
                          <a:sym typeface="Calibri" charset="0"/>
                        </a:rPr>
                        <a:t>15</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8FAADC"/>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tx1"/>
                          </a:solidFill>
                          <a:effectLst/>
                          <a:latin typeface="+mn-lt"/>
                          <a:ea typeface="MS PGothic" charset="0"/>
                          <a:cs typeface="Calibri" charset="0"/>
                          <a:sym typeface="Calibri" charset="0"/>
                        </a:rPr>
                        <a:t>Jul</a:t>
                      </a:r>
                      <a:r>
                        <a:rPr kumimoji="0" lang="ja-JP" altLang="en-US" sz="1100" b="1" i="0" u="none" strike="noStrike" cap="none" normalizeH="0" baseline="0">
                          <a:ln>
                            <a:noFill/>
                          </a:ln>
                          <a:solidFill>
                            <a:schemeClr val="tx1"/>
                          </a:solidFill>
                          <a:effectLst/>
                          <a:latin typeface="+mn-lt"/>
                          <a:ea typeface="MS PGothic" charset="0"/>
                          <a:cs typeface="Calibri" charset="0"/>
                          <a:sym typeface="Calibri" charset="0"/>
                        </a:rPr>
                        <a:t>‘</a:t>
                      </a:r>
                      <a:r>
                        <a:rPr kumimoji="0" lang="en-US" sz="1100" b="1" i="0" u="none" strike="noStrike" cap="none" normalizeH="0" baseline="0">
                          <a:ln>
                            <a:noFill/>
                          </a:ln>
                          <a:solidFill>
                            <a:schemeClr val="tx1"/>
                          </a:solidFill>
                          <a:effectLst/>
                          <a:latin typeface="+mn-lt"/>
                          <a:ea typeface="MS PGothic" charset="0"/>
                          <a:cs typeface="Calibri" charset="0"/>
                          <a:sym typeface="Calibri" charset="0"/>
                        </a:rPr>
                        <a:t>15</a:t>
                      </a: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8FAADC"/>
                    </a:solidFill>
                  </a:tcPr>
                </a:tc>
              </a:tr>
              <a:tr h="231544">
                <a:tc rowSpan="6">
                  <a:txBody>
                    <a:bodyPr/>
                    <a:lstStyle/>
                    <a:p>
                      <a:pPr marL="0" marR="0" lvl="0" indent="0" algn="ctr" defTabSz="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chemeClr val="bg1"/>
                          </a:solidFill>
                          <a:effectLst/>
                          <a:latin typeface="+mn-lt"/>
                          <a:ea typeface="MS PGothic" charset="0"/>
                          <a:cs typeface="Calibri" charset="0"/>
                          <a:sym typeface="Calibri" charset="0"/>
                        </a:rPr>
                        <a:t>GDP</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9DC3E6"/>
                    </a:solidFill>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World</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38100" cap="flat" cmpd="sng" algn="ctr">
                      <a:solidFill>
                        <a:srgbClr val="1F4E79"/>
                      </a:solidFill>
                      <a:prstDash val="solid"/>
                      <a:round/>
                      <a:headEnd type="none" w="med" len="med"/>
                      <a:tailEnd type="none" w="med" len="med"/>
                    </a:lnT>
                    <a:lnB w="12700" cap="flat" cmpd="sng" algn="ctr">
                      <a:solidFill>
                        <a:schemeClr val="bg1"/>
                      </a:solidFill>
                      <a:prstDash val="solid"/>
                      <a:bevel/>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4</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5</a:t>
                      </a: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rgbClr val="000000"/>
                          </a:solidFill>
                          <a:effectLst/>
                          <a:latin typeface="+mn-lt"/>
                          <a:ea typeface="MS PGothic" charset="0"/>
                          <a:cs typeface="Calibri" charset="0"/>
                          <a:sym typeface="Calibri" charset="0"/>
                        </a:rPr>
                        <a:t>3.5</a:t>
                      </a:r>
                      <a:endParaRPr kumimoji="0" lang="en-US" sz="1100" b="0" i="0" u="none" strike="noStrike" cap="none" normalizeH="0" baseline="0" dirty="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3</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7</a:t>
                      </a: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8</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8</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r>
              <a:tr h="231544">
                <a:tc vMerge="1">
                  <a:txBody>
                    <a:bodyPr/>
                    <a:lstStyle/>
                    <a:p>
                      <a:endParaRPr lang="en-US"/>
                    </a:p>
                  </a:txBody>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US</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12700" cap="flat" cmpd="sng" algn="ctr">
                      <a:solidFill>
                        <a:schemeClr val="bg1"/>
                      </a:solidFill>
                      <a:prstDash val="solid"/>
                      <a:bevel/>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2.4</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6</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rgbClr val="000000"/>
                          </a:solidFill>
                          <a:effectLst/>
                          <a:latin typeface="+mn-lt"/>
                          <a:ea typeface="MS PGothic" charset="0"/>
                          <a:cs typeface="Calibri" charset="0"/>
                          <a:sym typeface="Calibri" charset="0"/>
                        </a:rPr>
                        <a:t>3.1</a:t>
                      </a:r>
                      <a:endParaRPr kumimoji="0" lang="en-US" sz="1100" b="0" i="0" u="none" strike="noStrike" cap="none" normalizeH="0" baseline="0" dirty="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2.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3</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1</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rgbClr val="000000"/>
                          </a:solidFill>
                          <a:effectLst/>
                          <a:latin typeface="+mn-lt"/>
                          <a:ea typeface="MS PGothic" charset="0"/>
                          <a:cs typeface="Calibri" charset="0"/>
                          <a:sym typeface="Calibri" charset="0"/>
                        </a:rPr>
                        <a:t>3.0</a:t>
                      </a:r>
                      <a:endParaRPr kumimoji="0" lang="en-US" sz="1100" b="0" i="0" u="none" strike="noStrike" cap="none" normalizeH="0" baseline="0" dirty="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r>
              <a:tr h="233010">
                <a:tc vMerge="1">
                  <a:txBody>
                    <a:bodyPr/>
                    <a:lstStyle/>
                    <a:p>
                      <a:endParaRPr lang="en-US"/>
                    </a:p>
                  </a:txBody>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Europe</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12700" cap="flat" cmpd="sng" algn="ctr">
                      <a:solidFill>
                        <a:schemeClr val="bg1"/>
                      </a:solidFill>
                      <a:prstDash val="solid"/>
                      <a:bevel/>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0.8</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1.2</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1.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1.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1.4</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1.6</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rgbClr val="000000"/>
                          </a:solidFill>
                          <a:effectLst/>
                          <a:latin typeface="+mn-lt"/>
                          <a:ea typeface="MS PGothic" charset="0"/>
                          <a:cs typeface="Calibri" charset="0"/>
                          <a:sym typeface="Calibri" charset="0"/>
                        </a:rPr>
                        <a:t>1.7</a:t>
                      </a:r>
                      <a:endParaRPr kumimoji="0" lang="en-US" sz="1100" b="0" i="0" u="none" strike="noStrike" cap="none" normalizeH="0" baseline="0" dirty="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r>
              <a:tr h="231544">
                <a:tc vMerge="1">
                  <a:txBody>
                    <a:bodyPr/>
                    <a:lstStyle/>
                    <a:p>
                      <a:endParaRPr lang="en-US"/>
                    </a:p>
                  </a:txBody>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China</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12700" cap="flat" cmpd="sng" algn="ctr">
                      <a:solidFill>
                        <a:schemeClr val="bg1"/>
                      </a:solidFill>
                      <a:prstDash val="solid"/>
                      <a:bevel/>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4</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8</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8</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8</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3</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3</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3</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r>
              <a:tr h="233010">
                <a:tc vMerge="1">
                  <a:txBody>
                    <a:bodyPr/>
                    <a:lstStyle/>
                    <a:p>
                      <a:endParaRPr lang="en-US"/>
                    </a:p>
                  </a:txBody>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India</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12700" cap="flat" cmpd="sng" algn="ctr">
                      <a:solidFill>
                        <a:schemeClr val="bg1"/>
                      </a:solidFill>
                      <a:prstDash val="solid"/>
                      <a:bevel/>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3</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3</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6.5</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7.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DAE3F3"/>
                    </a:solidFill>
                  </a:tcPr>
                </a:tc>
              </a:tr>
              <a:tr h="231544">
                <a:tc vMerge="1">
                  <a:txBody>
                    <a:bodyPr/>
                    <a:lstStyle/>
                    <a:p>
                      <a:endParaRPr lang="en-US"/>
                    </a:p>
                  </a:txBody>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ASEAN-5</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12700" cap="flat" cmpd="sng" algn="ctr">
                      <a:solidFill>
                        <a:schemeClr val="bg1"/>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DEEBF7"/>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4.6</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no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2</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2</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4.7</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F5D3D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3</a:t>
                      </a: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3</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DAE3F3"/>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1</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a:noFill/>
                    </a:lnR>
                    <a:lnT w="12700" cap="flat" cmpd="sng" algn="ctr">
                      <a:solidFill>
                        <a:srgbClr val="BFBFBF"/>
                      </a:solidFill>
                      <a:prstDash val="solid"/>
                      <a:bevel/>
                      <a:headEnd type="none" w="med" len="med"/>
                      <a:tailEnd type="none" w="med" len="med"/>
                    </a:lnT>
                    <a:lnB w="38100" cap="flat" cmpd="sng" algn="ctr">
                      <a:solidFill>
                        <a:srgbClr val="1F4E79"/>
                      </a:solidFill>
                      <a:prstDash val="solid"/>
                      <a:round/>
                      <a:headEnd type="none" w="med" len="med"/>
                      <a:tailEnd type="none" w="med" len="med"/>
                    </a:lnB>
                    <a:lnTlToBr>
                      <a:noFill/>
                    </a:lnTlToBr>
                    <a:lnBlToTr>
                      <a:noFill/>
                    </a:lnBlToTr>
                    <a:solidFill>
                      <a:srgbClr val="DAE3F3"/>
                    </a:solidFill>
                  </a:tcPr>
                </a:tc>
              </a:tr>
              <a:tr h="294559">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Trade Vol.</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a:noFill/>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l"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 World</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2</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8</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3.7</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4.1</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5.3</a:t>
                      </a: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a:ln>
                            <a:noFill/>
                          </a:ln>
                          <a:solidFill>
                            <a:srgbClr val="000000"/>
                          </a:solidFill>
                          <a:effectLst/>
                          <a:latin typeface="+mn-lt"/>
                          <a:ea typeface="MS PGothic" charset="0"/>
                          <a:cs typeface="Calibri" charset="0"/>
                          <a:sym typeface="Calibri" charset="0"/>
                        </a:rPr>
                        <a:t>4.7</a:t>
                      </a:r>
                      <a:endParaRPr kumimoji="0" lang="en-US" sz="1100" b="0" i="0" u="none" strike="noStrike" cap="none" normalizeH="0" baseline="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w="12700" cap="flat" cmpd="sng" algn="ctr">
                      <a:solidFill>
                        <a:schemeClr val="bg1"/>
                      </a:solidFill>
                      <a:prstDash val="solid"/>
                      <a:bevel/>
                      <a:headEnd type="none" w="med" len="med"/>
                      <a:tailEnd type="none" w="med" len="med"/>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c>
                  <a:txBody>
                    <a:bodyPr/>
                    <a:lstStyle/>
                    <a:p>
                      <a:pPr marL="0" marR="0" lvl="0" indent="0" algn="ctr" defTabSz="0" rtl="0" eaLnBrk="1" fontAlgn="b" latinLnBrk="0" hangingPunct="1">
                        <a:lnSpc>
                          <a:spcPct val="100000"/>
                        </a:lnSpc>
                        <a:spcBef>
                          <a:spcPct val="0"/>
                        </a:spcBef>
                        <a:spcAft>
                          <a:spcPct val="0"/>
                        </a:spcAft>
                        <a:buClrTx/>
                        <a:buSzTx/>
                        <a:buFontTx/>
                        <a:buNone/>
                        <a:tabLst/>
                      </a:pPr>
                      <a:r>
                        <a:rPr kumimoji="0" lang="en-US" sz="1100" b="1" i="0" u="none" strike="noStrike" cap="none" normalizeH="0" baseline="0" dirty="0">
                          <a:ln>
                            <a:noFill/>
                          </a:ln>
                          <a:solidFill>
                            <a:srgbClr val="000000"/>
                          </a:solidFill>
                          <a:effectLst/>
                          <a:latin typeface="+mn-lt"/>
                          <a:ea typeface="MS PGothic" charset="0"/>
                          <a:cs typeface="Calibri" charset="0"/>
                          <a:sym typeface="Calibri" charset="0"/>
                        </a:rPr>
                        <a:t>4.4</a:t>
                      </a:r>
                      <a:endParaRPr kumimoji="0" lang="en-US" sz="1100" b="0" i="0" u="none" strike="noStrike" cap="none" normalizeH="0" baseline="0" dirty="0">
                        <a:ln>
                          <a:noFill/>
                        </a:ln>
                        <a:solidFill>
                          <a:schemeClr val="tx1"/>
                        </a:solidFill>
                        <a:effectLst/>
                        <a:latin typeface="+mn-lt"/>
                        <a:ea typeface="MS PGothic" charset="0"/>
                        <a:cs typeface="Calibri" charset="0"/>
                        <a:sym typeface="MS PGothic" charset="0"/>
                      </a:endParaRPr>
                    </a:p>
                  </a:txBody>
                  <a:tcPr marL="33230" marR="33230" marT="15338" marB="15338" anchor="ctr" horzOverflow="overflow">
                    <a:lnL w="12700" cap="flat" cmpd="sng" algn="ctr">
                      <a:solidFill>
                        <a:schemeClr val="bg1"/>
                      </a:solidFill>
                      <a:prstDash val="solid"/>
                      <a:bevel/>
                      <a:headEnd type="none" w="med" len="med"/>
                      <a:tailEnd type="none" w="med" len="med"/>
                    </a:lnL>
                    <a:lnR>
                      <a:noFill/>
                    </a:lnR>
                    <a:lnT w="38100" cap="flat" cmpd="sng" algn="ctr">
                      <a:solidFill>
                        <a:srgbClr val="1F4E79"/>
                      </a:solidFill>
                      <a:prstDash val="solid"/>
                      <a:round/>
                      <a:headEnd type="none" w="med" len="med"/>
                      <a:tailEnd type="none" w="med" len="med"/>
                    </a:lnT>
                    <a:lnB w="12700" cap="flat" cmpd="sng" algn="ctr">
                      <a:solidFill>
                        <a:srgbClr val="BFBFBF"/>
                      </a:solidFill>
                      <a:prstDash val="solid"/>
                      <a:bevel/>
                      <a:headEnd type="none" w="med" len="med"/>
                      <a:tailEnd type="none" w="med" len="med"/>
                    </a:lnB>
                    <a:lnTlToBr>
                      <a:noFill/>
                    </a:lnTlToBr>
                    <a:lnBlToTr>
                      <a:noFill/>
                    </a:lnBlToTr>
                    <a:solidFill>
                      <a:srgbClr val="FFC000"/>
                    </a:solidFill>
                  </a:tcPr>
                </a:tc>
              </a:tr>
            </a:tbl>
          </a:graphicData>
        </a:graphic>
      </p:graphicFrame>
      <p:sp>
        <p:nvSpPr>
          <p:cNvPr id="26" name="TextBox 25"/>
          <p:cNvSpPr txBox="1"/>
          <p:nvPr/>
        </p:nvSpPr>
        <p:spPr>
          <a:xfrm>
            <a:off x="773113" y="3167064"/>
            <a:ext cx="995785" cy="223459"/>
          </a:xfrm>
          <a:prstGeom prst="rect">
            <a:avLst/>
          </a:prstGeom>
          <a:noFill/>
        </p:spPr>
        <p:txBody>
          <a:bodyPr wrap="none">
            <a:spAutoFit/>
          </a:bodyPr>
          <a:lstStyle/>
          <a:p>
            <a:pPr>
              <a:defRPr/>
            </a:pPr>
            <a:r>
              <a:rPr lang="en-US" sz="852" b="1" i="1" dirty="0">
                <a:latin typeface="Calibri"/>
                <a:cs typeface="Calibri"/>
              </a:rPr>
              <a:t>Source: </a:t>
            </a:r>
            <a:r>
              <a:rPr lang="id-ID" sz="852" b="1" i="1" dirty="0">
                <a:latin typeface="Calibri"/>
                <a:cs typeface="Calibri"/>
              </a:rPr>
              <a:t>WEO, IMF</a:t>
            </a:r>
            <a:endParaRPr lang="en-US" sz="852" b="1" i="1" dirty="0">
              <a:latin typeface="Calibri"/>
              <a:cs typeface="Calibri"/>
            </a:endParaRPr>
          </a:p>
        </p:txBody>
      </p:sp>
      <p:sp>
        <p:nvSpPr>
          <p:cNvPr id="28" name="Rectangle 27"/>
          <p:cNvSpPr/>
          <p:nvPr/>
        </p:nvSpPr>
        <p:spPr>
          <a:xfrm>
            <a:off x="8128001" y="1522415"/>
            <a:ext cx="525463"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29" name="Rectangle 28"/>
          <p:cNvSpPr/>
          <p:nvPr/>
        </p:nvSpPr>
        <p:spPr>
          <a:xfrm>
            <a:off x="5003801" y="1522415"/>
            <a:ext cx="523875"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0" name="Rectangle 29"/>
          <p:cNvSpPr/>
          <p:nvPr/>
        </p:nvSpPr>
        <p:spPr>
          <a:xfrm>
            <a:off x="8128001" y="2652715"/>
            <a:ext cx="525463"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1" name="Rectangle 30"/>
          <p:cNvSpPr/>
          <p:nvPr/>
        </p:nvSpPr>
        <p:spPr>
          <a:xfrm>
            <a:off x="5003801" y="2652715"/>
            <a:ext cx="523875"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2" name="Rectangle 31"/>
          <p:cNvSpPr/>
          <p:nvPr/>
        </p:nvSpPr>
        <p:spPr>
          <a:xfrm>
            <a:off x="8121651" y="2214565"/>
            <a:ext cx="523875" cy="200025"/>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3" name="Rectangle 32"/>
          <p:cNvSpPr/>
          <p:nvPr/>
        </p:nvSpPr>
        <p:spPr>
          <a:xfrm>
            <a:off x="4997451" y="2214565"/>
            <a:ext cx="523875" cy="200025"/>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4" name="Rectangle 33"/>
          <p:cNvSpPr/>
          <p:nvPr/>
        </p:nvSpPr>
        <p:spPr>
          <a:xfrm>
            <a:off x="8121651" y="1722440"/>
            <a:ext cx="523875"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5" name="Rectangle 34"/>
          <p:cNvSpPr/>
          <p:nvPr/>
        </p:nvSpPr>
        <p:spPr>
          <a:xfrm>
            <a:off x="4995864" y="1722440"/>
            <a:ext cx="523875"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6" name="Rectangle 35"/>
          <p:cNvSpPr/>
          <p:nvPr/>
        </p:nvSpPr>
        <p:spPr>
          <a:xfrm>
            <a:off x="2295526" y="1535115"/>
            <a:ext cx="523875" cy="198437"/>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7" name="Rectangle 36"/>
          <p:cNvSpPr/>
          <p:nvPr/>
        </p:nvSpPr>
        <p:spPr>
          <a:xfrm>
            <a:off x="2295526" y="2665415"/>
            <a:ext cx="523875" cy="198437"/>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8" name="Rectangle 37"/>
          <p:cNvSpPr/>
          <p:nvPr/>
        </p:nvSpPr>
        <p:spPr>
          <a:xfrm>
            <a:off x="2287589" y="2225677"/>
            <a:ext cx="523875" cy="200025"/>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9" name="Rectangle 38"/>
          <p:cNvSpPr/>
          <p:nvPr/>
        </p:nvSpPr>
        <p:spPr>
          <a:xfrm>
            <a:off x="2287589" y="1733551"/>
            <a:ext cx="523875" cy="200025"/>
          </a:xfrm>
          <a:prstGeom prst="rect">
            <a:avLst/>
          </a:prstGeom>
          <a:noFill/>
          <a:ln w="28575">
            <a:solidFill>
              <a:srgbClr val="008E4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a:solidFill>
                <a:prstClr val="white"/>
              </a:solidFill>
              <a:cs typeface="Calibri"/>
            </a:endParaRPr>
          </a:p>
        </p:txBody>
      </p:sp>
      <p:sp>
        <p:nvSpPr>
          <p:cNvPr id="35962" name="Slide Number Placeholder 39"/>
          <p:cNvSpPr>
            <a:spLocks noGrp="1"/>
          </p:cNvSpPr>
          <p:nvPr>
            <p:ph type="sldNum" sz="quarter" idx="12"/>
          </p:nvPr>
        </p:nvSpPr>
        <p:spPr bwMode="auto">
          <a:prstGeom prst="rect">
            <a:avLst/>
          </a:prstGeom>
          <a:noFill/>
          <a:ln>
            <a:miter lim="800000"/>
            <a:headEnd/>
            <a:tailEnd/>
          </a:ln>
        </p:spPr>
        <p:txBody>
          <a:bodyPr/>
          <a:lstStyle/>
          <a:p>
            <a:fld id="{F545350E-8B61-477C-BE9B-51F0DFF8B39B}" type="slidenum">
              <a:rPr lang="en-US" b="1">
                <a:solidFill>
                  <a:schemeClr val="bg1"/>
                </a:solidFill>
              </a:rPr>
              <a:pPr/>
              <a:t>4</a:t>
            </a:fld>
            <a:endParaRPr lang="en-US" b="1" dirty="0">
              <a:solidFill>
                <a:schemeClr val="bg1"/>
              </a:solidFill>
            </a:endParaRPr>
          </a:p>
        </p:txBody>
      </p:sp>
      <p:sp>
        <p:nvSpPr>
          <p:cNvPr id="40" name="TextBox 6"/>
          <p:cNvSpPr txBox="1">
            <a:spLocks noChangeArrowheads="1"/>
          </p:cNvSpPr>
          <p:nvPr/>
        </p:nvSpPr>
        <p:spPr bwMode="auto">
          <a:xfrm>
            <a:off x="879773" y="3482228"/>
            <a:ext cx="7001490" cy="376238"/>
          </a:xfrm>
          <a:prstGeom prst="rect">
            <a:avLst/>
          </a:prstGeom>
          <a:noFill/>
          <a:ln>
            <a:noFill/>
          </a:ln>
          <a:extLst/>
        </p:spPr>
        <p:txBody>
          <a:bodyPr wrap="square">
            <a:spAutoFit/>
          </a:bodyPr>
          <a:lstStyle>
            <a:lvl1pPr>
              <a:defRPr>
                <a:solidFill>
                  <a:schemeClr val="tx1"/>
                </a:solidFill>
                <a:latin typeface="Calibri" charset="0"/>
                <a:ea typeface="ＭＳ Ｐゴシック" charset="0"/>
                <a:cs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lgn="ctr">
              <a:defRPr/>
            </a:pPr>
            <a:r>
              <a:rPr lang="en-US" sz="1846" b="1" dirty="0">
                <a:solidFill>
                  <a:srgbClr val="1F497D"/>
                </a:solidFill>
                <a:latin typeface="Calibri"/>
                <a:cs typeface="Calibri"/>
              </a:rPr>
              <a:t>RISIKO EKONOMI GLOBAL YANG HARUS DIPERHATIKAN</a:t>
            </a:r>
          </a:p>
        </p:txBody>
      </p:sp>
      <p:cxnSp>
        <p:nvCxnSpPr>
          <p:cNvPr id="41" name="Straight Connector 40"/>
          <p:cNvCxnSpPr>
            <a:cxnSpLocks noChangeShapeType="1"/>
          </p:cNvCxnSpPr>
          <p:nvPr/>
        </p:nvCxnSpPr>
        <p:spPr bwMode="auto">
          <a:xfrm>
            <a:off x="185051" y="3861048"/>
            <a:ext cx="8825134" cy="0"/>
          </a:xfrm>
          <a:prstGeom prst="line">
            <a:avLst/>
          </a:prstGeom>
          <a:noFill/>
          <a:ln w="38100">
            <a:solidFill>
              <a:srgbClr val="FF6600"/>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grpSp>
        <p:nvGrpSpPr>
          <p:cNvPr id="2" name="Group 41"/>
          <p:cNvGrpSpPr/>
          <p:nvPr/>
        </p:nvGrpSpPr>
        <p:grpSpPr>
          <a:xfrm>
            <a:off x="122178" y="3946708"/>
            <a:ext cx="8914502" cy="2506064"/>
            <a:chOff x="135873" y="4981340"/>
            <a:chExt cx="7577475" cy="1696935"/>
          </a:xfrm>
          <a:gradFill flip="none" rotWithShape="1">
            <a:gsLst>
              <a:gs pos="0">
                <a:schemeClr val="tx2"/>
              </a:gs>
              <a:gs pos="100000">
                <a:srgbClr val="0F5A0F"/>
              </a:gs>
            </a:gsLst>
            <a:lin ang="0" scaled="1"/>
            <a:tileRect/>
          </a:gradFill>
          <a:effectLst/>
        </p:grpSpPr>
        <p:sp>
          <p:nvSpPr>
            <p:cNvPr id="43" name="Rectangle 42"/>
            <p:cNvSpPr/>
            <p:nvPr/>
          </p:nvSpPr>
          <p:spPr>
            <a:xfrm>
              <a:off x="2661448" y="4983489"/>
              <a:ext cx="2528200" cy="850515"/>
            </a:xfrm>
            <a:prstGeom prst="rect">
              <a:avLst/>
            </a:prstGeom>
            <a:grp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id-ID" sz="1600" b="1" dirty="0">
                  <a:solidFill>
                    <a:schemeClr val="bg1"/>
                  </a:solidFill>
                  <a:cs typeface="Calibri"/>
                </a:rPr>
                <a:t>Kinerja Perekonomian Negara Maju</a:t>
              </a:r>
            </a:p>
            <a:p>
              <a:pPr algn="ctr">
                <a:defRPr/>
              </a:pPr>
              <a:r>
                <a:rPr lang="id-ID" sz="1200" i="1" dirty="0">
                  <a:solidFill>
                    <a:schemeClr val="bg1"/>
                  </a:solidFill>
                  <a:cs typeface="Calibri"/>
                </a:rPr>
                <a:t>AS menunjukan perbaikan, namun Jepang dan EU masih dalam upaya </a:t>
              </a:r>
              <a:r>
                <a:rPr lang="id-ID" sz="1200" i="1" dirty="0" smtClean="0">
                  <a:solidFill>
                    <a:schemeClr val="bg1"/>
                  </a:solidFill>
                  <a:cs typeface="Calibri"/>
                </a:rPr>
                <a:t>pemulihan</a:t>
              </a:r>
              <a:endParaRPr lang="en-US" sz="1200" i="1" dirty="0">
                <a:solidFill>
                  <a:schemeClr val="bg1"/>
                </a:solidFill>
                <a:cs typeface="Calibri"/>
              </a:endParaRPr>
            </a:p>
          </p:txBody>
        </p:sp>
        <p:sp>
          <p:nvSpPr>
            <p:cNvPr id="44" name="Rectangle 43"/>
            <p:cNvSpPr/>
            <p:nvPr/>
          </p:nvSpPr>
          <p:spPr>
            <a:xfrm>
              <a:off x="135873" y="4981340"/>
              <a:ext cx="2528200" cy="850515"/>
            </a:xfrm>
            <a:prstGeom prst="rect">
              <a:avLst/>
            </a:prstGeom>
            <a:grp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err="1">
                  <a:solidFill>
                    <a:srgbClr val="FFFFFF"/>
                  </a:solidFill>
                  <a:ea typeface="ＭＳ Ｐゴシック" charset="0"/>
                  <a:cs typeface="Calibri"/>
                  <a:sym typeface="Calibri" charset="0"/>
                </a:rPr>
                <a:t>Kinerja</a:t>
              </a:r>
              <a:r>
                <a:rPr lang="en-US" sz="1600" b="1" dirty="0">
                  <a:solidFill>
                    <a:srgbClr val="FFFFFF"/>
                  </a:solidFill>
                  <a:ea typeface="ＭＳ Ｐゴシック" charset="0"/>
                  <a:cs typeface="Calibri"/>
                  <a:sym typeface="Calibri" charset="0"/>
                </a:rPr>
                <a:t> </a:t>
              </a:r>
              <a:r>
                <a:rPr lang="en-US" sz="1600" b="1" dirty="0" err="1">
                  <a:solidFill>
                    <a:srgbClr val="FFFFFF"/>
                  </a:solidFill>
                  <a:ea typeface="ＭＳ Ｐゴシック" charset="0"/>
                  <a:cs typeface="Calibri"/>
                  <a:sym typeface="Calibri" charset="0"/>
                </a:rPr>
                <a:t>Perekonomian</a:t>
              </a:r>
              <a:r>
                <a:rPr lang="en-US" sz="1600" b="1" dirty="0">
                  <a:solidFill>
                    <a:srgbClr val="FFFFFF"/>
                  </a:solidFill>
                  <a:ea typeface="ＭＳ Ｐゴシック" charset="0"/>
                  <a:cs typeface="Calibri"/>
                  <a:sym typeface="Calibri" charset="0"/>
                </a:rPr>
                <a:t> Emerging </a:t>
              </a:r>
              <a:r>
                <a:rPr lang="en-US" sz="1600" b="1" dirty="0" smtClean="0">
                  <a:solidFill>
                    <a:srgbClr val="FFFFFF"/>
                  </a:solidFill>
                  <a:ea typeface="ＭＳ Ｐゴシック" charset="0"/>
                  <a:cs typeface="Calibri"/>
                  <a:sym typeface="Calibri" charset="0"/>
                </a:rPr>
                <a:t>Market </a:t>
              </a:r>
            </a:p>
            <a:p>
              <a:pPr algn="ctr">
                <a:defRPr/>
              </a:pPr>
              <a:r>
                <a:rPr lang="id-ID" sz="1200" i="1" dirty="0" smtClean="0">
                  <a:solidFill>
                    <a:srgbClr val="FFFFFF"/>
                  </a:solidFill>
                  <a:cs typeface="Calibri"/>
                </a:rPr>
                <a:t>khususnya </a:t>
              </a:r>
              <a:r>
                <a:rPr lang="id-ID" sz="1200" i="1" dirty="0">
                  <a:solidFill>
                    <a:srgbClr val="FFFFFF"/>
                  </a:solidFill>
                  <a:cs typeface="Calibri"/>
                </a:rPr>
                <a:t>Tiongkok masih dalam fase perlambatan</a:t>
              </a:r>
            </a:p>
          </p:txBody>
        </p:sp>
        <p:sp>
          <p:nvSpPr>
            <p:cNvPr id="45" name="Rectangle 44"/>
            <p:cNvSpPr/>
            <p:nvPr/>
          </p:nvSpPr>
          <p:spPr>
            <a:xfrm>
              <a:off x="1407554" y="5827760"/>
              <a:ext cx="2528200" cy="850515"/>
            </a:xfrm>
            <a:prstGeom prst="rect">
              <a:avLst/>
            </a:prstGeom>
            <a:grp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id-ID" sz="1600" b="1" dirty="0">
                  <a:solidFill>
                    <a:srgbClr val="FFFFFF"/>
                  </a:solidFill>
                  <a:ea typeface="ＭＳ Ｐゴシック" charset="0"/>
                  <a:cs typeface="Calibri"/>
                </a:rPr>
                <a:t>Kebijakan Moneter Negara Maju</a:t>
              </a:r>
            </a:p>
            <a:p>
              <a:pPr algn="ctr">
                <a:defRPr/>
              </a:pPr>
              <a:r>
                <a:rPr lang="id-ID" sz="1200" i="1" dirty="0">
                  <a:solidFill>
                    <a:srgbClr val="FFFFFF"/>
                  </a:solidFill>
                  <a:ea typeface="ＭＳ Ｐゴシック" charset="0"/>
                  <a:cs typeface="Calibri"/>
                </a:rPr>
                <a:t>Normalisasi The </a:t>
              </a:r>
              <a:r>
                <a:rPr lang="id-ID" sz="1200" i="1" dirty="0" smtClean="0">
                  <a:solidFill>
                    <a:srgbClr val="FFFFFF"/>
                  </a:solidFill>
                  <a:ea typeface="ＭＳ Ｐゴシック" charset="0"/>
                  <a:cs typeface="Calibri"/>
                </a:rPr>
                <a:t>Fed </a:t>
              </a:r>
              <a:r>
                <a:rPr lang="id-ID" sz="1200" i="1" dirty="0">
                  <a:solidFill>
                    <a:srgbClr val="FFFFFF"/>
                  </a:solidFill>
                  <a:ea typeface="ＭＳ Ｐゴシック" charset="0"/>
                  <a:cs typeface="Calibri"/>
                </a:rPr>
                <a:t>dan paket kebijakan BOJ dan ECB</a:t>
              </a:r>
              <a:endParaRPr lang="en-US" sz="1200" i="1" dirty="0">
                <a:solidFill>
                  <a:srgbClr val="FFFFFF"/>
                </a:solidFill>
                <a:ea typeface="ＭＳ Ｐゴシック" charset="0"/>
                <a:cs typeface="Calibri"/>
              </a:endParaRPr>
            </a:p>
          </p:txBody>
        </p:sp>
        <p:sp>
          <p:nvSpPr>
            <p:cNvPr id="46" name="Rectangle 45"/>
            <p:cNvSpPr/>
            <p:nvPr/>
          </p:nvSpPr>
          <p:spPr>
            <a:xfrm>
              <a:off x="5185148" y="4986120"/>
              <a:ext cx="2528200" cy="850515"/>
            </a:xfrm>
            <a:prstGeom prst="rect">
              <a:avLst/>
            </a:prstGeom>
            <a:grp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err="1">
                  <a:solidFill>
                    <a:srgbClr val="FFFFFF"/>
                  </a:solidFill>
                  <a:ea typeface="ＭＳ Ｐゴシック" charset="0"/>
                  <a:cs typeface="Calibri"/>
                  <a:sym typeface="Calibri" charset="0"/>
                </a:rPr>
                <a:t>Harga</a:t>
              </a:r>
              <a:r>
                <a:rPr lang="en-US" sz="1600" b="1" dirty="0">
                  <a:solidFill>
                    <a:srgbClr val="FFFFFF"/>
                  </a:solidFill>
                  <a:ea typeface="ＭＳ Ｐゴシック" charset="0"/>
                  <a:cs typeface="Calibri"/>
                  <a:sym typeface="Calibri" charset="0"/>
                </a:rPr>
                <a:t> </a:t>
              </a:r>
              <a:r>
                <a:rPr lang="en-US" sz="1600" b="1" dirty="0" err="1">
                  <a:solidFill>
                    <a:srgbClr val="FFFFFF"/>
                  </a:solidFill>
                  <a:ea typeface="ＭＳ Ｐゴシック" charset="0"/>
                  <a:cs typeface="Calibri"/>
                  <a:sym typeface="Calibri" charset="0"/>
                </a:rPr>
                <a:t>Komoditas</a:t>
              </a:r>
              <a:r>
                <a:rPr lang="en-US" sz="1600" b="1" dirty="0">
                  <a:solidFill>
                    <a:srgbClr val="FFFFFF"/>
                  </a:solidFill>
                  <a:ea typeface="ＭＳ Ｐゴシック" charset="0"/>
                  <a:cs typeface="Calibri"/>
                  <a:sym typeface="Calibri" charset="0"/>
                </a:rPr>
                <a:t> Global</a:t>
              </a:r>
              <a:endParaRPr lang="en-US" sz="1600" dirty="0">
                <a:solidFill>
                  <a:srgbClr val="FFFFFF"/>
                </a:solidFill>
                <a:ea typeface="ＭＳ Ｐゴシック" charset="0"/>
                <a:cs typeface="Calibri"/>
                <a:sym typeface="Calibri" charset="0"/>
              </a:endParaRPr>
            </a:p>
            <a:p>
              <a:pPr algn="ctr">
                <a:defRPr/>
              </a:pPr>
              <a:r>
                <a:rPr lang="id-ID" sz="1200" i="1" dirty="0">
                  <a:solidFill>
                    <a:srgbClr val="FFFFFF"/>
                  </a:solidFill>
                  <a:cs typeface="Calibri"/>
                </a:rPr>
                <a:t>volatile dan cenderung melemah</a:t>
              </a:r>
              <a:endParaRPr lang="en-US" sz="1200" i="1" dirty="0">
                <a:solidFill>
                  <a:srgbClr val="FFFFFF"/>
                </a:solidFill>
                <a:cs typeface="Calibri"/>
              </a:endParaRPr>
            </a:p>
          </p:txBody>
        </p:sp>
        <p:sp>
          <p:nvSpPr>
            <p:cNvPr id="47" name="Rectangle 46"/>
            <p:cNvSpPr/>
            <p:nvPr/>
          </p:nvSpPr>
          <p:spPr>
            <a:xfrm>
              <a:off x="3935670" y="5824928"/>
              <a:ext cx="2528200" cy="850515"/>
            </a:xfrm>
            <a:prstGeom prst="rect">
              <a:avLst/>
            </a:prstGeom>
            <a:grpFill/>
            <a:ln w="381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US" sz="1600" b="1" dirty="0" err="1">
                  <a:solidFill>
                    <a:srgbClr val="FFFFFF"/>
                  </a:solidFill>
                  <a:ea typeface="ＭＳ Ｐゴシック" charset="0"/>
                  <a:cs typeface="Calibri"/>
                  <a:sym typeface="Calibri" charset="0"/>
                </a:rPr>
                <a:t>Kebijakan</a:t>
              </a:r>
              <a:r>
                <a:rPr lang="en-US" sz="1600" b="1" dirty="0">
                  <a:solidFill>
                    <a:srgbClr val="FFFFFF"/>
                  </a:solidFill>
                  <a:ea typeface="ＭＳ Ｐゴシック" charset="0"/>
                  <a:cs typeface="Calibri"/>
                  <a:sym typeface="Calibri" charset="0"/>
                </a:rPr>
                <a:t> </a:t>
              </a:r>
              <a:r>
                <a:rPr lang="en-US" sz="1600" b="1" dirty="0" err="1">
                  <a:solidFill>
                    <a:srgbClr val="FFFFFF"/>
                  </a:solidFill>
                  <a:ea typeface="ＭＳ Ｐゴシック" charset="0"/>
                  <a:cs typeface="Calibri"/>
                  <a:sym typeface="Calibri" charset="0"/>
                </a:rPr>
                <a:t>Nilai</a:t>
              </a:r>
              <a:r>
                <a:rPr lang="en-US" sz="1600" b="1" dirty="0">
                  <a:solidFill>
                    <a:srgbClr val="FFFFFF"/>
                  </a:solidFill>
                  <a:ea typeface="ＭＳ Ｐゴシック" charset="0"/>
                  <a:cs typeface="Calibri"/>
                  <a:sym typeface="Calibri" charset="0"/>
                </a:rPr>
                <a:t> </a:t>
              </a:r>
              <a:r>
                <a:rPr lang="en-US" sz="1600" b="1" dirty="0" err="1">
                  <a:solidFill>
                    <a:srgbClr val="FFFFFF"/>
                  </a:solidFill>
                  <a:ea typeface="ＭＳ Ｐゴシック" charset="0"/>
                  <a:cs typeface="Calibri"/>
                  <a:sym typeface="Calibri" charset="0"/>
                </a:rPr>
                <a:t>Tukar</a:t>
              </a:r>
              <a:r>
                <a:rPr lang="en-US" sz="1600" b="1" dirty="0">
                  <a:solidFill>
                    <a:srgbClr val="FFFFFF"/>
                  </a:solidFill>
                  <a:ea typeface="ＭＳ Ｐゴシック" charset="0"/>
                  <a:cs typeface="Calibri"/>
                  <a:sym typeface="Calibri" charset="0"/>
                </a:rPr>
                <a:t> </a:t>
              </a:r>
              <a:r>
                <a:rPr lang="en-US" sz="1600" b="1" dirty="0" err="1">
                  <a:solidFill>
                    <a:srgbClr val="FFFFFF"/>
                  </a:solidFill>
                  <a:ea typeface="ＭＳ Ｐゴシック" charset="0"/>
                  <a:cs typeface="Calibri"/>
                  <a:sym typeface="Calibri" charset="0"/>
                </a:rPr>
                <a:t>Tiongkok</a:t>
              </a:r>
              <a:endParaRPr lang="en-US" sz="1600" b="1" dirty="0">
                <a:solidFill>
                  <a:srgbClr val="FFFFFF"/>
                </a:solidFill>
                <a:ea typeface="ＭＳ Ｐゴシック" charset="0"/>
                <a:cs typeface="Calibri"/>
                <a:sym typeface="Calibri" charset="0"/>
              </a:endParaRPr>
            </a:p>
            <a:p>
              <a:pPr algn="ctr">
                <a:defRPr/>
              </a:pPr>
              <a:r>
                <a:rPr lang="en-US" sz="1200" i="1" dirty="0" err="1">
                  <a:solidFill>
                    <a:srgbClr val="FFFFFF"/>
                  </a:solidFill>
                  <a:cs typeface="Calibri"/>
                </a:rPr>
                <a:t>Kebijakan</a:t>
              </a:r>
              <a:r>
                <a:rPr lang="en-US" sz="1200" i="1" dirty="0">
                  <a:solidFill>
                    <a:srgbClr val="FFFFFF"/>
                  </a:solidFill>
                  <a:cs typeface="Calibri"/>
                </a:rPr>
                <a:t> </a:t>
              </a:r>
              <a:r>
                <a:rPr lang="en-US" sz="1200" i="1" dirty="0" err="1">
                  <a:solidFill>
                    <a:srgbClr val="FFFFFF"/>
                  </a:solidFill>
                  <a:cs typeface="Calibri"/>
                </a:rPr>
                <a:t>Devaluasi</a:t>
              </a:r>
              <a:r>
                <a:rPr lang="en-US" sz="1200" i="1" dirty="0">
                  <a:solidFill>
                    <a:srgbClr val="FFFFFF"/>
                  </a:solidFill>
                  <a:cs typeface="Calibri"/>
                </a:rPr>
                <a:t> Yuan </a:t>
              </a:r>
              <a:r>
                <a:rPr lang="en-US" sz="1200" i="1" dirty="0" err="1">
                  <a:solidFill>
                    <a:srgbClr val="FFFFFF"/>
                  </a:solidFill>
                  <a:cs typeface="Calibri"/>
                </a:rPr>
                <a:t>dapat</a:t>
              </a:r>
              <a:r>
                <a:rPr lang="en-US" sz="1200" i="1" dirty="0">
                  <a:solidFill>
                    <a:srgbClr val="FFFFFF"/>
                  </a:solidFill>
                  <a:cs typeface="Calibri"/>
                </a:rPr>
                <a:t> </a:t>
              </a:r>
              <a:r>
                <a:rPr lang="en-US" sz="1200" i="1" dirty="0" err="1">
                  <a:solidFill>
                    <a:srgbClr val="FFFFFF"/>
                  </a:solidFill>
                  <a:cs typeface="Calibri"/>
                </a:rPr>
                <a:t>mendorong</a:t>
              </a:r>
              <a:r>
                <a:rPr lang="en-US" sz="1200" i="1" dirty="0">
                  <a:solidFill>
                    <a:srgbClr val="FFFFFF"/>
                  </a:solidFill>
                  <a:cs typeface="Calibri"/>
                </a:rPr>
                <a:t> </a:t>
              </a:r>
              <a:r>
                <a:rPr lang="en-US" sz="1200" i="1" dirty="0" err="1">
                  <a:solidFill>
                    <a:srgbClr val="FFFFFF"/>
                  </a:solidFill>
                  <a:cs typeface="Calibri"/>
                </a:rPr>
                <a:t>depresiasi</a:t>
              </a:r>
              <a:r>
                <a:rPr lang="en-US" sz="1200" i="1" dirty="0">
                  <a:solidFill>
                    <a:srgbClr val="FFFFFF"/>
                  </a:solidFill>
                  <a:cs typeface="Calibri"/>
                </a:rPr>
                <a:t> </a:t>
              </a:r>
              <a:r>
                <a:rPr lang="en-US" sz="1200" i="1" dirty="0" err="1">
                  <a:solidFill>
                    <a:srgbClr val="FFFFFF"/>
                  </a:solidFill>
                  <a:cs typeface="Calibri"/>
                </a:rPr>
                <a:t>mata</a:t>
              </a:r>
              <a:r>
                <a:rPr lang="en-US" sz="1200" i="1" dirty="0">
                  <a:solidFill>
                    <a:srgbClr val="FFFFFF"/>
                  </a:solidFill>
                  <a:cs typeface="Calibri"/>
                </a:rPr>
                <a:t> </a:t>
              </a:r>
              <a:r>
                <a:rPr lang="en-US" sz="1200" i="1" dirty="0" err="1">
                  <a:solidFill>
                    <a:srgbClr val="FFFFFF"/>
                  </a:solidFill>
                  <a:cs typeface="Calibri"/>
                </a:rPr>
                <a:t>uang</a:t>
              </a:r>
              <a:r>
                <a:rPr lang="en-US" sz="1200" i="1" dirty="0">
                  <a:solidFill>
                    <a:srgbClr val="FFFFFF"/>
                  </a:solidFill>
                  <a:cs typeface="Calibri"/>
                </a:rPr>
                <a:t> regional</a:t>
              </a:r>
            </a:p>
          </p:txBody>
        </p:sp>
      </p:grpSp>
    </p:spTree>
    <p:extLst>
      <p:ext uri="{BB962C8B-B14F-4D97-AF65-F5344CB8AC3E}">
        <p14:creationId xmlns:p14="http://schemas.microsoft.com/office/powerpoint/2010/main" val="265206808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5875"/>
            <a:ext cx="8534400" cy="487363"/>
          </a:xfrm>
        </p:spPr>
        <p:txBody>
          <a:bodyPr vert="horz" wrap="square" lIns="91440" tIns="45720" rIns="91440" bIns="45720" numCol="1" anchor="t" anchorCtr="0" compatLnSpc="1">
            <a:prstTxWarp prst="textNoShape">
              <a:avLst/>
            </a:prstTxWarp>
          </a:bodyPr>
          <a:lstStyle/>
          <a:p>
            <a:pPr eaLnBrk="1" hangingPunct="1">
              <a:defRPr/>
            </a:pPr>
            <a:r>
              <a:rPr lang="id-ID" altLang="id-ID" dirty="0">
                <a:cs typeface="Arial" pitchFamily="34" charset="0"/>
              </a:rPr>
              <a:t>Prospek </a:t>
            </a:r>
            <a:r>
              <a:rPr lang="en-US" altLang="id-ID" dirty="0">
                <a:cs typeface="Arial" pitchFamily="34" charset="0"/>
              </a:rPr>
              <a:t>Per</a:t>
            </a:r>
            <a:r>
              <a:rPr lang="id-ID" altLang="id-ID" dirty="0">
                <a:cs typeface="Arial" pitchFamily="34" charset="0"/>
              </a:rPr>
              <a:t>ekonomian </a:t>
            </a:r>
            <a:r>
              <a:rPr lang="en-US" altLang="id-ID" dirty="0" err="1">
                <a:cs typeface="Arial" pitchFamily="34" charset="0"/>
              </a:rPr>
              <a:t>Domestik</a:t>
            </a:r>
            <a:endParaRPr lang="en-US" altLang="id-ID" dirty="0">
              <a:cs typeface="Arial" pitchFamily="34" charset="0"/>
            </a:endParaRPr>
          </a:p>
        </p:txBody>
      </p:sp>
      <p:sp>
        <p:nvSpPr>
          <p:cNvPr id="102403" name="Title 1"/>
          <p:cNvSpPr txBox="1">
            <a:spLocks/>
          </p:cNvSpPr>
          <p:nvPr/>
        </p:nvSpPr>
        <p:spPr bwMode="auto">
          <a:xfrm>
            <a:off x="26988" y="609600"/>
            <a:ext cx="8964612" cy="1554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95000"/>
              </a:lnSpc>
              <a:spcBef>
                <a:spcPct val="20000"/>
              </a:spcBef>
              <a:spcAft>
                <a:spcPts val="300"/>
              </a:spcAft>
              <a:buFont typeface="Arial" pitchFamily="34" charset="0"/>
              <a:buNone/>
            </a:pPr>
            <a:r>
              <a:rPr lang="id-ID" sz="2000" b="1" i="1" dirty="0" err="1">
                <a:solidFill>
                  <a:srgbClr val="C00000"/>
                </a:solidFill>
              </a:rPr>
              <a:t>P</a:t>
            </a:r>
            <a:r>
              <a:rPr lang="en-US" sz="2000" b="1" i="1" dirty="0" err="1" smtClean="0">
                <a:solidFill>
                  <a:srgbClr val="C00000"/>
                </a:solidFill>
              </a:rPr>
              <a:t>ertumbuhan</a:t>
            </a:r>
            <a:r>
              <a:rPr lang="en-US" sz="2000" b="1" i="1" dirty="0" smtClean="0">
                <a:solidFill>
                  <a:srgbClr val="C00000"/>
                </a:solidFill>
              </a:rPr>
              <a:t> </a:t>
            </a:r>
            <a:r>
              <a:rPr lang="en-US" sz="2000" b="1" i="1" dirty="0" err="1">
                <a:solidFill>
                  <a:srgbClr val="C00000"/>
                </a:solidFill>
              </a:rPr>
              <a:t>ekonomi</a:t>
            </a:r>
            <a:r>
              <a:rPr lang="en-US" sz="2000" b="1" i="1" dirty="0">
                <a:solidFill>
                  <a:srgbClr val="C00000"/>
                </a:solidFill>
              </a:rPr>
              <a:t> </a:t>
            </a:r>
            <a:r>
              <a:rPr lang="en-US" sz="2000" b="1" i="1" dirty="0" err="1">
                <a:solidFill>
                  <a:srgbClr val="C00000"/>
                </a:solidFill>
              </a:rPr>
              <a:t>pada</a:t>
            </a:r>
            <a:r>
              <a:rPr lang="en-US" sz="2000" b="1" i="1" dirty="0">
                <a:solidFill>
                  <a:srgbClr val="C00000"/>
                </a:solidFill>
              </a:rPr>
              <a:t> Semester II 2015 </a:t>
            </a:r>
            <a:r>
              <a:rPr lang="en-US" sz="2000" b="1" i="1" dirty="0" err="1">
                <a:solidFill>
                  <a:srgbClr val="C00000"/>
                </a:solidFill>
              </a:rPr>
              <a:t>akan</a:t>
            </a:r>
            <a:r>
              <a:rPr lang="en-US" sz="2000" b="1" i="1" dirty="0">
                <a:solidFill>
                  <a:srgbClr val="C00000"/>
                </a:solidFill>
              </a:rPr>
              <a:t> </a:t>
            </a:r>
            <a:r>
              <a:rPr lang="en-US" sz="2000" b="1" i="1" dirty="0" err="1">
                <a:solidFill>
                  <a:srgbClr val="C00000"/>
                </a:solidFill>
              </a:rPr>
              <a:t>membaik</a:t>
            </a:r>
            <a:r>
              <a:rPr lang="en-US" sz="2000" b="1" i="1" dirty="0">
                <a:solidFill>
                  <a:srgbClr val="C00000"/>
                </a:solidFill>
              </a:rPr>
              <a:t>, </a:t>
            </a:r>
            <a:r>
              <a:rPr lang="en-US" sz="2000" b="1" i="1" dirty="0" err="1">
                <a:solidFill>
                  <a:srgbClr val="C00000"/>
                </a:solidFill>
              </a:rPr>
              <a:t>didukung</a:t>
            </a:r>
            <a:r>
              <a:rPr lang="en-US" sz="2000" b="1" i="1" dirty="0">
                <a:solidFill>
                  <a:srgbClr val="C00000"/>
                </a:solidFill>
              </a:rPr>
              <a:t> </a:t>
            </a:r>
            <a:r>
              <a:rPr lang="en-US" sz="2000" b="1" i="1" dirty="0" err="1">
                <a:solidFill>
                  <a:srgbClr val="C00000"/>
                </a:solidFill>
              </a:rPr>
              <a:t>oleh</a:t>
            </a:r>
            <a:r>
              <a:rPr lang="en-US" sz="2000" b="1" i="1" dirty="0">
                <a:solidFill>
                  <a:srgbClr val="C00000"/>
                </a:solidFill>
              </a:rPr>
              <a:t> </a:t>
            </a:r>
            <a:r>
              <a:rPr lang="id-ID" sz="2000" b="1" i="1" dirty="0" smtClean="0">
                <a:solidFill>
                  <a:srgbClr val="C00000"/>
                </a:solidFill>
              </a:rPr>
              <a:t>k</a:t>
            </a:r>
            <a:r>
              <a:rPr lang="en-US" sz="2000" b="1" i="1" dirty="0" err="1" smtClean="0">
                <a:solidFill>
                  <a:srgbClr val="C00000"/>
                </a:solidFill>
              </a:rPr>
              <a:t>onsistensi</a:t>
            </a:r>
            <a:r>
              <a:rPr lang="en-US" sz="2000" b="1" i="1" dirty="0" smtClean="0">
                <a:solidFill>
                  <a:srgbClr val="C00000"/>
                </a:solidFill>
              </a:rPr>
              <a:t> </a:t>
            </a:r>
            <a:r>
              <a:rPr lang="id-ID" sz="2000" b="1" i="1" dirty="0" smtClean="0">
                <a:solidFill>
                  <a:srgbClr val="C00000"/>
                </a:solidFill>
              </a:rPr>
              <a:t>p</a:t>
            </a:r>
            <a:r>
              <a:rPr lang="en-US" sz="2000" b="1" i="1" dirty="0" err="1" smtClean="0">
                <a:solidFill>
                  <a:srgbClr val="C00000"/>
                </a:solidFill>
              </a:rPr>
              <a:t>emerintah</a:t>
            </a:r>
            <a:r>
              <a:rPr lang="en-US" sz="2000" b="1" i="1" dirty="0" smtClean="0">
                <a:solidFill>
                  <a:srgbClr val="C00000"/>
                </a:solidFill>
              </a:rPr>
              <a:t> </a:t>
            </a:r>
            <a:r>
              <a:rPr lang="en-US" sz="2000" b="1" i="1" dirty="0" err="1">
                <a:solidFill>
                  <a:srgbClr val="C00000"/>
                </a:solidFill>
              </a:rPr>
              <a:t>dalam</a:t>
            </a:r>
            <a:r>
              <a:rPr lang="en-US" sz="2000" b="1" i="1" dirty="0">
                <a:solidFill>
                  <a:srgbClr val="C00000"/>
                </a:solidFill>
              </a:rPr>
              <a:t> </a:t>
            </a:r>
            <a:r>
              <a:rPr lang="en-US" sz="2000" b="1" i="1" dirty="0" err="1">
                <a:solidFill>
                  <a:srgbClr val="C00000"/>
                </a:solidFill>
              </a:rPr>
              <a:t>mendorong</a:t>
            </a:r>
            <a:r>
              <a:rPr lang="en-US" sz="2000" b="1" i="1" dirty="0">
                <a:solidFill>
                  <a:srgbClr val="C00000"/>
                </a:solidFill>
              </a:rPr>
              <a:t> </a:t>
            </a:r>
            <a:r>
              <a:rPr lang="en-US" sz="2000" b="1" i="1" dirty="0" err="1">
                <a:solidFill>
                  <a:srgbClr val="C00000"/>
                </a:solidFill>
              </a:rPr>
              <a:t>reformasi</a:t>
            </a:r>
            <a:r>
              <a:rPr lang="en-US" sz="2000" b="1" i="1" dirty="0">
                <a:solidFill>
                  <a:srgbClr val="C00000"/>
                </a:solidFill>
              </a:rPr>
              <a:t> </a:t>
            </a:r>
            <a:r>
              <a:rPr lang="en-US" sz="2000" b="1" i="1" dirty="0" err="1">
                <a:solidFill>
                  <a:srgbClr val="C00000"/>
                </a:solidFill>
              </a:rPr>
              <a:t>struktural</a:t>
            </a:r>
            <a:r>
              <a:rPr lang="en-US" sz="2000" b="1" i="1" dirty="0">
                <a:solidFill>
                  <a:srgbClr val="C00000"/>
                </a:solidFill>
              </a:rPr>
              <a:t>  </a:t>
            </a:r>
            <a:r>
              <a:rPr lang="en-US" sz="2000" b="1" i="1" dirty="0" err="1">
                <a:solidFill>
                  <a:srgbClr val="C00000"/>
                </a:solidFill>
              </a:rPr>
              <a:t>melalui</a:t>
            </a:r>
            <a:r>
              <a:rPr lang="en-US" sz="2000" b="1" i="1" dirty="0">
                <a:solidFill>
                  <a:srgbClr val="C00000"/>
                </a:solidFill>
              </a:rPr>
              <a:t> </a:t>
            </a:r>
            <a:r>
              <a:rPr lang="en-US" sz="2000" b="1" i="1" dirty="0" err="1">
                <a:solidFill>
                  <a:srgbClr val="C00000"/>
                </a:solidFill>
              </a:rPr>
              <a:t>berbagai</a:t>
            </a:r>
            <a:r>
              <a:rPr lang="en-US" sz="2000" b="1" i="1" dirty="0">
                <a:solidFill>
                  <a:srgbClr val="C00000"/>
                </a:solidFill>
              </a:rPr>
              <a:t> </a:t>
            </a:r>
            <a:r>
              <a:rPr lang="en-US" sz="2000" b="1" i="1" dirty="0" err="1">
                <a:solidFill>
                  <a:srgbClr val="C00000"/>
                </a:solidFill>
              </a:rPr>
              <a:t>paket</a:t>
            </a:r>
            <a:r>
              <a:rPr lang="en-US" sz="2000" b="1" i="1" dirty="0">
                <a:solidFill>
                  <a:srgbClr val="C00000"/>
                </a:solidFill>
              </a:rPr>
              <a:t> </a:t>
            </a:r>
            <a:r>
              <a:rPr lang="en-US" sz="2000" b="1" i="1" dirty="0" err="1">
                <a:solidFill>
                  <a:srgbClr val="C00000"/>
                </a:solidFill>
              </a:rPr>
              <a:t>kebijakan</a:t>
            </a:r>
            <a:r>
              <a:rPr lang="en-US" sz="2000" b="1" i="1" dirty="0">
                <a:solidFill>
                  <a:srgbClr val="C00000"/>
                </a:solidFill>
              </a:rPr>
              <a:t> </a:t>
            </a:r>
            <a:r>
              <a:rPr lang="en-US" sz="2000" b="1" i="1" dirty="0" err="1">
                <a:solidFill>
                  <a:srgbClr val="C00000"/>
                </a:solidFill>
              </a:rPr>
              <a:t>ekonomi</a:t>
            </a:r>
            <a:r>
              <a:rPr lang="en-US" sz="2000" b="1" i="1" dirty="0">
                <a:solidFill>
                  <a:srgbClr val="C00000"/>
                </a:solidFill>
              </a:rPr>
              <a:t> </a:t>
            </a:r>
            <a:r>
              <a:rPr lang="en-US" sz="2000" b="1" i="1" dirty="0" err="1">
                <a:solidFill>
                  <a:srgbClr val="C00000"/>
                </a:solidFill>
              </a:rPr>
              <a:t>dan</a:t>
            </a:r>
            <a:r>
              <a:rPr lang="en-US" sz="2000" b="1" i="1" dirty="0">
                <a:solidFill>
                  <a:srgbClr val="C00000"/>
                </a:solidFill>
              </a:rPr>
              <a:t> </a:t>
            </a:r>
            <a:r>
              <a:rPr lang="en-US" sz="2000" b="1" i="1" dirty="0" err="1">
                <a:solidFill>
                  <a:srgbClr val="C00000"/>
                </a:solidFill>
              </a:rPr>
              <a:t>realisasi</a:t>
            </a:r>
            <a:r>
              <a:rPr lang="en-US" sz="2000" b="1" i="1" dirty="0">
                <a:solidFill>
                  <a:srgbClr val="C00000"/>
                </a:solidFill>
              </a:rPr>
              <a:t> </a:t>
            </a:r>
            <a:r>
              <a:rPr lang="en-US" sz="2000" b="1" i="1" dirty="0" err="1">
                <a:solidFill>
                  <a:srgbClr val="C00000"/>
                </a:solidFill>
              </a:rPr>
              <a:t>proyek-proyek</a:t>
            </a:r>
            <a:r>
              <a:rPr lang="en-US" sz="2000" b="1" i="1" dirty="0">
                <a:solidFill>
                  <a:srgbClr val="C00000"/>
                </a:solidFill>
              </a:rPr>
              <a:t> </a:t>
            </a:r>
            <a:r>
              <a:rPr lang="en-US" sz="2000" b="1" i="1" dirty="0" err="1" smtClean="0">
                <a:solidFill>
                  <a:srgbClr val="C00000"/>
                </a:solidFill>
              </a:rPr>
              <a:t>infrastruktur</a:t>
            </a:r>
            <a:r>
              <a:rPr lang="id-ID" sz="2000" b="1" i="1" dirty="0" smtClean="0">
                <a:solidFill>
                  <a:srgbClr val="C00000"/>
                </a:solidFill>
              </a:rPr>
              <a:t>, serta </a:t>
            </a:r>
            <a:r>
              <a:rPr lang="en-US" sz="2000" b="1" i="1" dirty="0" err="1" smtClean="0">
                <a:solidFill>
                  <a:srgbClr val="C00000"/>
                </a:solidFill>
              </a:rPr>
              <a:t>meningkatnya</a:t>
            </a:r>
            <a:r>
              <a:rPr lang="en-US" sz="2000" b="1" i="1" dirty="0" smtClean="0">
                <a:solidFill>
                  <a:srgbClr val="C00000"/>
                </a:solidFill>
              </a:rPr>
              <a:t> </a:t>
            </a:r>
            <a:r>
              <a:rPr lang="en-US" sz="2000" b="1" i="1" dirty="0" err="1">
                <a:solidFill>
                  <a:srgbClr val="C00000"/>
                </a:solidFill>
              </a:rPr>
              <a:t>penyaluran</a:t>
            </a:r>
            <a:r>
              <a:rPr lang="en-US" sz="2000" b="1" i="1" dirty="0">
                <a:solidFill>
                  <a:srgbClr val="C00000"/>
                </a:solidFill>
              </a:rPr>
              <a:t> </a:t>
            </a:r>
            <a:r>
              <a:rPr lang="en-US" sz="2000" b="1" i="1" dirty="0" err="1">
                <a:solidFill>
                  <a:srgbClr val="C00000"/>
                </a:solidFill>
              </a:rPr>
              <a:t>kredit</a:t>
            </a:r>
            <a:r>
              <a:rPr lang="en-US" sz="2000" b="1" i="1" dirty="0">
                <a:solidFill>
                  <a:srgbClr val="C00000"/>
                </a:solidFill>
              </a:rPr>
              <a:t> </a:t>
            </a:r>
            <a:r>
              <a:rPr lang="en-US" sz="2000" b="1" i="1" dirty="0" err="1">
                <a:solidFill>
                  <a:srgbClr val="C00000"/>
                </a:solidFill>
              </a:rPr>
              <a:t>perbankan</a:t>
            </a:r>
            <a:r>
              <a:rPr lang="en-US" sz="2000" b="1" i="1" dirty="0" smtClean="0">
                <a:solidFill>
                  <a:srgbClr val="C00000"/>
                </a:solidFill>
              </a:rPr>
              <a:t>.</a:t>
            </a:r>
            <a:r>
              <a:rPr lang="id-ID" sz="2000" b="1" i="1" dirty="0" smtClean="0">
                <a:solidFill>
                  <a:srgbClr val="C00000"/>
                </a:solidFill>
              </a:rPr>
              <a:t> </a:t>
            </a:r>
            <a:r>
              <a:rPr lang="en-US" altLang="id-ID" sz="2000" b="1" i="1" dirty="0" err="1" smtClean="0">
                <a:solidFill>
                  <a:srgbClr val="C00000"/>
                </a:solidFill>
              </a:rPr>
              <a:t>Selain</a:t>
            </a:r>
            <a:r>
              <a:rPr lang="en-US" altLang="id-ID" sz="2000" b="1" i="1" dirty="0" smtClean="0">
                <a:solidFill>
                  <a:srgbClr val="C00000"/>
                </a:solidFill>
              </a:rPr>
              <a:t> </a:t>
            </a:r>
            <a:r>
              <a:rPr lang="en-US" altLang="id-ID" sz="2000" b="1" i="1" dirty="0" err="1" smtClean="0">
                <a:solidFill>
                  <a:srgbClr val="C00000"/>
                </a:solidFill>
              </a:rPr>
              <a:t>itu</a:t>
            </a:r>
            <a:r>
              <a:rPr lang="en-US" altLang="id-ID" sz="2000" b="1" i="1" dirty="0" smtClean="0">
                <a:solidFill>
                  <a:srgbClr val="C00000"/>
                </a:solidFill>
              </a:rPr>
              <a:t>, p</a:t>
            </a:r>
            <a:r>
              <a:rPr lang="id-ID" altLang="id-ID" sz="2000" b="1" i="1" dirty="0" smtClean="0">
                <a:solidFill>
                  <a:srgbClr val="C00000"/>
                </a:solidFill>
              </a:rPr>
              <a:t>erekonomian 2015 akan diwarnai oleh inflasi yang berada di kisaran sasaran inflasi 2015.</a:t>
            </a:r>
            <a:endParaRPr lang="sv-SE" altLang="id-ID" sz="2000" b="1" i="1" dirty="0"/>
          </a:p>
        </p:txBody>
      </p:sp>
      <p:sp>
        <p:nvSpPr>
          <p:cNvPr id="42" name="Oval 41"/>
          <p:cNvSpPr/>
          <p:nvPr/>
        </p:nvSpPr>
        <p:spPr>
          <a:xfrm>
            <a:off x="533400" y="3352800"/>
            <a:ext cx="2290763" cy="2290762"/>
          </a:xfrm>
          <a:prstGeom prst="ellipse">
            <a:avLst/>
          </a:prstGeom>
          <a:solidFill>
            <a:srgbClr val="3E78C6"/>
          </a:solidFill>
          <a:ln w="28575" cap="flat" cmpd="sng" algn="ctr">
            <a:solidFill>
              <a:srgbClr val="1A1A70"/>
            </a:solidFill>
            <a:prstDash val="solid"/>
          </a:ln>
          <a:effectLst/>
        </p:spPr>
        <p:txBody>
          <a:bodyPr anchor="ctr"/>
          <a:lstStyle/>
          <a:p>
            <a:pPr algn="ctr" fontAlgn="auto">
              <a:spcBef>
                <a:spcPts val="0"/>
              </a:spcBef>
              <a:spcAft>
                <a:spcPts val="0"/>
              </a:spcAft>
              <a:defRPr/>
            </a:pPr>
            <a:endParaRPr lang="en-US" sz="1200" kern="0">
              <a:solidFill>
                <a:srgbClr val="FFFFFF"/>
              </a:solidFill>
              <a:latin typeface="Verdana"/>
              <a:ea typeface="+mn-ea"/>
            </a:endParaRPr>
          </a:p>
        </p:txBody>
      </p:sp>
      <p:sp>
        <p:nvSpPr>
          <p:cNvPr id="43" name="Oval 42"/>
          <p:cNvSpPr/>
          <p:nvPr/>
        </p:nvSpPr>
        <p:spPr>
          <a:xfrm>
            <a:off x="695325" y="3516312"/>
            <a:ext cx="1965325" cy="1965325"/>
          </a:xfrm>
          <a:prstGeom prst="ellipse">
            <a:avLst/>
          </a:prstGeom>
          <a:solidFill>
            <a:srgbClr val="3E78C6"/>
          </a:solidFill>
          <a:ln w="28575" cap="flat" cmpd="sng" algn="ctr">
            <a:solidFill>
              <a:srgbClr val="1A1A70"/>
            </a:solidFill>
            <a:prstDash val="solid"/>
          </a:ln>
          <a:effectLst/>
        </p:spPr>
        <p:txBody>
          <a:bodyPr anchor="ctr"/>
          <a:lstStyle/>
          <a:p>
            <a:pPr algn="ctr" fontAlgn="auto">
              <a:spcBef>
                <a:spcPts val="0"/>
              </a:spcBef>
              <a:spcAft>
                <a:spcPts val="0"/>
              </a:spcAft>
              <a:defRPr/>
            </a:pPr>
            <a:endParaRPr lang="en-US" sz="1200" kern="0">
              <a:solidFill>
                <a:srgbClr val="FFFFFF"/>
              </a:solidFill>
              <a:latin typeface="Verdana"/>
              <a:ea typeface="+mn-ea"/>
            </a:endParaRPr>
          </a:p>
        </p:txBody>
      </p:sp>
      <p:sp>
        <p:nvSpPr>
          <p:cNvPr id="44" name="Oval 43"/>
          <p:cNvSpPr/>
          <p:nvPr/>
        </p:nvSpPr>
        <p:spPr>
          <a:xfrm>
            <a:off x="852488" y="3673475"/>
            <a:ext cx="1651000" cy="1651000"/>
          </a:xfrm>
          <a:prstGeom prst="ellipse">
            <a:avLst/>
          </a:prstGeom>
          <a:solidFill>
            <a:srgbClr val="3E78C6"/>
          </a:solidFill>
          <a:ln w="28575" cap="flat" cmpd="sng" algn="ctr">
            <a:solidFill>
              <a:srgbClr val="1A1A70"/>
            </a:solidFill>
            <a:prstDash val="solid"/>
          </a:ln>
          <a:effectLst/>
        </p:spPr>
        <p:txBody>
          <a:bodyPr anchor="ctr"/>
          <a:lstStyle/>
          <a:p>
            <a:pPr algn="ctr" fontAlgn="auto">
              <a:spcBef>
                <a:spcPts val="0"/>
              </a:spcBef>
              <a:spcAft>
                <a:spcPts val="0"/>
              </a:spcAft>
              <a:defRPr/>
            </a:pPr>
            <a:endParaRPr lang="en-US" sz="1200" kern="0">
              <a:solidFill>
                <a:srgbClr val="FFFFFF"/>
              </a:solidFill>
              <a:latin typeface="Verdana"/>
              <a:ea typeface="+mn-ea"/>
            </a:endParaRPr>
          </a:p>
        </p:txBody>
      </p:sp>
      <p:cxnSp>
        <p:nvCxnSpPr>
          <p:cNvPr id="102407" name="Straight Connector 44"/>
          <p:cNvCxnSpPr>
            <a:cxnSpLocks noChangeShapeType="1"/>
          </p:cNvCxnSpPr>
          <p:nvPr/>
        </p:nvCxnSpPr>
        <p:spPr bwMode="auto">
          <a:xfrm>
            <a:off x="1677988" y="3201987"/>
            <a:ext cx="4762" cy="2597150"/>
          </a:xfrm>
          <a:prstGeom prst="line">
            <a:avLst/>
          </a:prstGeom>
          <a:noFill/>
          <a:ln w="76200">
            <a:solidFill>
              <a:srgbClr val="1A1A70"/>
            </a:solidFill>
            <a:round/>
            <a:headEnd/>
            <a:tailEnd/>
          </a:ln>
          <a:extLst>
            <a:ext uri="{909E8E84-426E-40DD-AFC4-6F175D3DCCD1}">
              <a14:hiddenFill xmlns:a14="http://schemas.microsoft.com/office/drawing/2010/main">
                <a:noFill/>
              </a14:hiddenFill>
            </a:ext>
          </a:extLst>
        </p:spPr>
      </p:cxnSp>
      <p:cxnSp>
        <p:nvCxnSpPr>
          <p:cNvPr id="102408" name="Straight Connector 45"/>
          <p:cNvCxnSpPr>
            <a:cxnSpLocks noChangeShapeType="1"/>
          </p:cNvCxnSpPr>
          <p:nvPr/>
        </p:nvCxnSpPr>
        <p:spPr bwMode="auto">
          <a:xfrm flipV="1">
            <a:off x="381000" y="4498975"/>
            <a:ext cx="1779588" cy="0"/>
          </a:xfrm>
          <a:prstGeom prst="line">
            <a:avLst/>
          </a:prstGeom>
          <a:noFill/>
          <a:ln w="76200">
            <a:solidFill>
              <a:srgbClr val="1A1A70"/>
            </a:solidFill>
            <a:round/>
            <a:headEnd/>
            <a:tailEnd/>
          </a:ln>
          <a:extLst>
            <a:ext uri="{909E8E84-426E-40DD-AFC4-6F175D3DCCD1}">
              <a14:hiddenFill xmlns:a14="http://schemas.microsoft.com/office/drawing/2010/main">
                <a:noFill/>
              </a14:hiddenFill>
            </a:ext>
          </a:extLst>
        </p:spPr>
      </p:cxnSp>
      <p:cxnSp>
        <p:nvCxnSpPr>
          <p:cNvPr id="102411" name="Straight Connector 54"/>
          <p:cNvCxnSpPr>
            <a:cxnSpLocks noChangeShapeType="1"/>
          </p:cNvCxnSpPr>
          <p:nvPr/>
        </p:nvCxnSpPr>
        <p:spPr bwMode="auto">
          <a:xfrm>
            <a:off x="6049963" y="2417762"/>
            <a:ext cx="4762" cy="766763"/>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cxnSp>
      <p:cxnSp>
        <p:nvCxnSpPr>
          <p:cNvPr id="102412" name="Straight Connector 57"/>
          <p:cNvCxnSpPr>
            <a:cxnSpLocks noChangeShapeType="1"/>
          </p:cNvCxnSpPr>
          <p:nvPr/>
        </p:nvCxnSpPr>
        <p:spPr bwMode="auto">
          <a:xfrm>
            <a:off x="6426200" y="5199063"/>
            <a:ext cx="0" cy="1201737"/>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cxnSp>
      <p:sp>
        <p:nvSpPr>
          <p:cNvPr id="62" name="Title 1"/>
          <p:cNvSpPr txBox="1">
            <a:spLocks/>
          </p:cNvSpPr>
          <p:nvPr/>
        </p:nvSpPr>
        <p:spPr>
          <a:xfrm>
            <a:off x="1201738" y="4254500"/>
            <a:ext cx="977900" cy="492125"/>
          </a:xfrm>
          <a:prstGeom prst="rect">
            <a:avLst/>
          </a:prstGeom>
          <a:solidFill>
            <a:srgbClr val="1A1A70"/>
          </a:solidFill>
        </p:spPr>
        <p:txBody>
          <a:bodyPr lIns="68580" tIns="34290" rIns="68580" bIns="34290" anchor="ctr"/>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fontAlgn="auto">
              <a:spcAft>
                <a:spcPts val="0"/>
              </a:spcAft>
              <a:defRPr/>
            </a:pPr>
            <a:endParaRPr lang="en-US" sz="3200">
              <a:latin typeface="Segoe UI Light" panose="020B0502040204020203" pitchFamily="34" charset="0"/>
            </a:endParaRPr>
          </a:p>
        </p:txBody>
      </p:sp>
      <p:sp>
        <p:nvSpPr>
          <p:cNvPr id="63" name="Title 1"/>
          <p:cNvSpPr txBox="1">
            <a:spLocks/>
          </p:cNvSpPr>
          <p:nvPr/>
        </p:nvSpPr>
        <p:spPr>
          <a:xfrm>
            <a:off x="1023938" y="4313237"/>
            <a:ext cx="1311275" cy="400050"/>
          </a:xfrm>
          <a:prstGeom prst="rect">
            <a:avLst/>
          </a:prstGeom>
        </p:spPr>
        <p:txBody>
          <a:bodyPr lIns="68580" tIns="34290" rIns="68580" bIns="34290"/>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fontAlgn="auto">
              <a:spcAft>
                <a:spcPts val="0"/>
              </a:spcAft>
              <a:defRPr/>
            </a:pPr>
            <a:endParaRPr lang="en-US" sz="2800" b="1" dirty="0">
              <a:latin typeface="Segoe UI Semibold" panose="020B0702040204020203" pitchFamily="34" charset="0"/>
            </a:endParaRPr>
          </a:p>
        </p:txBody>
      </p:sp>
      <p:sp>
        <p:nvSpPr>
          <p:cNvPr id="64" name="Oval 63"/>
          <p:cNvSpPr/>
          <p:nvPr/>
        </p:nvSpPr>
        <p:spPr>
          <a:xfrm>
            <a:off x="1000125" y="3816350"/>
            <a:ext cx="1358900" cy="1360487"/>
          </a:xfrm>
          <a:prstGeom prst="ellipse">
            <a:avLst/>
          </a:prstGeom>
          <a:noFill/>
          <a:ln w="28575" cap="flat" cmpd="sng" algn="ctr">
            <a:solidFill>
              <a:srgbClr val="1A1A70"/>
            </a:solidFill>
            <a:prstDash val="solid"/>
          </a:ln>
          <a:effectLst/>
        </p:spPr>
        <p:txBody>
          <a:bodyPr anchor="ctr"/>
          <a:lstStyle/>
          <a:p>
            <a:pPr algn="ctr" fontAlgn="auto">
              <a:spcBef>
                <a:spcPts val="0"/>
              </a:spcBef>
              <a:spcAft>
                <a:spcPts val="0"/>
              </a:spcAft>
              <a:defRPr/>
            </a:pPr>
            <a:endParaRPr lang="en-US" sz="1200" kern="0">
              <a:solidFill>
                <a:srgbClr val="FFFFFF"/>
              </a:solidFill>
              <a:latin typeface="Verdana"/>
              <a:ea typeface="+mn-ea"/>
            </a:endParaRPr>
          </a:p>
        </p:txBody>
      </p:sp>
      <p:sp>
        <p:nvSpPr>
          <p:cNvPr id="69" name="Title 1"/>
          <p:cNvSpPr txBox="1">
            <a:spLocks/>
          </p:cNvSpPr>
          <p:nvPr/>
        </p:nvSpPr>
        <p:spPr>
          <a:xfrm>
            <a:off x="4664075" y="4267200"/>
            <a:ext cx="1584325" cy="358775"/>
          </a:xfrm>
          <a:prstGeom prst="rect">
            <a:avLst/>
          </a:prstGeom>
        </p:spPr>
        <p:txBody>
          <a:bodyPr lIns="68580" tIns="34290" rIns="68580" bIns="34290"/>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r" fontAlgn="auto">
              <a:spcAft>
                <a:spcPts val="0"/>
              </a:spcAft>
              <a:defRPr/>
            </a:pPr>
            <a:r>
              <a:rPr lang="id-ID" sz="3200" b="1" dirty="0" smtClean="0">
                <a:solidFill>
                  <a:srgbClr val="C00000"/>
                </a:solidFill>
                <a:ea typeface="Adobe Gothic Std B" panose="020B0800000000000000" pitchFamily="34" charset="-128"/>
              </a:rPr>
              <a:t>Inflasi</a:t>
            </a:r>
            <a:endParaRPr lang="en-US" sz="3200" b="1" dirty="0">
              <a:solidFill>
                <a:srgbClr val="C00000"/>
              </a:solidFill>
              <a:ea typeface="Adobe Gothic Std B" panose="020B0800000000000000" pitchFamily="34" charset="-128"/>
            </a:endParaRPr>
          </a:p>
        </p:txBody>
      </p:sp>
      <p:cxnSp>
        <p:nvCxnSpPr>
          <p:cNvPr id="102420" name="Straight Connector 70"/>
          <p:cNvCxnSpPr>
            <a:cxnSpLocks noChangeShapeType="1"/>
          </p:cNvCxnSpPr>
          <p:nvPr/>
        </p:nvCxnSpPr>
        <p:spPr bwMode="auto">
          <a:xfrm>
            <a:off x="7267575" y="5053013"/>
            <a:ext cx="4763" cy="766762"/>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cxnSp>
      <p:cxnSp>
        <p:nvCxnSpPr>
          <p:cNvPr id="102422" name="Straight Connector 73"/>
          <p:cNvCxnSpPr>
            <a:cxnSpLocks noChangeShapeType="1"/>
          </p:cNvCxnSpPr>
          <p:nvPr/>
        </p:nvCxnSpPr>
        <p:spPr bwMode="auto">
          <a:xfrm>
            <a:off x="6426200" y="5199063"/>
            <a:ext cx="0" cy="1201737"/>
          </a:xfrm>
          <a:prstGeom prst="line">
            <a:avLst/>
          </a:prstGeom>
          <a:noFill/>
          <a:ln w="38100">
            <a:solidFill>
              <a:srgbClr val="FFFFFF"/>
            </a:solidFill>
            <a:round/>
            <a:headEnd/>
            <a:tailEnd/>
          </a:ln>
          <a:extLst>
            <a:ext uri="{909E8E84-426E-40DD-AFC4-6F175D3DCCD1}">
              <a14:hiddenFill xmlns:a14="http://schemas.microsoft.com/office/drawing/2010/main">
                <a:noFill/>
              </a14:hiddenFill>
            </a:ext>
          </a:extLst>
        </p:spPr>
      </p:cxnSp>
      <p:sp>
        <p:nvSpPr>
          <p:cNvPr id="75" name="Oval 74"/>
          <p:cNvSpPr/>
          <p:nvPr/>
        </p:nvSpPr>
        <p:spPr>
          <a:xfrm>
            <a:off x="3930650" y="5148263"/>
            <a:ext cx="304800" cy="312738"/>
          </a:xfrm>
          <a:prstGeom prst="ellipse">
            <a:avLst/>
          </a:prstGeom>
          <a:solidFill>
            <a:schemeClr val="accent5">
              <a:lumMod val="75000"/>
            </a:schemeClr>
          </a:solidFill>
          <a:ln w="38100" cap="flat" cmpd="sng" algn="ctr">
            <a:solidFill>
              <a:srgbClr val="FFFFFF"/>
            </a:solidFill>
            <a:prstDash val="solid"/>
          </a:ln>
          <a:effectLst/>
        </p:spPr>
        <p:txBody>
          <a:bodyPr anchor="ctr"/>
          <a:lstStyle/>
          <a:p>
            <a:pPr algn="ctr" fontAlgn="auto">
              <a:spcBef>
                <a:spcPts val="0"/>
              </a:spcBef>
              <a:spcAft>
                <a:spcPts val="0"/>
              </a:spcAft>
              <a:defRPr/>
            </a:pPr>
            <a:endParaRPr lang="en-US" sz="1200" b="1" kern="0">
              <a:solidFill>
                <a:srgbClr val="00B050"/>
              </a:solidFill>
              <a:latin typeface="+mn-lt"/>
              <a:ea typeface="+mn-ea"/>
            </a:endParaRPr>
          </a:p>
        </p:txBody>
      </p:sp>
      <p:sp>
        <p:nvSpPr>
          <p:cNvPr id="78" name="Title 1"/>
          <p:cNvSpPr txBox="1">
            <a:spLocks/>
          </p:cNvSpPr>
          <p:nvPr/>
        </p:nvSpPr>
        <p:spPr>
          <a:xfrm>
            <a:off x="4394200" y="5160962"/>
            <a:ext cx="2006600" cy="782638"/>
          </a:xfrm>
          <a:prstGeom prst="rect">
            <a:avLst/>
          </a:prstGeom>
        </p:spPr>
        <p:txBody>
          <a:bodyPr lIns="68580" tIns="34290" rIns="68580" bIns="34290"/>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r" fontAlgn="auto">
              <a:spcAft>
                <a:spcPts val="0"/>
              </a:spcAft>
              <a:defRPr/>
            </a:pPr>
            <a:r>
              <a:rPr lang="id-ID" sz="3000" b="1" dirty="0" smtClean="0">
                <a:solidFill>
                  <a:srgbClr val="4BACC6">
                    <a:lumMod val="50000"/>
                  </a:srgbClr>
                </a:solidFill>
                <a:ea typeface="Adobe Gothic Std B" panose="020B0800000000000000" pitchFamily="34" charset="-128"/>
              </a:rPr>
              <a:t>CAD (% PDB)</a:t>
            </a:r>
          </a:p>
          <a:p>
            <a:pPr algn="r" fontAlgn="auto">
              <a:spcAft>
                <a:spcPts val="0"/>
              </a:spcAft>
              <a:defRPr/>
            </a:pPr>
            <a:endParaRPr lang="en-US" sz="3000" b="1" dirty="0">
              <a:solidFill>
                <a:srgbClr val="4BACC6">
                  <a:lumMod val="50000"/>
                </a:srgbClr>
              </a:solidFill>
              <a:ea typeface="Adobe Gothic Std B" panose="020B0800000000000000" pitchFamily="34" charset="-128"/>
            </a:endParaRPr>
          </a:p>
        </p:txBody>
      </p:sp>
      <p:sp>
        <p:nvSpPr>
          <p:cNvPr id="80" name="Title 1"/>
          <p:cNvSpPr txBox="1">
            <a:spLocks/>
          </p:cNvSpPr>
          <p:nvPr/>
        </p:nvSpPr>
        <p:spPr>
          <a:xfrm>
            <a:off x="6842125" y="2625725"/>
            <a:ext cx="1311275" cy="401637"/>
          </a:xfrm>
          <a:prstGeom prst="rect">
            <a:avLst/>
          </a:prstGeom>
          <a:solidFill>
            <a:schemeClr val="tx1"/>
          </a:solidFill>
        </p:spPr>
        <p:txBody>
          <a:bodyPr lIns="68580" tIns="34290" rIns="68580" bIns="34290"/>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ctr" fontAlgn="auto">
              <a:spcAft>
                <a:spcPts val="0"/>
              </a:spcAft>
              <a:defRPr/>
            </a:pPr>
            <a:r>
              <a:rPr lang="en-US" sz="2800" b="1" dirty="0" smtClean="0">
                <a:solidFill>
                  <a:prstClr val="white"/>
                </a:solidFill>
                <a:latin typeface="Segoe UI Semibold" panose="020B0702040204020203" pitchFamily="34" charset="0"/>
              </a:rPr>
              <a:t>201</a:t>
            </a:r>
            <a:r>
              <a:rPr lang="id-ID" sz="2800" b="1" dirty="0" smtClean="0">
                <a:solidFill>
                  <a:prstClr val="white"/>
                </a:solidFill>
                <a:latin typeface="Segoe UI Semibold" panose="020B0702040204020203" pitchFamily="34" charset="0"/>
              </a:rPr>
              <a:t>5</a:t>
            </a:r>
            <a:endParaRPr lang="en-US" sz="2800" b="1" dirty="0">
              <a:solidFill>
                <a:prstClr val="white"/>
              </a:solidFill>
              <a:latin typeface="Segoe UI Semibold" panose="020B0702040204020203" pitchFamily="34" charset="0"/>
            </a:endParaRPr>
          </a:p>
        </p:txBody>
      </p:sp>
      <p:sp>
        <p:nvSpPr>
          <p:cNvPr id="102428" name="Title 1"/>
          <p:cNvSpPr txBox="1">
            <a:spLocks/>
          </p:cNvSpPr>
          <p:nvPr/>
        </p:nvSpPr>
        <p:spPr bwMode="auto">
          <a:xfrm>
            <a:off x="6705600" y="5141912"/>
            <a:ext cx="1828800" cy="725488"/>
          </a:xfrm>
          <a:prstGeom prst="rect">
            <a:avLst/>
          </a:prstGeom>
          <a:noFill/>
          <a:ln>
            <a:noFill/>
          </a:ln>
          <a:extLst/>
        </p:spPr>
        <p:txBody>
          <a:bodyPr lIns="68580" tIns="34290" rIns="68580" bIns="34290"/>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80000"/>
              </a:lnSpc>
            </a:pPr>
            <a:r>
              <a:rPr lang="id-ID" altLang="id-ID" sz="3200" b="1" dirty="0" smtClean="0">
                <a:solidFill>
                  <a:srgbClr val="215968"/>
                </a:solidFill>
              </a:rPr>
              <a:t>2,5 - 3</a:t>
            </a:r>
            <a:r>
              <a:rPr lang="en-US" altLang="id-ID" sz="3200" b="1" dirty="0" smtClean="0">
                <a:solidFill>
                  <a:srgbClr val="215968"/>
                </a:solidFill>
              </a:rPr>
              <a:t>%</a:t>
            </a:r>
            <a:endParaRPr lang="en-US" altLang="id-ID" sz="3200" b="1" dirty="0">
              <a:solidFill>
                <a:srgbClr val="215968"/>
              </a:solidFill>
            </a:endParaRPr>
          </a:p>
        </p:txBody>
      </p:sp>
      <p:sp>
        <p:nvSpPr>
          <p:cNvPr id="102429" name="Title 1"/>
          <p:cNvSpPr txBox="1">
            <a:spLocks/>
          </p:cNvSpPr>
          <p:nvPr/>
        </p:nvSpPr>
        <p:spPr bwMode="auto">
          <a:xfrm>
            <a:off x="6686550" y="4227513"/>
            <a:ext cx="2686050"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80000"/>
              </a:lnSpc>
            </a:pPr>
            <a:r>
              <a:rPr lang="en-US" altLang="id-ID" sz="3200" b="1" dirty="0">
                <a:solidFill>
                  <a:srgbClr val="C00000"/>
                </a:solidFill>
              </a:rPr>
              <a:t>4</a:t>
            </a:r>
            <a:r>
              <a:rPr lang="id-ID" altLang="id-ID" sz="3200" b="1" dirty="0">
                <a:solidFill>
                  <a:srgbClr val="C00000"/>
                </a:solidFill>
              </a:rPr>
              <a:t>,0</a:t>
            </a:r>
            <a:r>
              <a:rPr lang="en-US" altLang="id-ID" sz="3200" b="1" dirty="0">
                <a:solidFill>
                  <a:srgbClr val="C00000"/>
                </a:solidFill>
              </a:rPr>
              <a:t>±1</a:t>
            </a:r>
            <a:r>
              <a:rPr lang="en-US" altLang="id-ID" sz="3200" b="1" dirty="0" smtClean="0">
                <a:solidFill>
                  <a:srgbClr val="C00000"/>
                </a:solidFill>
              </a:rPr>
              <a:t>%</a:t>
            </a:r>
            <a:endParaRPr lang="en-US" altLang="id-ID" sz="3200" b="1" dirty="0">
              <a:solidFill>
                <a:srgbClr val="C00000"/>
              </a:solidFill>
            </a:endParaRPr>
          </a:p>
        </p:txBody>
      </p:sp>
      <p:cxnSp>
        <p:nvCxnSpPr>
          <p:cNvPr id="102430" name="Straight Connector 35"/>
          <p:cNvCxnSpPr>
            <a:cxnSpLocks noChangeShapeType="1"/>
            <a:stCxn id="62" idx="3"/>
            <a:endCxn id="75" idx="2"/>
          </p:cNvCxnSpPr>
          <p:nvPr/>
        </p:nvCxnSpPr>
        <p:spPr bwMode="auto">
          <a:xfrm>
            <a:off x="2179638" y="4500563"/>
            <a:ext cx="1751012" cy="804069"/>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cxnSp>
      <p:cxnSp>
        <p:nvCxnSpPr>
          <p:cNvPr id="35" name="Straight Connector 22"/>
          <p:cNvCxnSpPr>
            <a:cxnSpLocks noChangeShapeType="1"/>
            <a:stCxn id="62" idx="3"/>
            <a:endCxn id="36" idx="2"/>
          </p:cNvCxnSpPr>
          <p:nvPr/>
        </p:nvCxnSpPr>
        <p:spPr bwMode="auto">
          <a:xfrm flipV="1">
            <a:off x="2179638" y="4423569"/>
            <a:ext cx="1782762" cy="76994"/>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cxnSp>
      <p:sp>
        <p:nvSpPr>
          <p:cNvPr id="36" name="Oval 35"/>
          <p:cNvSpPr/>
          <p:nvPr/>
        </p:nvSpPr>
        <p:spPr>
          <a:xfrm>
            <a:off x="3962400" y="4267200"/>
            <a:ext cx="304800" cy="312737"/>
          </a:xfrm>
          <a:prstGeom prst="ellipse">
            <a:avLst/>
          </a:prstGeom>
          <a:solidFill>
            <a:schemeClr val="accent2"/>
          </a:solidFill>
          <a:ln w="38100" cap="flat" cmpd="sng" algn="ctr">
            <a:solidFill>
              <a:srgbClr val="FFFFFF"/>
            </a:solidFill>
            <a:prstDash val="solid"/>
          </a:ln>
          <a:effectLst/>
        </p:spPr>
        <p:txBody>
          <a:bodyPr anchor="ctr"/>
          <a:lstStyle/>
          <a:p>
            <a:pPr algn="ctr" fontAlgn="auto">
              <a:spcBef>
                <a:spcPts val="0"/>
              </a:spcBef>
              <a:spcAft>
                <a:spcPts val="0"/>
              </a:spcAft>
              <a:defRPr/>
            </a:pPr>
            <a:endParaRPr lang="en-US" sz="1200" b="1" kern="0">
              <a:solidFill>
                <a:srgbClr val="FF0000"/>
              </a:solidFill>
              <a:latin typeface="+mn-lt"/>
              <a:ea typeface="+mn-ea"/>
            </a:endParaRPr>
          </a:p>
        </p:txBody>
      </p:sp>
      <p:sp>
        <p:nvSpPr>
          <p:cNvPr id="30" name="Title 1"/>
          <p:cNvSpPr txBox="1">
            <a:spLocks/>
          </p:cNvSpPr>
          <p:nvPr/>
        </p:nvSpPr>
        <p:spPr>
          <a:xfrm>
            <a:off x="4343400" y="3311441"/>
            <a:ext cx="2012950" cy="496093"/>
          </a:xfrm>
          <a:prstGeom prst="rect">
            <a:avLst/>
          </a:prstGeom>
        </p:spPr>
        <p:txBody>
          <a:bodyPr lIns="68580" tIns="34290" rIns="68580" bIns="34290"/>
          <a:lstStyle>
            <a:lvl1pPr algn="l" defTabSz="914377" rtl="0" eaLnBrk="1" latinLnBrk="0" hangingPunct="1">
              <a:lnSpc>
                <a:spcPct val="80000"/>
              </a:lnSpc>
              <a:spcBef>
                <a:spcPct val="0"/>
              </a:spcBef>
              <a:buNone/>
              <a:defRPr sz="8800" kern="1200" spc="-120" baseline="0">
                <a:solidFill>
                  <a:srgbClr val="FFFFFF"/>
                </a:solidFill>
                <a:latin typeface="+mj-lt"/>
                <a:ea typeface="+mj-ea"/>
                <a:cs typeface="+mj-cs"/>
              </a:defRPr>
            </a:lvl1pPr>
          </a:lstStyle>
          <a:p>
            <a:pPr algn="r" fontAlgn="auto">
              <a:spcAft>
                <a:spcPts val="0"/>
              </a:spcAft>
              <a:defRPr/>
            </a:pPr>
            <a:r>
              <a:rPr lang="id-ID" sz="2800" b="1" dirty="0" smtClean="0">
                <a:solidFill>
                  <a:srgbClr val="002060"/>
                </a:solidFill>
                <a:ea typeface="Adobe Gothic Std B" panose="020B0800000000000000" pitchFamily="34" charset="-128"/>
              </a:rPr>
              <a:t>Pertumbuhan Ekonomi</a:t>
            </a:r>
            <a:endParaRPr lang="en-US" sz="2800" b="1" dirty="0">
              <a:solidFill>
                <a:srgbClr val="002060"/>
              </a:solidFill>
              <a:ea typeface="Adobe Gothic Std B" panose="020B0800000000000000" pitchFamily="34" charset="-128"/>
            </a:endParaRPr>
          </a:p>
        </p:txBody>
      </p:sp>
      <p:sp>
        <p:nvSpPr>
          <p:cNvPr id="32" name="Title 1"/>
          <p:cNvSpPr txBox="1">
            <a:spLocks/>
          </p:cNvSpPr>
          <p:nvPr/>
        </p:nvSpPr>
        <p:spPr bwMode="auto">
          <a:xfrm>
            <a:off x="6610350" y="3424238"/>
            <a:ext cx="2686050"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80000"/>
              </a:lnSpc>
            </a:pPr>
            <a:r>
              <a:rPr lang="id-ID" altLang="id-ID" sz="3200" b="1" dirty="0" smtClean="0">
                <a:solidFill>
                  <a:srgbClr val="002060"/>
                </a:solidFill>
              </a:rPr>
              <a:t>4,7 - 5,1%</a:t>
            </a:r>
            <a:endParaRPr lang="en-US" altLang="id-ID" sz="3200" b="1" dirty="0">
              <a:solidFill>
                <a:srgbClr val="002060"/>
              </a:solidFill>
            </a:endParaRPr>
          </a:p>
        </p:txBody>
      </p:sp>
      <p:sp>
        <p:nvSpPr>
          <p:cNvPr id="33" name="Oval 32"/>
          <p:cNvSpPr/>
          <p:nvPr/>
        </p:nvSpPr>
        <p:spPr>
          <a:xfrm>
            <a:off x="3962400" y="3463925"/>
            <a:ext cx="304800" cy="312737"/>
          </a:xfrm>
          <a:prstGeom prst="ellipse">
            <a:avLst/>
          </a:prstGeom>
          <a:solidFill>
            <a:srgbClr val="002060"/>
          </a:solidFill>
          <a:ln w="38100" cap="flat" cmpd="sng" algn="ctr">
            <a:solidFill>
              <a:srgbClr val="FFFFFF"/>
            </a:solidFill>
            <a:prstDash val="solid"/>
          </a:ln>
          <a:effectLst/>
        </p:spPr>
        <p:txBody>
          <a:bodyPr anchor="ctr"/>
          <a:lstStyle/>
          <a:p>
            <a:pPr algn="ctr" fontAlgn="auto">
              <a:spcBef>
                <a:spcPts val="0"/>
              </a:spcBef>
              <a:spcAft>
                <a:spcPts val="0"/>
              </a:spcAft>
              <a:defRPr/>
            </a:pPr>
            <a:endParaRPr lang="en-US" sz="1200" b="1" kern="0">
              <a:solidFill>
                <a:srgbClr val="FF0000"/>
              </a:solidFill>
              <a:latin typeface="+mn-lt"/>
              <a:ea typeface="+mn-ea"/>
            </a:endParaRPr>
          </a:p>
        </p:txBody>
      </p:sp>
      <p:cxnSp>
        <p:nvCxnSpPr>
          <p:cNvPr id="34" name="Straight Connector 22"/>
          <p:cNvCxnSpPr>
            <a:cxnSpLocks noChangeShapeType="1"/>
            <a:stCxn id="62" idx="3"/>
            <a:endCxn id="33" idx="3"/>
          </p:cNvCxnSpPr>
          <p:nvPr/>
        </p:nvCxnSpPr>
        <p:spPr bwMode="auto">
          <a:xfrm flipV="1">
            <a:off x="2179638" y="3730863"/>
            <a:ext cx="1827399" cy="769700"/>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7824163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2" presetClass="emph" presetSubtype="0" repeatCount="indefinite" fill="hold" grpId="0" nodeType="withEffect">
                                  <p:stCondLst>
                                    <p:cond delay="0"/>
                                  </p:stCondLst>
                                  <p:childTnLst>
                                    <p:animRot by="120000">
                                      <p:cBhvr>
                                        <p:cTn id="6" dur="200" fill="hold">
                                          <p:stCondLst>
                                            <p:cond delay="0"/>
                                          </p:stCondLst>
                                        </p:cTn>
                                        <p:tgtEl>
                                          <p:spTgt spid="62"/>
                                        </p:tgtEl>
                                        <p:attrNameLst>
                                          <p:attrName>r</p:attrName>
                                        </p:attrNameLst>
                                      </p:cBhvr>
                                    </p:animRot>
                                    <p:animRot by="-240000">
                                      <p:cBhvr>
                                        <p:cTn id="7" dur="400" fill="hold">
                                          <p:stCondLst>
                                            <p:cond delay="400"/>
                                          </p:stCondLst>
                                        </p:cTn>
                                        <p:tgtEl>
                                          <p:spTgt spid="62"/>
                                        </p:tgtEl>
                                        <p:attrNameLst>
                                          <p:attrName>r</p:attrName>
                                        </p:attrNameLst>
                                      </p:cBhvr>
                                    </p:animRot>
                                    <p:animRot by="240000">
                                      <p:cBhvr>
                                        <p:cTn id="8" dur="400" fill="hold">
                                          <p:stCondLst>
                                            <p:cond delay="800"/>
                                          </p:stCondLst>
                                        </p:cTn>
                                        <p:tgtEl>
                                          <p:spTgt spid="62"/>
                                        </p:tgtEl>
                                        <p:attrNameLst>
                                          <p:attrName>r</p:attrName>
                                        </p:attrNameLst>
                                      </p:cBhvr>
                                    </p:animRot>
                                    <p:animRot by="-240000">
                                      <p:cBhvr>
                                        <p:cTn id="9" dur="400" fill="hold">
                                          <p:stCondLst>
                                            <p:cond delay="1200"/>
                                          </p:stCondLst>
                                        </p:cTn>
                                        <p:tgtEl>
                                          <p:spTgt spid="62"/>
                                        </p:tgtEl>
                                        <p:attrNameLst>
                                          <p:attrName>r</p:attrName>
                                        </p:attrNameLst>
                                      </p:cBhvr>
                                    </p:animRot>
                                    <p:animRot by="120000">
                                      <p:cBhvr>
                                        <p:cTn id="10" dur="400" fill="hold">
                                          <p:stCondLst>
                                            <p:cond delay="1600"/>
                                          </p:stCondLst>
                                        </p:cTn>
                                        <p:tgtEl>
                                          <p:spTgt spid="62"/>
                                        </p:tgtEl>
                                        <p:attrNameLst>
                                          <p:attrName>r</p:attrName>
                                        </p:attrNameLst>
                                      </p:cBhvr>
                                    </p:animRot>
                                  </p:childTnLst>
                                </p:cTn>
                              </p:par>
                            </p:childTnLst>
                          </p:cTn>
                        </p:par>
                        <p:par>
                          <p:cTn id="11" fill="hold" nodeType="afterGroup">
                            <p:stCondLst>
                              <p:cond delay="2000"/>
                            </p:stCondLst>
                            <p:childTnLst>
                              <p:par>
                                <p:cTn id="12" presetID="26" presetClass="emph" presetSubtype="0" fill="hold" grpId="0" nodeType="afterEffect">
                                  <p:stCondLst>
                                    <p:cond delay="0"/>
                                  </p:stCondLst>
                                  <p:childTnLst>
                                    <p:animEffect transition="out" filter="fade">
                                      <p:cBhvr>
                                        <p:cTn id="13" dur="1000" tmFilter="0, 0; .2, .5; .8, .5; 1, 0"/>
                                        <p:tgtEl>
                                          <p:spTgt spid="75"/>
                                        </p:tgtEl>
                                      </p:cBhvr>
                                    </p:animEffect>
                                    <p:animScale>
                                      <p:cBhvr>
                                        <p:cTn id="14" dur="500" autoRev="1" fill="hold"/>
                                        <p:tgtEl>
                                          <p:spTgt spid="75"/>
                                        </p:tgtEl>
                                      </p:cBhvr>
                                      <p:by x="105000" y="105000"/>
                                    </p:animScale>
                                  </p:childTnLst>
                                </p:cTn>
                              </p:par>
                              <p:par>
                                <p:cTn id="15" presetID="26" presetClass="emph" presetSubtype="0" fill="hold" grpId="0" nodeType="withEffect">
                                  <p:stCondLst>
                                    <p:cond delay="0"/>
                                  </p:stCondLst>
                                  <p:childTnLst>
                                    <p:animEffect transition="out" filter="fade">
                                      <p:cBhvr>
                                        <p:cTn id="16" dur="1000" tmFilter="0, 0; .2, .5; .8, .5; 1, 0"/>
                                        <p:tgtEl>
                                          <p:spTgt spid="69"/>
                                        </p:tgtEl>
                                      </p:cBhvr>
                                    </p:animEffect>
                                    <p:animScale>
                                      <p:cBhvr>
                                        <p:cTn id="17" dur="500" autoRev="1" fill="hold"/>
                                        <p:tgtEl>
                                          <p:spTgt spid="69"/>
                                        </p:tgtEl>
                                      </p:cBhvr>
                                      <p:by x="105000" y="105000"/>
                                    </p:animScale>
                                  </p:childTnLst>
                                </p:cTn>
                              </p:par>
                              <p:par>
                                <p:cTn id="18" presetID="26" presetClass="emph" presetSubtype="0" fill="hold" grpId="0" nodeType="withEffect">
                                  <p:stCondLst>
                                    <p:cond delay="0"/>
                                  </p:stCondLst>
                                  <p:childTnLst>
                                    <p:animEffect transition="out" filter="fade">
                                      <p:cBhvr>
                                        <p:cTn id="19" dur="1000" tmFilter="0, 0; .2, .5; .8, .5; 1, 0"/>
                                        <p:tgtEl>
                                          <p:spTgt spid="78"/>
                                        </p:tgtEl>
                                      </p:cBhvr>
                                    </p:animEffect>
                                    <p:animScale>
                                      <p:cBhvr>
                                        <p:cTn id="20" dur="500" autoRev="1" fill="hold"/>
                                        <p:tgtEl>
                                          <p:spTgt spid="78"/>
                                        </p:tgtEl>
                                      </p:cBhvr>
                                      <p:by x="105000" y="105000"/>
                                    </p:animScale>
                                  </p:childTnLst>
                                </p:cTn>
                              </p:par>
                            </p:childTnLst>
                          </p:cTn>
                        </p:par>
                        <p:par>
                          <p:cTn id="21" fill="hold">
                            <p:stCondLst>
                              <p:cond delay="3000"/>
                            </p:stCondLst>
                            <p:childTnLst>
                              <p:par>
                                <p:cTn id="22" presetID="26" presetClass="emph" presetSubtype="0" fill="hold" grpId="0" nodeType="afterEffect">
                                  <p:stCondLst>
                                    <p:cond delay="0"/>
                                  </p:stCondLst>
                                  <p:childTnLst>
                                    <p:animEffect transition="out" filter="fade">
                                      <p:cBhvr>
                                        <p:cTn id="23" dur="1000" tmFilter="0, 0; .2, .5; .8, .5; 1, 0"/>
                                        <p:tgtEl>
                                          <p:spTgt spid="36"/>
                                        </p:tgtEl>
                                      </p:cBhvr>
                                    </p:animEffect>
                                    <p:animScale>
                                      <p:cBhvr>
                                        <p:cTn id="24" dur="500" autoRev="1" fill="hold"/>
                                        <p:tgtEl>
                                          <p:spTgt spid="36"/>
                                        </p:tgtEl>
                                      </p:cBhvr>
                                      <p:by x="105000" y="105000"/>
                                    </p:animScale>
                                  </p:childTnLst>
                                </p:cTn>
                              </p:par>
                              <p:par>
                                <p:cTn id="25" presetID="26" presetClass="emph" presetSubtype="0" fill="hold" grpId="0" nodeType="withEffect">
                                  <p:stCondLst>
                                    <p:cond delay="0"/>
                                  </p:stCondLst>
                                  <p:childTnLst>
                                    <p:animEffect transition="out" filter="fade">
                                      <p:cBhvr>
                                        <p:cTn id="26" dur="1000" tmFilter="0, 0; .2, .5; .8, .5; 1, 0"/>
                                        <p:tgtEl>
                                          <p:spTgt spid="30"/>
                                        </p:tgtEl>
                                      </p:cBhvr>
                                    </p:animEffect>
                                    <p:animScale>
                                      <p:cBhvr>
                                        <p:cTn id="27" dur="500" autoRev="1" fill="hold"/>
                                        <p:tgtEl>
                                          <p:spTgt spid="30"/>
                                        </p:tgtEl>
                                      </p:cBhvr>
                                      <p:by x="105000" y="105000"/>
                                    </p:animScale>
                                  </p:childTnLst>
                                </p:cTn>
                              </p:par>
                            </p:childTnLst>
                          </p:cTn>
                        </p:par>
                        <p:par>
                          <p:cTn id="28" fill="hold">
                            <p:stCondLst>
                              <p:cond delay="4000"/>
                            </p:stCondLst>
                            <p:childTnLst>
                              <p:par>
                                <p:cTn id="29" presetID="26" presetClass="emph" presetSubtype="0" fill="hold" grpId="0" nodeType="afterEffect">
                                  <p:stCondLst>
                                    <p:cond delay="0"/>
                                  </p:stCondLst>
                                  <p:childTnLst>
                                    <p:animEffect transition="out" filter="fade">
                                      <p:cBhvr>
                                        <p:cTn id="30" dur="1000" tmFilter="0, 0; .2, .5; .8, .5; 1, 0"/>
                                        <p:tgtEl>
                                          <p:spTgt spid="33"/>
                                        </p:tgtEl>
                                      </p:cBhvr>
                                    </p:animEffect>
                                    <p:animScale>
                                      <p:cBhvr>
                                        <p:cTn id="31" dur="500" autoRev="1" fill="hold"/>
                                        <p:tgtEl>
                                          <p:spTgt spid="3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9" grpId="0"/>
      <p:bldP spid="75" grpId="0" animBg="1"/>
      <p:bldP spid="78" grpId="0"/>
      <p:bldP spid="36" grpId="0" animBg="1"/>
      <p:bldP spid="30" grpId="0"/>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1113"/>
            <a:ext cx="3261919" cy="523220"/>
          </a:xfrm>
          <a:prstGeom prst="rect">
            <a:avLst/>
          </a:prstGeom>
        </p:spPr>
        <p:txBody>
          <a:bodyPr wrap="non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id-ID" sz="2800" b="1" dirty="0" err="1" smtClean="0">
                <a:solidFill>
                  <a:srgbClr val="002060"/>
                </a:solidFill>
                <a:latin typeface="+mj-lt"/>
                <a:cs typeface="Arial" pitchFamily="34" charset="0"/>
              </a:rPr>
              <a:t>Reformasi</a:t>
            </a:r>
            <a:r>
              <a:rPr lang="en-US" altLang="id-ID" sz="2800" b="1" dirty="0" smtClean="0">
                <a:solidFill>
                  <a:srgbClr val="002060"/>
                </a:solidFill>
                <a:latin typeface="+mj-lt"/>
                <a:cs typeface="Arial" pitchFamily="34" charset="0"/>
              </a:rPr>
              <a:t> </a:t>
            </a:r>
            <a:r>
              <a:rPr lang="en-US" altLang="id-ID" sz="2800" b="1" dirty="0" err="1" smtClean="0">
                <a:solidFill>
                  <a:srgbClr val="002060"/>
                </a:solidFill>
                <a:latin typeface="+mj-lt"/>
                <a:cs typeface="Arial" pitchFamily="34" charset="0"/>
              </a:rPr>
              <a:t>Struktural</a:t>
            </a:r>
            <a:endParaRPr lang="en-US" altLang="id-ID" sz="2800" b="1" dirty="0">
              <a:solidFill>
                <a:srgbClr val="002060"/>
              </a:solidFill>
              <a:latin typeface="+mj-lt"/>
              <a:cs typeface="Arial" pitchFamily="34" charset="0"/>
            </a:endParaRPr>
          </a:p>
        </p:txBody>
      </p:sp>
      <p:sp>
        <p:nvSpPr>
          <p:cNvPr id="104451" name="TextBox 11"/>
          <p:cNvSpPr txBox="1">
            <a:spLocks noChangeArrowheads="1"/>
          </p:cNvSpPr>
          <p:nvPr/>
        </p:nvSpPr>
        <p:spPr bwMode="auto">
          <a:xfrm>
            <a:off x="0" y="533400"/>
            <a:ext cx="9144000"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95000"/>
              </a:lnSpc>
              <a:spcAft>
                <a:spcPts val="300"/>
              </a:spcAft>
            </a:pPr>
            <a:r>
              <a:rPr lang="en-US" sz="2000" b="1" i="1" dirty="0" err="1" smtClean="0">
                <a:solidFill>
                  <a:srgbClr val="C00000"/>
                </a:solidFill>
              </a:rPr>
              <a:t>Ke</a:t>
            </a:r>
            <a:r>
              <a:rPr lang="en-US" sz="2000" b="1" i="1" dirty="0" smtClean="0">
                <a:solidFill>
                  <a:srgbClr val="C00000"/>
                </a:solidFill>
              </a:rPr>
              <a:t> </a:t>
            </a:r>
            <a:r>
              <a:rPr lang="en-US" sz="2000" b="1" i="1" dirty="0" err="1">
                <a:solidFill>
                  <a:srgbClr val="C00000"/>
                </a:solidFill>
              </a:rPr>
              <a:t>depan</a:t>
            </a:r>
            <a:r>
              <a:rPr lang="en-US" sz="2000" b="1" i="1" dirty="0">
                <a:solidFill>
                  <a:srgbClr val="C00000"/>
                </a:solidFill>
              </a:rPr>
              <a:t>, </a:t>
            </a:r>
            <a:r>
              <a:rPr lang="en-US" sz="2000" b="1" i="1" dirty="0" err="1">
                <a:solidFill>
                  <a:srgbClr val="C00000"/>
                </a:solidFill>
              </a:rPr>
              <a:t>percepatan</a:t>
            </a:r>
            <a:r>
              <a:rPr lang="en-US" sz="2000" b="1" i="1" dirty="0">
                <a:solidFill>
                  <a:srgbClr val="C00000"/>
                </a:solidFill>
              </a:rPr>
              <a:t> </a:t>
            </a:r>
            <a:r>
              <a:rPr lang="en-US" sz="2000" b="1" i="1" dirty="0" err="1">
                <a:solidFill>
                  <a:srgbClr val="C00000"/>
                </a:solidFill>
              </a:rPr>
              <a:t>realisasi</a:t>
            </a:r>
            <a:r>
              <a:rPr lang="en-US" sz="2000" b="1" i="1" dirty="0">
                <a:solidFill>
                  <a:srgbClr val="C00000"/>
                </a:solidFill>
              </a:rPr>
              <a:t> </a:t>
            </a:r>
            <a:r>
              <a:rPr lang="en-US" sz="2000" b="1" i="1" dirty="0" err="1">
                <a:solidFill>
                  <a:srgbClr val="C00000"/>
                </a:solidFill>
              </a:rPr>
              <a:t>belanja</a:t>
            </a:r>
            <a:r>
              <a:rPr lang="en-US" sz="2000" b="1" i="1" dirty="0">
                <a:solidFill>
                  <a:srgbClr val="C00000"/>
                </a:solidFill>
              </a:rPr>
              <a:t> </a:t>
            </a:r>
            <a:r>
              <a:rPr lang="en-US" sz="2000" b="1" i="1" dirty="0" err="1">
                <a:solidFill>
                  <a:srgbClr val="C00000"/>
                </a:solidFill>
              </a:rPr>
              <a:t>Pemerintah</a:t>
            </a:r>
            <a:r>
              <a:rPr lang="en-US" sz="2000" b="1" i="1" dirty="0">
                <a:solidFill>
                  <a:srgbClr val="C00000"/>
                </a:solidFill>
              </a:rPr>
              <a:t> </a:t>
            </a:r>
            <a:r>
              <a:rPr lang="en-US" sz="2000" b="1" i="1" dirty="0" err="1">
                <a:solidFill>
                  <a:srgbClr val="C00000"/>
                </a:solidFill>
              </a:rPr>
              <a:t>baik</a:t>
            </a:r>
            <a:r>
              <a:rPr lang="en-US" sz="2000" b="1" i="1" dirty="0">
                <a:solidFill>
                  <a:srgbClr val="C00000"/>
                </a:solidFill>
              </a:rPr>
              <a:t> di </a:t>
            </a:r>
            <a:r>
              <a:rPr lang="en-US" sz="2000" b="1" i="1" dirty="0" err="1">
                <a:solidFill>
                  <a:srgbClr val="C00000"/>
                </a:solidFill>
              </a:rPr>
              <a:t>kementrian</a:t>
            </a:r>
            <a:r>
              <a:rPr lang="en-US" sz="2000" b="1" i="1" dirty="0">
                <a:solidFill>
                  <a:srgbClr val="C00000"/>
                </a:solidFill>
              </a:rPr>
              <a:t>/</a:t>
            </a:r>
            <a:r>
              <a:rPr lang="en-US" sz="2000" b="1" i="1" dirty="0" err="1">
                <a:solidFill>
                  <a:srgbClr val="C00000"/>
                </a:solidFill>
              </a:rPr>
              <a:t>lembaga</a:t>
            </a:r>
            <a:r>
              <a:rPr lang="en-US" sz="2000" b="1" i="1" dirty="0">
                <a:solidFill>
                  <a:srgbClr val="C00000"/>
                </a:solidFill>
              </a:rPr>
              <a:t> </a:t>
            </a:r>
            <a:r>
              <a:rPr lang="en-US" sz="2000" b="1" i="1" dirty="0" err="1">
                <a:solidFill>
                  <a:srgbClr val="C00000"/>
                </a:solidFill>
              </a:rPr>
              <a:t>dan</a:t>
            </a:r>
            <a:r>
              <a:rPr lang="en-US" sz="2000" b="1" i="1" dirty="0">
                <a:solidFill>
                  <a:srgbClr val="C00000"/>
                </a:solidFill>
              </a:rPr>
              <a:t> </a:t>
            </a:r>
            <a:r>
              <a:rPr lang="en-US" sz="2000" b="1" i="1" dirty="0" err="1">
                <a:solidFill>
                  <a:srgbClr val="C00000"/>
                </a:solidFill>
              </a:rPr>
              <a:t>untuk</a:t>
            </a:r>
            <a:r>
              <a:rPr lang="en-US" sz="2000" b="1" i="1" dirty="0">
                <a:solidFill>
                  <a:srgbClr val="C00000"/>
                </a:solidFill>
              </a:rPr>
              <a:t> </a:t>
            </a:r>
            <a:r>
              <a:rPr lang="en-US" sz="2000" b="1" i="1" dirty="0" err="1">
                <a:solidFill>
                  <a:srgbClr val="C00000"/>
                </a:solidFill>
              </a:rPr>
              <a:t>implementasi</a:t>
            </a:r>
            <a:r>
              <a:rPr lang="en-US" sz="2000" b="1" i="1" dirty="0">
                <a:solidFill>
                  <a:srgbClr val="C00000"/>
                </a:solidFill>
              </a:rPr>
              <a:t> </a:t>
            </a:r>
            <a:r>
              <a:rPr lang="en-US" sz="2000" b="1" i="1" dirty="0" err="1">
                <a:solidFill>
                  <a:srgbClr val="C00000"/>
                </a:solidFill>
              </a:rPr>
              <a:t>proyek-proyek</a:t>
            </a:r>
            <a:r>
              <a:rPr lang="en-US" sz="2000" b="1" i="1" dirty="0">
                <a:solidFill>
                  <a:srgbClr val="C00000"/>
                </a:solidFill>
              </a:rPr>
              <a:t> </a:t>
            </a:r>
            <a:r>
              <a:rPr lang="en-US" sz="2000" b="1" i="1" dirty="0" err="1">
                <a:solidFill>
                  <a:srgbClr val="C00000"/>
                </a:solidFill>
              </a:rPr>
              <a:t>infrastruktur</a:t>
            </a:r>
            <a:r>
              <a:rPr lang="en-US" sz="2000" b="1" i="1" dirty="0">
                <a:solidFill>
                  <a:srgbClr val="C00000"/>
                </a:solidFill>
              </a:rPr>
              <a:t> </a:t>
            </a:r>
            <a:r>
              <a:rPr lang="en-US" sz="2000" b="1" i="1" dirty="0" err="1">
                <a:solidFill>
                  <a:srgbClr val="C00000"/>
                </a:solidFill>
              </a:rPr>
              <a:t>menjadi</a:t>
            </a:r>
            <a:r>
              <a:rPr lang="en-US" sz="2000" b="1" i="1" dirty="0">
                <a:solidFill>
                  <a:srgbClr val="C00000"/>
                </a:solidFill>
              </a:rPr>
              <a:t> </a:t>
            </a:r>
            <a:r>
              <a:rPr lang="en-US" sz="2000" b="1" i="1" dirty="0" err="1">
                <a:solidFill>
                  <a:srgbClr val="C00000"/>
                </a:solidFill>
              </a:rPr>
              <a:t>kunci</a:t>
            </a:r>
            <a:r>
              <a:rPr lang="en-US" sz="2000" b="1" i="1" dirty="0">
                <a:solidFill>
                  <a:srgbClr val="C00000"/>
                </a:solidFill>
              </a:rPr>
              <a:t> </a:t>
            </a:r>
            <a:r>
              <a:rPr lang="en-US" sz="2000" b="1" i="1" dirty="0" err="1">
                <a:solidFill>
                  <a:srgbClr val="C00000"/>
                </a:solidFill>
              </a:rPr>
              <a:t>dalam</a:t>
            </a:r>
            <a:r>
              <a:rPr lang="en-US" sz="2000" b="1" i="1" dirty="0">
                <a:solidFill>
                  <a:srgbClr val="C00000"/>
                </a:solidFill>
              </a:rPr>
              <a:t> </a:t>
            </a:r>
            <a:r>
              <a:rPr lang="en-US" sz="2000" b="1" i="1" dirty="0" err="1">
                <a:solidFill>
                  <a:srgbClr val="C00000"/>
                </a:solidFill>
              </a:rPr>
              <a:t>mendorong</a:t>
            </a:r>
            <a:r>
              <a:rPr lang="en-US" sz="2000" b="1" i="1" dirty="0">
                <a:solidFill>
                  <a:srgbClr val="C00000"/>
                </a:solidFill>
              </a:rPr>
              <a:t> </a:t>
            </a:r>
            <a:r>
              <a:rPr lang="en-US" sz="2000" b="1" i="1" dirty="0" err="1">
                <a:solidFill>
                  <a:srgbClr val="C00000"/>
                </a:solidFill>
              </a:rPr>
              <a:t>pertumbuhan</a:t>
            </a:r>
            <a:r>
              <a:rPr lang="en-US" sz="2000" b="1" i="1" dirty="0">
                <a:solidFill>
                  <a:srgbClr val="C00000"/>
                </a:solidFill>
              </a:rPr>
              <a:t> </a:t>
            </a:r>
            <a:r>
              <a:rPr lang="en-US" sz="2000" b="1" i="1" dirty="0" err="1">
                <a:solidFill>
                  <a:srgbClr val="C00000"/>
                </a:solidFill>
              </a:rPr>
              <a:t>ekonomi</a:t>
            </a:r>
            <a:r>
              <a:rPr lang="en-US" sz="2000" b="1" i="1" dirty="0">
                <a:solidFill>
                  <a:srgbClr val="C00000"/>
                </a:solidFill>
              </a:rPr>
              <a:t> </a:t>
            </a:r>
            <a:r>
              <a:rPr lang="en-US" sz="2000" b="1" i="1" dirty="0" smtClean="0">
                <a:solidFill>
                  <a:srgbClr val="C00000"/>
                </a:solidFill>
              </a:rPr>
              <a:t>2015. </a:t>
            </a:r>
            <a:endParaRPr lang="id-ID" sz="2000" b="1" i="1" dirty="0">
              <a:solidFill>
                <a:srgbClr val="C00000"/>
              </a:solidFill>
            </a:endParaRPr>
          </a:p>
        </p:txBody>
      </p:sp>
      <p:graphicFrame>
        <p:nvGraphicFramePr>
          <p:cNvPr id="4" name="Diagram 3"/>
          <p:cNvGraphicFramePr/>
          <p:nvPr>
            <p:extLst>
              <p:ext uri="{D42A27DB-BD31-4B8C-83A1-F6EECF244321}">
                <p14:modId xmlns:p14="http://schemas.microsoft.com/office/powerpoint/2010/main" val="3330354258"/>
              </p:ext>
            </p:extLst>
          </p:nvPr>
        </p:nvGraphicFramePr>
        <p:xfrm>
          <a:off x="1752600" y="2071509"/>
          <a:ext cx="5791200" cy="44054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790542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noChangeArrowheads="1"/>
          </p:cNvPicPr>
          <p:nvPr/>
        </p:nvPicPr>
        <p:blipFill rotWithShape="1">
          <a:blip r:embed="rId3">
            <a:extLst>
              <a:ext uri="{28A0092B-C50C-407E-A947-70E740481C1C}">
                <a14:useLocalDpi xmlns:a14="http://schemas.microsoft.com/office/drawing/2010/main" val="0"/>
              </a:ext>
            </a:extLst>
          </a:blip>
          <a:srcRect l="1169" t="15841" r="1532" b="14407"/>
          <a:stretch/>
        </p:blipFill>
        <p:spPr bwMode="auto">
          <a:xfrm>
            <a:off x="9874" y="1104901"/>
            <a:ext cx="9148397" cy="4681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2"/>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81" y="4339172"/>
            <a:ext cx="1941342"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3730" name="Title 1"/>
          <p:cNvSpPr>
            <a:spLocks noGrp="1"/>
          </p:cNvSpPr>
          <p:nvPr>
            <p:ph type="title"/>
          </p:nvPr>
        </p:nvSpPr>
        <p:spPr>
          <a:xfrm>
            <a:off x="625448" y="152400"/>
            <a:ext cx="8232832" cy="500066"/>
          </a:xfrm>
        </p:spPr>
        <p:txBody>
          <a:bodyPr/>
          <a:lstStyle/>
          <a:p>
            <a:r>
              <a:rPr lang="id-ID" altLang="id-ID" dirty="0" smtClean="0"/>
              <a:t>PDRB</a:t>
            </a:r>
          </a:p>
        </p:txBody>
      </p:sp>
      <p:sp>
        <p:nvSpPr>
          <p:cNvPr id="8" name="TextBox 7"/>
          <p:cNvSpPr txBox="1"/>
          <p:nvPr/>
        </p:nvSpPr>
        <p:spPr>
          <a:xfrm>
            <a:off x="1466" y="796926"/>
            <a:ext cx="9144000" cy="307975"/>
          </a:xfrm>
          <a:prstGeom prst="rect">
            <a:avLst/>
          </a:prstGeom>
          <a:solidFill>
            <a:schemeClr val="tx2"/>
          </a:solidFill>
          <a:ln>
            <a:noFill/>
          </a:ln>
          <a:extLst/>
        </p:spPr>
        <p:style>
          <a:lnRef idx="1">
            <a:schemeClr val="accent1"/>
          </a:lnRef>
          <a:fillRef idx="3">
            <a:schemeClr val="accent1"/>
          </a:fillRef>
          <a:effectRef idx="2">
            <a:schemeClr val="accent1"/>
          </a:effectRef>
          <a:fontRef idx="minor">
            <a:schemeClr val="lt1"/>
          </a:fontRef>
        </p:style>
        <p:txBody>
          <a:bodyPr>
            <a:spAutoFit/>
          </a:bodyPr>
          <a:lstStyle>
            <a:defPPr>
              <a:defRPr lang="id-ID"/>
            </a:defPPr>
            <a:lvl1pPr algn="ctr">
              <a:defRPr sz="1400" b="1">
                <a:solidFill>
                  <a:srgbClr val="FFFFFF"/>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0" hangingPunct="0">
              <a:defRPr/>
            </a:pPr>
            <a:r>
              <a:rPr lang="en-US" dirty="0" smtClean="0"/>
              <a:t>P</a:t>
            </a:r>
            <a:r>
              <a:rPr lang="id-ID" dirty="0" smtClean="0"/>
              <a:t>ertumbuhan Ekonomi Daerah – 2</a:t>
            </a:r>
            <a:r>
              <a:rPr lang="en-US" dirty="0" smtClean="0"/>
              <a:t>Q15 </a:t>
            </a:r>
            <a:r>
              <a:rPr lang="id-ID" dirty="0" smtClean="0"/>
              <a:t>(%,yoy)</a:t>
            </a:r>
            <a:endParaRPr lang="en-US" dirty="0"/>
          </a:p>
        </p:txBody>
      </p:sp>
      <p:sp>
        <p:nvSpPr>
          <p:cNvPr id="73767" name="Content Placeholder 7"/>
          <p:cNvSpPr txBox="1">
            <a:spLocks/>
          </p:cNvSpPr>
          <p:nvPr/>
        </p:nvSpPr>
        <p:spPr bwMode="auto">
          <a:xfrm>
            <a:off x="-63981" y="0"/>
            <a:ext cx="91440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eaLnBrk="1" hangingPunct="1">
              <a:spcAft>
                <a:spcPts val="600"/>
              </a:spcAft>
              <a:buFont typeface="Arial" pitchFamily="34" charset="0"/>
              <a:buNone/>
            </a:pPr>
            <a:r>
              <a:rPr lang="en-US" altLang="id-ID" sz="2000" b="1" dirty="0">
                <a:solidFill>
                  <a:srgbClr val="C00000"/>
                </a:solidFill>
                <a:latin typeface="Calibri" pitchFamily="34" charset="0"/>
              </a:rPr>
              <a:t>P</a:t>
            </a:r>
            <a:r>
              <a:rPr lang="id-ID" altLang="id-ID" sz="2000" b="1" dirty="0">
                <a:solidFill>
                  <a:srgbClr val="C00000"/>
                </a:solidFill>
                <a:latin typeface="Calibri" pitchFamily="34" charset="0"/>
              </a:rPr>
              <a:t>ertumbuhan ekonomi yang lebih rendah terjadi pada provinsi berbasis komoditas...</a:t>
            </a:r>
          </a:p>
        </p:txBody>
      </p:sp>
      <p:sp>
        <p:nvSpPr>
          <p:cNvPr id="19" name="TextBox 22"/>
          <p:cNvSpPr txBox="1"/>
          <p:nvPr/>
        </p:nvSpPr>
        <p:spPr>
          <a:xfrm>
            <a:off x="140853" y="4350339"/>
            <a:ext cx="157637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sz="1200" b="1" dirty="0">
                <a:solidFill>
                  <a:prstClr val="black"/>
                </a:solidFill>
                <a:cs typeface="Arial" charset="0"/>
              </a:rPr>
              <a:t>SUMATERA</a:t>
            </a:r>
          </a:p>
        </p:txBody>
      </p:sp>
      <p:sp>
        <p:nvSpPr>
          <p:cNvPr id="20" name="TextBox 23"/>
          <p:cNvSpPr txBox="1"/>
          <p:nvPr/>
        </p:nvSpPr>
        <p:spPr>
          <a:xfrm>
            <a:off x="1702684" y="5284536"/>
            <a:ext cx="1534739"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sz="1200" b="1" dirty="0">
                <a:solidFill>
                  <a:prstClr val="black"/>
                </a:solidFill>
                <a:cs typeface="Arial" charset="0"/>
              </a:rPr>
              <a:t>JAWA</a:t>
            </a:r>
          </a:p>
        </p:txBody>
      </p:sp>
      <p:sp>
        <p:nvSpPr>
          <p:cNvPr id="21" name="TextBox 24"/>
          <p:cNvSpPr txBox="1"/>
          <p:nvPr/>
        </p:nvSpPr>
        <p:spPr>
          <a:xfrm>
            <a:off x="5176931" y="1230913"/>
            <a:ext cx="169198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sz="1200" b="1" dirty="0">
                <a:solidFill>
                  <a:prstClr val="black"/>
                </a:solidFill>
                <a:cs typeface="Arial" charset="0"/>
              </a:rPr>
              <a:t>KALIMANTAN</a:t>
            </a:r>
          </a:p>
        </p:txBody>
      </p:sp>
      <p:sp>
        <p:nvSpPr>
          <p:cNvPr id="22" name="TextBox 25"/>
          <p:cNvSpPr txBox="1"/>
          <p:nvPr/>
        </p:nvSpPr>
        <p:spPr>
          <a:xfrm>
            <a:off x="6421463" y="5178925"/>
            <a:ext cx="1786285"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fontAlgn="base" hangingPunct="0">
              <a:spcBef>
                <a:spcPct val="0"/>
              </a:spcBef>
              <a:spcAft>
                <a:spcPct val="0"/>
              </a:spcAft>
            </a:pPr>
            <a:r>
              <a:rPr lang="en-US" sz="1200" b="1" dirty="0" smtClean="0">
                <a:solidFill>
                  <a:prstClr val="black"/>
                </a:solidFill>
                <a:cs typeface="Arial" charset="0"/>
              </a:rPr>
              <a:t>KTI</a:t>
            </a:r>
            <a:endParaRPr lang="en-US" sz="1200" b="1" dirty="0">
              <a:solidFill>
                <a:prstClr val="black"/>
              </a:solidFill>
              <a:cs typeface="Arial" charset="0"/>
            </a:endParaRPr>
          </a:p>
        </p:txBody>
      </p:sp>
      <p:pic>
        <p:nvPicPr>
          <p:cNvPr id="24" name="Picture 23"/>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02005" y="5498220"/>
            <a:ext cx="1941342"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4"/>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00130" y="1263720"/>
            <a:ext cx="1941342"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5"/>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21463" y="5438423"/>
            <a:ext cx="1941342"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2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78356" y="1099453"/>
            <a:ext cx="1818640" cy="1081650"/>
          </a:xfrm>
          <a:prstGeom prst="rect">
            <a:avLst/>
          </a:prstGeom>
          <a:noFill/>
          <a:ln w="9525">
            <a:noFill/>
            <a:miter lim="800000"/>
            <a:headEnd/>
            <a:tailEnd/>
          </a:ln>
          <a:effectLst/>
        </p:spPr>
      </p:pic>
      <p:sp>
        <p:nvSpPr>
          <p:cNvPr id="28" name="Rectangle 27"/>
          <p:cNvSpPr/>
          <p:nvPr/>
        </p:nvSpPr>
        <p:spPr>
          <a:xfrm>
            <a:off x="7292909" y="2223840"/>
            <a:ext cx="422031" cy="137160"/>
          </a:xfrm>
          <a:prstGeom prst="rect">
            <a:avLst/>
          </a:prstGeom>
          <a:solidFill>
            <a:srgbClr val="DE2D26"/>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9" name="TextBox 28"/>
          <p:cNvSpPr txBox="1"/>
          <p:nvPr/>
        </p:nvSpPr>
        <p:spPr>
          <a:xfrm>
            <a:off x="7744018" y="2148125"/>
            <a:ext cx="1252255" cy="276999"/>
          </a:xfrm>
          <a:prstGeom prst="rect">
            <a:avLst/>
          </a:prstGeom>
          <a:solidFill>
            <a:schemeClr val="bg1"/>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err="1" smtClean="0">
                <a:latin typeface="+mj-lt"/>
                <a:cs typeface="Times New Roman" pitchFamily="18" charset="0"/>
              </a:rPr>
              <a:t>gPDRB</a:t>
            </a:r>
            <a:r>
              <a:rPr lang="en-US" sz="1200" b="1" dirty="0" smtClean="0">
                <a:latin typeface="+mj-lt"/>
                <a:cs typeface="Times New Roman" pitchFamily="18" charset="0"/>
              </a:rPr>
              <a:t> </a:t>
            </a:r>
            <a:r>
              <a:rPr lang="en-US" sz="1200" b="1" dirty="0" err="1" smtClean="0">
                <a:latin typeface="+mj-lt"/>
                <a:cs typeface="Times New Roman" pitchFamily="18" charset="0"/>
              </a:rPr>
              <a:t>negatif</a:t>
            </a:r>
            <a:endParaRPr lang="en-US" sz="1200" b="1" dirty="0">
              <a:latin typeface="+mj-lt"/>
              <a:cs typeface="Times New Roman" pitchFamily="18" charset="0"/>
            </a:endParaRPr>
          </a:p>
        </p:txBody>
      </p:sp>
      <p:sp>
        <p:nvSpPr>
          <p:cNvPr id="30" name="Text Box 17"/>
          <p:cNvSpPr txBox="1"/>
          <p:nvPr/>
        </p:nvSpPr>
        <p:spPr>
          <a:xfrm>
            <a:off x="1951216" y="1185313"/>
            <a:ext cx="1214306" cy="368198"/>
          </a:xfrm>
          <a:prstGeom prst="rect">
            <a:avLst/>
          </a:prstGeom>
          <a:solidFill>
            <a:srgbClr val="FFC000"/>
          </a:solidFill>
          <a:ln>
            <a:solidFill>
              <a:schemeClr val="tx1">
                <a:lumMod val="65000"/>
                <a:lumOff val="35000"/>
              </a:schemeClr>
            </a:solidFill>
          </a:ln>
          <a:effectLst/>
        </p:spPr>
        <p:style>
          <a:lnRef idx="1">
            <a:schemeClr val="accent5"/>
          </a:lnRef>
          <a:fillRef idx="2">
            <a:schemeClr val="accent5"/>
          </a:fillRef>
          <a:effectRef idx="1">
            <a:schemeClr val="accent5"/>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eaLnBrk="0" fontAlgn="base" hangingPunct="0">
              <a:spcBef>
                <a:spcPct val="0"/>
              </a:spcBef>
              <a:spcAft>
                <a:spcPts val="200"/>
              </a:spcAft>
            </a:pPr>
            <a:r>
              <a:rPr lang="en-US" sz="1600" b="1" dirty="0" smtClean="0">
                <a:solidFill>
                  <a:schemeClr val="tx1"/>
                </a:solidFill>
                <a:latin typeface="Calibri" pitchFamily="34" charset="0"/>
                <a:ea typeface="Calibri"/>
                <a:cs typeface="Calibri" pitchFamily="34" charset="0"/>
              </a:rPr>
              <a:t>PDB: 4,67%</a:t>
            </a:r>
          </a:p>
        </p:txBody>
      </p:sp>
      <p:graphicFrame>
        <p:nvGraphicFramePr>
          <p:cNvPr id="31" name="Table 30"/>
          <p:cNvGraphicFramePr>
            <a:graphicFrameLocks noGrp="1"/>
          </p:cNvGraphicFramePr>
          <p:nvPr>
            <p:extLst>
              <p:ext uri="{D42A27DB-BD31-4B8C-83A1-F6EECF244321}">
                <p14:modId xmlns:p14="http://schemas.microsoft.com/office/powerpoint/2010/main" val="640032255"/>
              </p:ext>
            </p:extLst>
          </p:nvPr>
        </p:nvGraphicFramePr>
        <p:xfrm>
          <a:off x="3730108" y="5566017"/>
          <a:ext cx="1446824" cy="1108710"/>
        </p:xfrm>
        <a:graphic>
          <a:graphicData uri="http://schemas.openxmlformats.org/drawingml/2006/table">
            <a:tbl>
              <a:tblPr>
                <a:tableStyleId>{5C22544A-7EE6-4342-B048-85BDC9FD1C3A}</a:tableStyleId>
              </a:tblPr>
              <a:tblGrid>
                <a:gridCol w="665285"/>
                <a:gridCol w="781539"/>
              </a:tblGrid>
              <a:tr h="105938">
                <a:tc>
                  <a:txBody>
                    <a:bodyPr/>
                    <a:lstStyle/>
                    <a:p>
                      <a:pPr algn="ctr" fontAlgn="b"/>
                      <a:r>
                        <a:rPr lang="id-ID" sz="1200" b="1" u="none" strike="noStrike" dirty="0" smtClean="0">
                          <a:effectLst/>
                        </a:rPr>
                        <a:t>Region</a:t>
                      </a:r>
                      <a:endParaRPr lang="id-ID" sz="1200" b="1" i="0" u="none" strike="noStrike" dirty="0">
                        <a:solidFill>
                          <a:srgbClr val="000000"/>
                        </a:solidFill>
                        <a:effectLst/>
                        <a:latin typeface="Calibri"/>
                      </a:endParaRPr>
                    </a:p>
                  </a:txBody>
                  <a:tcPr marL="8792" marR="8792" marT="9525" marB="0" anchor="b">
                    <a:solidFill>
                      <a:schemeClr val="accent2">
                        <a:lumMod val="60000"/>
                        <a:lumOff val="40000"/>
                      </a:schemeClr>
                    </a:solidFill>
                  </a:tcPr>
                </a:tc>
                <a:tc>
                  <a:txBody>
                    <a:bodyPr/>
                    <a:lstStyle/>
                    <a:p>
                      <a:pPr algn="ctr" fontAlgn="b"/>
                      <a:r>
                        <a:rPr lang="id-ID" sz="1200" b="1" u="none" strike="noStrike" dirty="0" smtClean="0">
                          <a:effectLst/>
                        </a:rPr>
                        <a:t>Weight(%)</a:t>
                      </a:r>
                      <a:endParaRPr lang="id-ID" sz="1200" b="1" i="0" u="none" strike="noStrike" dirty="0">
                        <a:solidFill>
                          <a:srgbClr val="000000"/>
                        </a:solidFill>
                        <a:effectLst/>
                        <a:latin typeface="Calibri"/>
                      </a:endParaRPr>
                    </a:p>
                  </a:txBody>
                  <a:tcPr marL="8792" marR="8792" marT="9525" marB="0" anchor="b">
                    <a:solidFill>
                      <a:schemeClr val="accent2">
                        <a:lumMod val="60000"/>
                        <a:lumOff val="40000"/>
                      </a:schemeClr>
                    </a:solidFill>
                  </a:tcPr>
                </a:tc>
              </a:tr>
              <a:tr h="190500">
                <a:tc>
                  <a:txBody>
                    <a:bodyPr/>
                    <a:lstStyle/>
                    <a:p>
                      <a:pPr algn="ctr" fontAlgn="b"/>
                      <a:r>
                        <a:rPr lang="id-ID" sz="1100" b="1" u="none" strike="noStrike" dirty="0">
                          <a:effectLst/>
                        </a:rPr>
                        <a:t>Sumatera</a:t>
                      </a:r>
                      <a:endParaRPr lang="id-ID" sz="1100" b="1" i="0" u="none" strike="noStrike" dirty="0">
                        <a:solidFill>
                          <a:srgbClr val="000000"/>
                        </a:solidFill>
                        <a:effectLst/>
                        <a:latin typeface="Arial"/>
                      </a:endParaRPr>
                    </a:p>
                  </a:txBody>
                  <a:tcPr marL="8792" marR="8792" marT="9525" marB="0" anchor="b"/>
                </a:tc>
                <a:tc>
                  <a:txBody>
                    <a:bodyPr/>
                    <a:lstStyle/>
                    <a:p>
                      <a:pPr algn="ctr" fontAlgn="b"/>
                      <a:r>
                        <a:rPr lang="id-ID" sz="1100" b="1" u="none" strike="noStrike" dirty="0">
                          <a:effectLst/>
                        </a:rPr>
                        <a:t>22%</a:t>
                      </a:r>
                      <a:endParaRPr lang="id-ID" sz="1100" b="1" i="0" u="none" strike="noStrike" dirty="0">
                        <a:solidFill>
                          <a:srgbClr val="000000"/>
                        </a:solidFill>
                        <a:effectLst/>
                        <a:latin typeface="Arial"/>
                      </a:endParaRPr>
                    </a:p>
                  </a:txBody>
                  <a:tcPr marL="8792" marR="8792" marT="9525" marB="0" anchor="b"/>
                </a:tc>
              </a:tr>
              <a:tr h="190500">
                <a:tc>
                  <a:txBody>
                    <a:bodyPr/>
                    <a:lstStyle/>
                    <a:p>
                      <a:pPr algn="ctr" fontAlgn="b"/>
                      <a:r>
                        <a:rPr lang="id-ID" sz="1100" b="1" u="none" strike="noStrike" dirty="0">
                          <a:effectLst/>
                        </a:rPr>
                        <a:t>Jawa</a:t>
                      </a:r>
                      <a:endParaRPr lang="id-ID" sz="1100" b="1" i="0" u="none" strike="noStrike" dirty="0">
                        <a:solidFill>
                          <a:srgbClr val="000000"/>
                        </a:solidFill>
                        <a:effectLst/>
                        <a:latin typeface="Arial"/>
                      </a:endParaRPr>
                    </a:p>
                  </a:txBody>
                  <a:tcPr marL="8792" marR="8792" marT="9525" marB="0" anchor="b"/>
                </a:tc>
                <a:tc>
                  <a:txBody>
                    <a:bodyPr/>
                    <a:lstStyle/>
                    <a:p>
                      <a:pPr algn="ctr" fontAlgn="b"/>
                      <a:r>
                        <a:rPr lang="id-ID" sz="1100" b="1" u="none" strike="noStrike">
                          <a:effectLst/>
                        </a:rPr>
                        <a:t>58%</a:t>
                      </a:r>
                      <a:endParaRPr lang="id-ID" sz="1100" b="1" i="0" u="none" strike="noStrike">
                        <a:solidFill>
                          <a:srgbClr val="000000"/>
                        </a:solidFill>
                        <a:effectLst/>
                        <a:latin typeface="Arial"/>
                      </a:endParaRPr>
                    </a:p>
                  </a:txBody>
                  <a:tcPr marL="8792" marR="8792" marT="9525" marB="0" anchor="b"/>
                </a:tc>
              </a:tr>
              <a:tr h="197781">
                <a:tc>
                  <a:txBody>
                    <a:bodyPr/>
                    <a:lstStyle/>
                    <a:p>
                      <a:pPr algn="ctr" fontAlgn="b"/>
                      <a:r>
                        <a:rPr lang="id-ID" sz="1100" b="1" u="none" strike="noStrike" dirty="0">
                          <a:effectLst/>
                        </a:rPr>
                        <a:t>Kalimantan</a:t>
                      </a:r>
                      <a:endParaRPr lang="id-ID" sz="1100" b="1" i="0" u="none" strike="noStrike" dirty="0">
                        <a:solidFill>
                          <a:srgbClr val="000000"/>
                        </a:solidFill>
                        <a:effectLst/>
                        <a:latin typeface="Arial"/>
                      </a:endParaRPr>
                    </a:p>
                  </a:txBody>
                  <a:tcPr marL="8792" marR="8792" marT="9525" marB="0" anchor="b"/>
                </a:tc>
                <a:tc>
                  <a:txBody>
                    <a:bodyPr/>
                    <a:lstStyle/>
                    <a:p>
                      <a:pPr algn="ctr" fontAlgn="b"/>
                      <a:r>
                        <a:rPr lang="id-ID" sz="1100" b="1" u="none" strike="noStrike" dirty="0">
                          <a:effectLst/>
                        </a:rPr>
                        <a:t>9%</a:t>
                      </a:r>
                      <a:endParaRPr lang="id-ID" sz="1100" b="1" i="0" u="none" strike="noStrike" dirty="0">
                        <a:solidFill>
                          <a:srgbClr val="000000"/>
                        </a:solidFill>
                        <a:effectLst/>
                        <a:latin typeface="Arial"/>
                      </a:endParaRPr>
                    </a:p>
                  </a:txBody>
                  <a:tcPr marL="8792" marR="8792" marT="9525" marB="0" anchor="b"/>
                </a:tc>
              </a:tr>
              <a:tr h="190500">
                <a:tc>
                  <a:txBody>
                    <a:bodyPr/>
                    <a:lstStyle/>
                    <a:p>
                      <a:pPr algn="ctr" fontAlgn="b"/>
                      <a:r>
                        <a:rPr lang="id-ID" sz="1100" b="1" u="none" strike="noStrike">
                          <a:effectLst/>
                        </a:rPr>
                        <a:t>KTI</a:t>
                      </a:r>
                      <a:endParaRPr lang="id-ID" sz="1100" b="1" i="0" u="none" strike="noStrike">
                        <a:solidFill>
                          <a:srgbClr val="000000"/>
                        </a:solidFill>
                        <a:effectLst/>
                        <a:latin typeface="Arial"/>
                      </a:endParaRPr>
                    </a:p>
                  </a:txBody>
                  <a:tcPr marL="8792" marR="8792" marT="9525" marB="0" anchor="b"/>
                </a:tc>
                <a:tc>
                  <a:txBody>
                    <a:bodyPr/>
                    <a:lstStyle/>
                    <a:p>
                      <a:pPr algn="ctr" fontAlgn="b"/>
                      <a:r>
                        <a:rPr lang="id-ID" sz="1100" b="1" u="none" strike="noStrike" dirty="0">
                          <a:effectLst/>
                        </a:rPr>
                        <a:t>11%</a:t>
                      </a:r>
                      <a:endParaRPr lang="id-ID" sz="1100" b="1" i="0" u="none" strike="noStrike" dirty="0">
                        <a:solidFill>
                          <a:srgbClr val="000000"/>
                        </a:solidFill>
                        <a:effectLst/>
                        <a:latin typeface="Arial"/>
                      </a:endParaRPr>
                    </a:p>
                  </a:txBody>
                  <a:tcPr marL="8792" marR="8792" marT="9525" marB="0" anchor="b"/>
                </a:tc>
              </a:tr>
            </a:tbl>
          </a:graphicData>
        </a:graphic>
      </p:graphicFrame>
    </p:spTree>
    <p:extLst>
      <p:ext uri="{BB962C8B-B14F-4D97-AF65-F5344CB8AC3E}">
        <p14:creationId xmlns:p14="http://schemas.microsoft.com/office/powerpoint/2010/main" val="2975222474"/>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6" y="19050"/>
            <a:ext cx="8229601" cy="433388"/>
          </a:xfrm>
        </p:spPr>
        <p:txBody>
          <a:bodyPr/>
          <a:lstStyle/>
          <a:p>
            <a:pPr>
              <a:defRPr/>
            </a:pPr>
            <a:r>
              <a:rPr lang="id-ID" sz="2400" dirty="0" smtClean="0">
                <a:ea typeface="+mn-ea"/>
                <a:cs typeface="+mn-cs"/>
              </a:rPr>
              <a:t>Rencana Pembangunan dan Investasi Infrastruktur</a:t>
            </a:r>
            <a:endParaRPr lang="id-ID" sz="2400" dirty="0">
              <a:ea typeface="+mn-ea"/>
              <a:cs typeface="+mn-cs"/>
            </a:endParaRPr>
          </a:p>
        </p:txBody>
      </p:sp>
      <p:pic>
        <p:nvPicPr>
          <p:cNvPr id="129027" name="Picture 2" descr="I:\BAYU\MY_OFFICE\GKM\DATA\PEMERINTAH\MP3EI\Infrastruktur\Infrastructure_2_biru_keci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39738"/>
            <a:ext cx="9157189" cy="628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p:cNvSpPr txBox="1">
            <a:spLocks noChangeArrowheads="1"/>
          </p:cNvSpPr>
          <p:nvPr/>
        </p:nvSpPr>
        <p:spPr bwMode="auto">
          <a:xfrm>
            <a:off x="8610600" y="11112"/>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4C2A5E94-9EFF-4E39-BDD2-58BA34999F07}" type="slidenum">
              <a:rPr lang="en-US" altLang="id-ID" sz="1800" b="1" smtClean="0">
                <a:solidFill>
                  <a:schemeClr val="bg1"/>
                </a:solidFill>
                <a:cs typeface="Arial" pitchFamily="34" charset="0"/>
              </a:rPr>
              <a:pPr eaLnBrk="1" hangingPunct="1">
                <a:defRPr/>
              </a:pPr>
              <a:t>43</a:t>
            </a:fld>
            <a:endParaRPr lang="en-US" altLang="id-ID" sz="1800" b="1" dirty="0" smtClean="0">
              <a:solidFill>
                <a:schemeClr val="bg1"/>
              </a:solidFill>
              <a:cs typeface="Arial" pitchFamily="34" charset="0"/>
            </a:endParaRPr>
          </a:p>
        </p:txBody>
      </p:sp>
    </p:spTree>
    <p:extLst>
      <p:ext uri="{BB962C8B-B14F-4D97-AF65-F5344CB8AC3E}">
        <p14:creationId xmlns:p14="http://schemas.microsoft.com/office/powerpoint/2010/main" val="3689054817"/>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604739" y="5827713"/>
            <a:ext cx="501162" cy="45085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id-ID">
              <a:solidFill>
                <a:schemeClr val="tx1"/>
              </a:solidFill>
            </a:endParaRPr>
          </a:p>
        </p:txBody>
      </p:sp>
      <p:pic>
        <p:nvPicPr>
          <p:cNvPr id="1024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67" y="433315"/>
            <a:ext cx="9089433" cy="6516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1" name="Title 1"/>
          <p:cNvSpPr>
            <a:spLocks noGrp="1"/>
          </p:cNvSpPr>
          <p:nvPr>
            <p:ph type="title"/>
          </p:nvPr>
        </p:nvSpPr>
        <p:spPr>
          <a:xfrm>
            <a:off x="-4396" y="19050"/>
            <a:ext cx="8229601" cy="433388"/>
          </a:xfrm>
        </p:spPr>
        <p:txBody>
          <a:bodyPr/>
          <a:lstStyle/>
          <a:p>
            <a:pPr>
              <a:defRPr/>
            </a:pPr>
            <a:r>
              <a:rPr lang="id-ID" sz="3200" dirty="0" smtClean="0">
                <a:ea typeface="+mn-ea"/>
                <a:cs typeface="+mn-cs"/>
              </a:rPr>
              <a:t>Monitoring Proyek Infrastruktur Prioritas</a:t>
            </a:r>
            <a:endParaRPr lang="id-ID" sz="3200" dirty="0">
              <a:ea typeface="+mn-ea"/>
              <a:cs typeface="+mn-cs"/>
            </a:endParaRPr>
          </a:p>
        </p:txBody>
      </p:sp>
      <p:sp>
        <p:nvSpPr>
          <p:cNvPr id="5" name="TextBox 4"/>
          <p:cNvSpPr txBox="1">
            <a:spLocks noChangeArrowheads="1"/>
          </p:cNvSpPr>
          <p:nvPr/>
        </p:nvSpPr>
        <p:spPr bwMode="auto">
          <a:xfrm>
            <a:off x="8686800" y="239712"/>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4C2A5E94-9EFF-4E39-BDD2-58BA34999F07}" type="slidenum">
              <a:rPr lang="en-US" altLang="id-ID" sz="1800" b="1" smtClean="0">
                <a:solidFill>
                  <a:schemeClr val="bg1"/>
                </a:solidFill>
                <a:cs typeface="Arial" pitchFamily="34" charset="0"/>
              </a:rPr>
              <a:pPr eaLnBrk="1" hangingPunct="1">
                <a:defRPr/>
              </a:pPr>
              <a:t>44</a:t>
            </a:fld>
            <a:endParaRPr lang="en-US" altLang="id-ID" sz="1800" b="1" dirty="0" smtClean="0">
              <a:solidFill>
                <a:schemeClr val="bg1"/>
              </a:solidFill>
              <a:cs typeface="Arial" pitchFamily="34" charset="0"/>
            </a:endParaRPr>
          </a:p>
        </p:txBody>
      </p:sp>
    </p:spTree>
    <p:extLst>
      <p:ext uri="{BB962C8B-B14F-4D97-AF65-F5344CB8AC3E}">
        <p14:creationId xmlns:p14="http://schemas.microsoft.com/office/powerpoint/2010/main" val="83844855"/>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5" name="Rectangle 1704"/>
          <p:cNvSpPr/>
          <p:nvPr/>
        </p:nvSpPr>
        <p:spPr>
          <a:xfrm>
            <a:off x="6299808" y="1059821"/>
            <a:ext cx="2844192" cy="3152734"/>
          </a:xfrm>
          <a:prstGeom prst="rect">
            <a:avLst/>
          </a:prstGeom>
          <a:solidFill>
            <a:srgbClr val="95B3D7"/>
          </a:solidFill>
          <a:ln>
            <a:solidFill>
              <a:srgbClr val="95B3D7"/>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1704" name="Rectangle 1703"/>
          <p:cNvSpPr/>
          <p:nvPr/>
        </p:nvSpPr>
        <p:spPr>
          <a:xfrm>
            <a:off x="21" y="4111816"/>
            <a:ext cx="9144003" cy="1185383"/>
          </a:xfrm>
          <a:prstGeom prst="rect">
            <a:avLst/>
          </a:prstGeom>
          <a:solidFill>
            <a:schemeClr val="accent1">
              <a:lumMod val="60000"/>
              <a:lumOff val="40000"/>
            </a:schemeClr>
          </a:solidFill>
          <a:ln>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1688" name="Rectangle 1687"/>
          <p:cNvSpPr/>
          <p:nvPr/>
        </p:nvSpPr>
        <p:spPr>
          <a:xfrm>
            <a:off x="21" y="5401746"/>
            <a:ext cx="9144003" cy="1456254"/>
          </a:xfrm>
          <a:prstGeom prst="rect">
            <a:avLst/>
          </a:prstGeom>
          <a:solidFill>
            <a:srgbClr val="56748B">
              <a:alpha val="18000"/>
            </a:srgbClr>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grpSp>
        <p:nvGrpSpPr>
          <p:cNvPr id="3" name="Group 1644"/>
          <p:cNvGrpSpPr/>
          <p:nvPr/>
        </p:nvGrpSpPr>
        <p:grpSpPr>
          <a:xfrm>
            <a:off x="72021" y="935159"/>
            <a:ext cx="6209245" cy="2965919"/>
            <a:chOff x="304800" y="957798"/>
            <a:chExt cx="6347939" cy="3067981"/>
          </a:xfrm>
        </p:grpSpPr>
        <p:grpSp>
          <p:nvGrpSpPr>
            <p:cNvPr id="4" name="Group 804"/>
            <p:cNvGrpSpPr/>
            <p:nvPr/>
          </p:nvGrpSpPr>
          <p:grpSpPr>
            <a:xfrm>
              <a:off x="304800" y="957798"/>
              <a:ext cx="6347939" cy="3067981"/>
              <a:chOff x="381000" y="1036534"/>
              <a:chExt cx="8580765" cy="3992666"/>
            </a:xfrm>
          </p:grpSpPr>
          <p:grpSp>
            <p:nvGrpSpPr>
              <p:cNvPr id="5" name="Group 805"/>
              <p:cNvGrpSpPr/>
              <p:nvPr/>
            </p:nvGrpSpPr>
            <p:grpSpPr>
              <a:xfrm>
                <a:off x="381000" y="1036534"/>
                <a:ext cx="8479716" cy="3992666"/>
                <a:chOff x="2648744" y="1956144"/>
                <a:chExt cx="7257256" cy="3417072"/>
              </a:xfrm>
            </p:grpSpPr>
            <p:sp>
              <p:nvSpPr>
                <p:cNvPr id="885" name="Freeform 9"/>
                <p:cNvSpPr>
                  <a:spLocks/>
                </p:cNvSpPr>
                <p:nvPr>
                  <p:custDataLst>
                    <p:tags r:id="rId1"/>
                  </p:custDataLst>
                </p:nvPr>
              </p:nvSpPr>
              <p:spPr bwMode="gray">
                <a:xfrm>
                  <a:off x="3793884" y="3602565"/>
                  <a:ext cx="593724" cy="627432"/>
                </a:xfrm>
                <a:custGeom>
                  <a:avLst/>
                  <a:gdLst>
                    <a:gd name="T0" fmla="*/ 34 w 59"/>
                    <a:gd name="T1" fmla="*/ 0 h 56"/>
                    <a:gd name="T2" fmla="*/ 23 w 59"/>
                    <a:gd name="T3" fmla="*/ 4 h 56"/>
                    <a:gd name="T4" fmla="*/ 18 w 59"/>
                    <a:gd name="T5" fmla="*/ 6 h 56"/>
                    <a:gd name="T6" fmla="*/ 16 w 59"/>
                    <a:gd name="T7" fmla="*/ 11 h 56"/>
                    <a:gd name="T8" fmla="*/ 13 w 59"/>
                    <a:gd name="T9" fmla="*/ 10 h 56"/>
                    <a:gd name="T10" fmla="*/ 9 w 59"/>
                    <a:gd name="T11" fmla="*/ 13 h 56"/>
                    <a:gd name="T12" fmla="*/ 0 w 59"/>
                    <a:gd name="T13" fmla="*/ 19 h 56"/>
                    <a:gd name="T14" fmla="*/ 0 w 59"/>
                    <a:gd name="T15" fmla="*/ 19 h 56"/>
                    <a:gd name="T16" fmla="*/ 4 w 59"/>
                    <a:gd name="T17" fmla="*/ 25 h 56"/>
                    <a:gd name="T18" fmla="*/ 4 w 59"/>
                    <a:gd name="T19" fmla="*/ 25 h 56"/>
                    <a:gd name="T20" fmla="*/ 8 w 59"/>
                    <a:gd name="T21" fmla="*/ 29 h 56"/>
                    <a:gd name="T22" fmla="*/ 11 w 59"/>
                    <a:gd name="T23" fmla="*/ 32 h 56"/>
                    <a:gd name="T24" fmla="*/ 8 w 59"/>
                    <a:gd name="T25" fmla="*/ 34 h 56"/>
                    <a:gd name="T26" fmla="*/ 8 w 59"/>
                    <a:gd name="T27" fmla="*/ 34 h 56"/>
                    <a:gd name="T28" fmla="*/ 6 w 59"/>
                    <a:gd name="T29" fmla="*/ 36 h 56"/>
                    <a:gd name="T30" fmla="*/ 6 w 59"/>
                    <a:gd name="T31" fmla="*/ 36 h 56"/>
                    <a:gd name="T32" fmla="*/ 11 w 59"/>
                    <a:gd name="T33" fmla="*/ 42 h 56"/>
                    <a:gd name="T34" fmla="*/ 16 w 59"/>
                    <a:gd name="T35" fmla="*/ 44 h 56"/>
                    <a:gd name="T36" fmla="*/ 21 w 59"/>
                    <a:gd name="T37" fmla="*/ 54 h 56"/>
                    <a:gd name="T38" fmla="*/ 32 w 59"/>
                    <a:gd name="T39" fmla="*/ 51 h 56"/>
                    <a:gd name="T40" fmla="*/ 40 w 59"/>
                    <a:gd name="T41" fmla="*/ 41 h 56"/>
                    <a:gd name="T42" fmla="*/ 46 w 59"/>
                    <a:gd name="T43" fmla="*/ 36 h 56"/>
                    <a:gd name="T44" fmla="*/ 49 w 59"/>
                    <a:gd name="T45" fmla="*/ 35 h 56"/>
                    <a:gd name="T46" fmla="*/ 56 w 59"/>
                    <a:gd name="T47" fmla="*/ 40 h 56"/>
                    <a:gd name="T48" fmla="*/ 55 w 59"/>
                    <a:gd name="T49" fmla="*/ 36 h 56"/>
                    <a:gd name="T50" fmla="*/ 58 w 59"/>
                    <a:gd name="T51" fmla="*/ 28 h 56"/>
                    <a:gd name="T52" fmla="*/ 56 w 59"/>
                    <a:gd name="T53" fmla="*/ 23 h 56"/>
                    <a:gd name="T54" fmla="*/ 53 w 59"/>
                    <a:gd name="T55" fmla="*/ 18 h 56"/>
                    <a:gd name="T56" fmla="*/ 47 w 59"/>
                    <a:gd name="T57" fmla="*/ 13 h 56"/>
                    <a:gd name="T58" fmla="*/ 40 w 59"/>
                    <a:gd name="T59" fmla="*/ 12 h 56"/>
                    <a:gd name="T60" fmla="*/ 38 w 59"/>
                    <a:gd name="T61" fmla="*/ 15 h 56"/>
                    <a:gd name="T62" fmla="*/ 36 w 59"/>
                    <a:gd name="T63" fmla="*/ 18 h 56"/>
                    <a:gd name="T64" fmla="*/ 36 w 59"/>
                    <a:gd name="T65" fmla="*/ 13 h 56"/>
                    <a:gd name="T66" fmla="*/ 39 w 59"/>
                    <a:gd name="T67" fmla="*/ 10 h 56"/>
                    <a:gd name="T68" fmla="*/ 37 w 59"/>
                    <a:gd name="T69" fmla="*/ 7 h 56"/>
                    <a:gd name="T70" fmla="*/ 34 w 59"/>
                    <a:gd name="T71" fmla="*/ 4 h 56"/>
                    <a:gd name="T72" fmla="*/ 34 w 59"/>
                    <a:gd name="T73" fmla="*/ 0 h 56"/>
                    <a:gd name="T74" fmla="*/ 34 w 59"/>
                    <a:gd name="T75" fmla="*/ 0 h 56"/>
                    <a:gd name="T76" fmla="*/ 34 w 59"/>
                    <a:gd name="T7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 h="56">
                      <a:moveTo>
                        <a:pt x="34" y="0"/>
                      </a:moveTo>
                      <a:cubicBezTo>
                        <a:pt x="32" y="4"/>
                        <a:pt x="23" y="4"/>
                        <a:pt x="23" y="4"/>
                      </a:cubicBezTo>
                      <a:cubicBezTo>
                        <a:pt x="19" y="2"/>
                        <a:pt x="18" y="6"/>
                        <a:pt x="18" y="6"/>
                      </a:cubicBezTo>
                      <a:cubicBezTo>
                        <a:pt x="18" y="13"/>
                        <a:pt x="16" y="11"/>
                        <a:pt x="16" y="11"/>
                      </a:cubicBezTo>
                      <a:cubicBezTo>
                        <a:pt x="14" y="12"/>
                        <a:pt x="15" y="9"/>
                        <a:pt x="13" y="10"/>
                      </a:cubicBezTo>
                      <a:cubicBezTo>
                        <a:pt x="12" y="9"/>
                        <a:pt x="12" y="11"/>
                        <a:pt x="9" y="13"/>
                      </a:cubicBezTo>
                      <a:cubicBezTo>
                        <a:pt x="5" y="18"/>
                        <a:pt x="0" y="19"/>
                        <a:pt x="0" y="19"/>
                      </a:cubicBezTo>
                      <a:lnTo>
                        <a:pt x="0" y="19"/>
                      </a:lnTo>
                      <a:lnTo>
                        <a:pt x="4" y="25"/>
                      </a:lnTo>
                      <a:lnTo>
                        <a:pt x="4" y="25"/>
                      </a:lnTo>
                      <a:cubicBezTo>
                        <a:pt x="4" y="25"/>
                        <a:pt x="6" y="30"/>
                        <a:pt x="8" y="29"/>
                      </a:cubicBezTo>
                      <a:cubicBezTo>
                        <a:pt x="14" y="28"/>
                        <a:pt x="11" y="32"/>
                        <a:pt x="11" y="32"/>
                      </a:cubicBezTo>
                      <a:cubicBezTo>
                        <a:pt x="11" y="34"/>
                        <a:pt x="8" y="34"/>
                        <a:pt x="8" y="34"/>
                      </a:cubicBezTo>
                      <a:lnTo>
                        <a:pt x="8" y="34"/>
                      </a:lnTo>
                      <a:lnTo>
                        <a:pt x="6" y="36"/>
                      </a:lnTo>
                      <a:lnTo>
                        <a:pt x="6" y="36"/>
                      </a:lnTo>
                      <a:cubicBezTo>
                        <a:pt x="11" y="38"/>
                        <a:pt x="11" y="42"/>
                        <a:pt x="11" y="42"/>
                      </a:cubicBezTo>
                      <a:cubicBezTo>
                        <a:pt x="14" y="41"/>
                        <a:pt x="16" y="44"/>
                        <a:pt x="16" y="44"/>
                      </a:cubicBezTo>
                      <a:cubicBezTo>
                        <a:pt x="21" y="48"/>
                        <a:pt x="21" y="54"/>
                        <a:pt x="21" y="54"/>
                      </a:cubicBezTo>
                      <a:cubicBezTo>
                        <a:pt x="30" y="56"/>
                        <a:pt x="32" y="51"/>
                        <a:pt x="32" y="51"/>
                      </a:cubicBezTo>
                      <a:cubicBezTo>
                        <a:pt x="32" y="51"/>
                        <a:pt x="34" y="43"/>
                        <a:pt x="40" y="41"/>
                      </a:cubicBezTo>
                      <a:cubicBezTo>
                        <a:pt x="43" y="38"/>
                        <a:pt x="45" y="39"/>
                        <a:pt x="46" y="36"/>
                      </a:cubicBezTo>
                      <a:cubicBezTo>
                        <a:pt x="45" y="32"/>
                        <a:pt x="49" y="33"/>
                        <a:pt x="49" y="35"/>
                      </a:cubicBezTo>
                      <a:cubicBezTo>
                        <a:pt x="50" y="40"/>
                        <a:pt x="56" y="40"/>
                        <a:pt x="56" y="40"/>
                      </a:cubicBezTo>
                      <a:cubicBezTo>
                        <a:pt x="58" y="38"/>
                        <a:pt x="55" y="36"/>
                        <a:pt x="55" y="36"/>
                      </a:cubicBezTo>
                      <a:cubicBezTo>
                        <a:pt x="54" y="31"/>
                        <a:pt x="58" y="28"/>
                        <a:pt x="58" y="28"/>
                      </a:cubicBezTo>
                      <a:cubicBezTo>
                        <a:pt x="59" y="23"/>
                        <a:pt x="56" y="23"/>
                        <a:pt x="56" y="23"/>
                      </a:cubicBezTo>
                      <a:cubicBezTo>
                        <a:pt x="54" y="23"/>
                        <a:pt x="53" y="18"/>
                        <a:pt x="53" y="18"/>
                      </a:cubicBezTo>
                      <a:cubicBezTo>
                        <a:pt x="51" y="17"/>
                        <a:pt x="53" y="13"/>
                        <a:pt x="47" y="13"/>
                      </a:cubicBezTo>
                      <a:cubicBezTo>
                        <a:pt x="46" y="12"/>
                        <a:pt x="42" y="15"/>
                        <a:pt x="40" y="12"/>
                      </a:cubicBezTo>
                      <a:cubicBezTo>
                        <a:pt x="38" y="13"/>
                        <a:pt x="38" y="15"/>
                        <a:pt x="38" y="15"/>
                      </a:cubicBezTo>
                      <a:cubicBezTo>
                        <a:pt x="38" y="17"/>
                        <a:pt x="36" y="18"/>
                        <a:pt x="36" y="18"/>
                      </a:cubicBezTo>
                      <a:cubicBezTo>
                        <a:pt x="38" y="14"/>
                        <a:pt x="36" y="13"/>
                        <a:pt x="36" y="13"/>
                      </a:cubicBezTo>
                      <a:cubicBezTo>
                        <a:pt x="39" y="12"/>
                        <a:pt x="39" y="10"/>
                        <a:pt x="39" y="10"/>
                      </a:cubicBezTo>
                      <a:cubicBezTo>
                        <a:pt x="40" y="6"/>
                        <a:pt x="37" y="7"/>
                        <a:pt x="37" y="7"/>
                      </a:cubicBezTo>
                      <a:cubicBezTo>
                        <a:pt x="36" y="8"/>
                        <a:pt x="34" y="4"/>
                        <a:pt x="34" y="4"/>
                      </a:cubicBezTo>
                      <a:cubicBezTo>
                        <a:pt x="34" y="3"/>
                        <a:pt x="34" y="1"/>
                        <a:pt x="34" y="0"/>
                      </a:cubicBezTo>
                      <a:lnTo>
                        <a:pt x="34" y="0"/>
                      </a:lnTo>
                      <a:lnTo>
                        <a:pt x="34"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86" name="Freeform 10"/>
                <p:cNvSpPr>
                  <a:spLocks/>
                </p:cNvSpPr>
                <p:nvPr>
                  <p:custDataLst>
                    <p:tags r:id="rId2"/>
                  </p:custDataLst>
                </p:nvPr>
              </p:nvSpPr>
              <p:spPr bwMode="gray">
                <a:xfrm>
                  <a:off x="8931504" y="3490916"/>
                  <a:ext cx="31026" cy="33023"/>
                </a:xfrm>
                <a:custGeom>
                  <a:avLst/>
                  <a:gdLst>
                    <a:gd name="T0" fmla="*/ 0 w 3"/>
                    <a:gd name="T1" fmla="*/ 1 h 3"/>
                    <a:gd name="T2" fmla="*/ 1 w 3"/>
                    <a:gd name="T3" fmla="*/ 1 h 3"/>
                    <a:gd name="T4" fmla="*/ 2 w 3"/>
                    <a:gd name="T5" fmla="*/ 3 h 3"/>
                    <a:gd name="T6" fmla="*/ 3 w 3"/>
                    <a:gd name="T7" fmla="*/ 1 h 3"/>
                    <a:gd name="T8" fmla="*/ 2 w 3"/>
                    <a:gd name="T9" fmla="*/ 0 h 3"/>
                    <a:gd name="T10" fmla="*/ 1 w 3"/>
                    <a:gd name="T11" fmla="*/ 0 h 3"/>
                    <a:gd name="T12" fmla="*/ 0 w 3"/>
                    <a:gd name="T13" fmla="*/ 1 h 3"/>
                    <a:gd name="T14" fmla="*/ 0 w 3"/>
                    <a:gd name="T15" fmla="*/ 1 h 3"/>
                    <a:gd name="T16" fmla="*/ 0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1"/>
                      </a:moveTo>
                      <a:cubicBezTo>
                        <a:pt x="0" y="1"/>
                        <a:pt x="1" y="1"/>
                        <a:pt x="1" y="1"/>
                      </a:cubicBezTo>
                      <a:cubicBezTo>
                        <a:pt x="1" y="2"/>
                        <a:pt x="1" y="3"/>
                        <a:pt x="2" y="3"/>
                      </a:cubicBezTo>
                      <a:cubicBezTo>
                        <a:pt x="2" y="3"/>
                        <a:pt x="3" y="2"/>
                        <a:pt x="3" y="1"/>
                      </a:cubicBezTo>
                      <a:cubicBezTo>
                        <a:pt x="3" y="0"/>
                        <a:pt x="2" y="0"/>
                        <a:pt x="2" y="0"/>
                      </a:cubicBezTo>
                      <a:cubicBezTo>
                        <a:pt x="2" y="0"/>
                        <a:pt x="1" y="0"/>
                        <a:pt x="1" y="0"/>
                      </a:cubicBez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87" name="Freeform 11"/>
                <p:cNvSpPr>
                  <a:spLocks/>
                </p:cNvSpPr>
                <p:nvPr>
                  <p:custDataLst>
                    <p:tags r:id="rId3"/>
                  </p:custDataLst>
                </p:nvPr>
              </p:nvSpPr>
              <p:spPr bwMode="gray">
                <a:xfrm>
                  <a:off x="9021761" y="3423299"/>
                  <a:ext cx="160771" cy="111647"/>
                </a:xfrm>
                <a:custGeom>
                  <a:avLst/>
                  <a:gdLst>
                    <a:gd name="T0" fmla="*/ 0 w 16"/>
                    <a:gd name="T1" fmla="*/ 0 h 10"/>
                    <a:gd name="T2" fmla="*/ 4 w 16"/>
                    <a:gd name="T3" fmla="*/ 4 h 10"/>
                    <a:gd name="T4" fmla="*/ 6 w 16"/>
                    <a:gd name="T5" fmla="*/ 3 h 10"/>
                    <a:gd name="T6" fmla="*/ 7 w 16"/>
                    <a:gd name="T7" fmla="*/ 8 h 10"/>
                    <a:gd name="T8" fmla="*/ 13 w 16"/>
                    <a:gd name="T9" fmla="*/ 10 h 10"/>
                    <a:gd name="T10" fmla="*/ 16 w 16"/>
                    <a:gd name="T11" fmla="*/ 7 h 10"/>
                    <a:gd name="T12" fmla="*/ 14 w 16"/>
                    <a:gd name="T13" fmla="*/ 6 h 10"/>
                    <a:gd name="T14" fmla="*/ 13 w 16"/>
                    <a:gd name="T15" fmla="*/ 6 h 10"/>
                    <a:gd name="T16" fmla="*/ 7 w 16"/>
                    <a:gd name="T17" fmla="*/ 1 h 10"/>
                    <a:gd name="T18" fmla="*/ 6 w 16"/>
                    <a:gd name="T19" fmla="*/ 2 h 10"/>
                    <a:gd name="T20" fmla="*/ 5 w 16"/>
                    <a:gd name="T21" fmla="*/ 1 h 10"/>
                    <a:gd name="T22" fmla="*/ 0 w 16"/>
                    <a:gd name="T23" fmla="*/ 0 h 10"/>
                    <a:gd name="T24" fmla="*/ 0 w 16"/>
                    <a:gd name="T25" fmla="*/ 0 h 10"/>
                    <a:gd name="T26" fmla="*/ 0 w 16"/>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0">
                      <a:moveTo>
                        <a:pt x="0" y="0"/>
                      </a:moveTo>
                      <a:cubicBezTo>
                        <a:pt x="0" y="2"/>
                        <a:pt x="3" y="4"/>
                        <a:pt x="4" y="4"/>
                      </a:cubicBezTo>
                      <a:cubicBezTo>
                        <a:pt x="5" y="4"/>
                        <a:pt x="5" y="4"/>
                        <a:pt x="6" y="3"/>
                      </a:cubicBezTo>
                      <a:cubicBezTo>
                        <a:pt x="7" y="4"/>
                        <a:pt x="7" y="6"/>
                        <a:pt x="7" y="8"/>
                      </a:cubicBezTo>
                      <a:cubicBezTo>
                        <a:pt x="7" y="9"/>
                        <a:pt x="12" y="10"/>
                        <a:pt x="13" y="10"/>
                      </a:cubicBezTo>
                      <a:cubicBezTo>
                        <a:pt x="14" y="10"/>
                        <a:pt x="16" y="9"/>
                        <a:pt x="16" y="7"/>
                      </a:cubicBezTo>
                      <a:cubicBezTo>
                        <a:pt x="16" y="7"/>
                        <a:pt x="15" y="6"/>
                        <a:pt x="14" y="6"/>
                      </a:cubicBezTo>
                      <a:cubicBezTo>
                        <a:pt x="14" y="6"/>
                        <a:pt x="13" y="6"/>
                        <a:pt x="13" y="6"/>
                      </a:cubicBezTo>
                      <a:cubicBezTo>
                        <a:pt x="11" y="6"/>
                        <a:pt x="10" y="1"/>
                        <a:pt x="7" y="1"/>
                      </a:cubicBezTo>
                      <a:cubicBezTo>
                        <a:pt x="7" y="1"/>
                        <a:pt x="7" y="2"/>
                        <a:pt x="6" y="2"/>
                      </a:cubicBezTo>
                      <a:cubicBezTo>
                        <a:pt x="6" y="2"/>
                        <a:pt x="5" y="1"/>
                        <a:pt x="5" y="1"/>
                      </a:cubicBezTo>
                      <a:cubicBezTo>
                        <a:pt x="3" y="0"/>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88" name="Freeform 12"/>
                <p:cNvSpPr>
                  <a:spLocks/>
                </p:cNvSpPr>
                <p:nvPr>
                  <p:custDataLst>
                    <p:tags r:id="rId4"/>
                  </p:custDataLst>
                </p:nvPr>
              </p:nvSpPr>
              <p:spPr bwMode="gray">
                <a:xfrm>
                  <a:off x="8982274" y="3569543"/>
                  <a:ext cx="29615" cy="22015"/>
                </a:xfrm>
                <a:custGeom>
                  <a:avLst/>
                  <a:gdLst>
                    <a:gd name="T0" fmla="*/ 0 w 3"/>
                    <a:gd name="T1" fmla="*/ 1 h 2"/>
                    <a:gd name="T2" fmla="*/ 2 w 3"/>
                    <a:gd name="T3" fmla="*/ 2 h 2"/>
                    <a:gd name="T4" fmla="*/ 3 w 3"/>
                    <a:gd name="T5" fmla="*/ 1 h 2"/>
                    <a:gd name="T6" fmla="*/ 0 w 3"/>
                    <a:gd name="T7" fmla="*/ 0 h 2"/>
                    <a:gd name="T8" fmla="*/ 0 w 3"/>
                    <a:gd name="T9" fmla="*/ 1 h 2"/>
                    <a:gd name="T10" fmla="*/ 0 w 3"/>
                    <a:gd name="T11" fmla="*/ 1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0" y="1"/>
                        <a:pt x="1" y="2"/>
                        <a:pt x="2" y="2"/>
                      </a:cubicBezTo>
                      <a:cubicBezTo>
                        <a:pt x="2" y="2"/>
                        <a:pt x="3" y="1"/>
                        <a:pt x="3" y="1"/>
                      </a:cubicBezTo>
                      <a:cubicBezTo>
                        <a:pt x="1" y="1"/>
                        <a:pt x="0" y="1"/>
                        <a:pt x="0"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89" name="Freeform 13"/>
                <p:cNvSpPr>
                  <a:spLocks/>
                </p:cNvSpPr>
                <p:nvPr>
                  <p:custDataLst>
                    <p:tags r:id="rId5"/>
                  </p:custDataLst>
                </p:nvPr>
              </p:nvSpPr>
              <p:spPr bwMode="gray">
                <a:xfrm>
                  <a:off x="9031632" y="3602565"/>
                  <a:ext cx="231285" cy="55038"/>
                </a:xfrm>
                <a:custGeom>
                  <a:avLst/>
                  <a:gdLst>
                    <a:gd name="T0" fmla="*/ 1 w 23"/>
                    <a:gd name="T1" fmla="*/ 0 h 5"/>
                    <a:gd name="T2" fmla="*/ 0 w 23"/>
                    <a:gd name="T3" fmla="*/ 1 h 5"/>
                    <a:gd name="T4" fmla="*/ 6 w 23"/>
                    <a:gd name="T5" fmla="*/ 2 h 5"/>
                    <a:gd name="T6" fmla="*/ 12 w 23"/>
                    <a:gd name="T7" fmla="*/ 5 h 5"/>
                    <a:gd name="T8" fmla="*/ 16 w 23"/>
                    <a:gd name="T9" fmla="*/ 5 h 5"/>
                    <a:gd name="T10" fmla="*/ 23 w 23"/>
                    <a:gd name="T11" fmla="*/ 3 h 5"/>
                    <a:gd name="T12" fmla="*/ 20 w 23"/>
                    <a:gd name="T13" fmla="*/ 2 h 5"/>
                    <a:gd name="T14" fmla="*/ 20 w 23"/>
                    <a:gd name="T15" fmla="*/ 2 h 5"/>
                    <a:gd name="T16" fmla="*/ 15 w 23"/>
                    <a:gd name="T17" fmla="*/ 2 h 5"/>
                    <a:gd name="T18" fmla="*/ 15 w 23"/>
                    <a:gd name="T19" fmla="*/ 2 h 5"/>
                    <a:gd name="T20" fmla="*/ 12 w 23"/>
                    <a:gd name="T21" fmla="*/ 1 h 5"/>
                    <a:gd name="T22" fmla="*/ 7 w 23"/>
                    <a:gd name="T23" fmla="*/ 1 h 5"/>
                    <a:gd name="T24" fmla="*/ 1 w 23"/>
                    <a:gd name="T25" fmla="*/ 0 h 5"/>
                    <a:gd name="T26" fmla="*/ 1 w 23"/>
                    <a:gd name="T27" fmla="*/ 0 h 5"/>
                    <a:gd name="T28" fmla="*/ 1 w 23"/>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
                      <a:moveTo>
                        <a:pt x="1" y="0"/>
                      </a:moveTo>
                      <a:cubicBezTo>
                        <a:pt x="1" y="0"/>
                        <a:pt x="0" y="0"/>
                        <a:pt x="0" y="1"/>
                      </a:cubicBezTo>
                      <a:cubicBezTo>
                        <a:pt x="0" y="3"/>
                        <a:pt x="5" y="2"/>
                        <a:pt x="6" y="2"/>
                      </a:cubicBezTo>
                      <a:cubicBezTo>
                        <a:pt x="8" y="4"/>
                        <a:pt x="10" y="4"/>
                        <a:pt x="12" y="5"/>
                      </a:cubicBezTo>
                      <a:cubicBezTo>
                        <a:pt x="16" y="5"/>
                        <a:pt x="15" y="5"/>
                        <a:pt x="16" y="5"/>
                      </a:cubicBezTo>
                      <a:cubicBezTo>
                        <a:pt x="18" y="5"/>
                        <a:pt x="22" y="5"/>
                        <a:pt x="23" y="3"/>
                      </a:cubicBezTo>
                      <a:cubicBezTo>
                        <a:pt x="22" y="2"/>
                        <a:pt x="21" y="2"/>
                        <a:pt x="20" y="2"/>
                      </a:cubicBezTo>
                      <a:lnTo>
                        <a:pt x="20" y="2"/>
                      </a:lnTo>
                      <a:lnTo>
                        <a:pt x="15" y="2"/>
                      </a:lnTo>
                      <a:lnTo>
                        <a:pt x="15" y="2"/>
                      </a:lnTo>
                      <a:cubicBezTo>
                        <a:pt x="14" y="2"/>
                        <a:pt x="13" y="1"/>
                        <a:pt x="12" y="1"/>
                      </a:cubicBezTo>
                      <a:cubicBezTo>
                        <a:pt x="10" y="0"/>
                        <a:pt x="9" y="1"/>
                        <a:pt x="7" y="1"/>
                      </a:cubicBezTo>
                      <a:cubicBezTo>
                        <a:pt x="5" y="1"/>
                        <a:pt x="3" y="0"/>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0" name="Freeform 14"/>
                <p:cNvSpPr>
                  <a:spLocks/>
                </p:cNvSpPr>
                <p:nvPr>
                  <p:custDataLst>
                    <p:tags r:id="rId6"/>
                  </p:custDataLst>
                </p:nvPr>
              </p:nvSpPr>
              <p:spPr bwMode="gray">
                <a:xfrm>
                  <a:off x="9274199" y="3637163"/>
                  <a:ext cx="9872" cy="9435"/>
                </a:xfrm>
                <a:custGeom>
                  <a:avLst/>
                  <a:gdLst>
                    <a:gd name="T0" fmla="*/ 0 w 1"/>
                    <a:gd name="T1" fmla="*/ 1 h 1"/>
                    <a:gd name="T2" fmla="*/ 1 w 1"/>
                    <a:gd name="T3" fmla="*/ 1 h 1"/>
                    <a:gd name="T4" fmla="*/ 1 w 1"/>
                    <a:gd name="T5" fmla="*/ 0 h 1"/>
                    <a:gd name="T6" fmla="*/ 0 w 1"/>
                    <a:gd name="T7" fmla="*/ 1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1" y="1"/>
                        <a:pt x="1" y="1"/>
                      </a:cubicBezTo>
                      <a:cubicBezTo>
                        <a:pt x="1" y="1"/>
                        <a:pt x="1" y="1"/>
                        <a:pt x="1"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1" name="Freeform 15"/>
                <p:cNvSpPr>
                  <a:spLocks/>
                </p:cNvSpPr>
                <p:nvPr>
                  <p:custDataLst>
                    <p:tags r:id="rId7"/>
                  </p:custDataLst>
                </p:nvPr>
              </p:nvSpPr>
              <p:spPr bwMode="gray">
                <a:xfrm>
                  <a:off x="8860990" y="3681192"/>
                  <a:ext cx="9871" cy="22015"/>
                </a:xfrm>
                <a:custGeom>
                  <a:avLst/>
                  <a:gdLst>
                    <a:gd name="T0" fmla="*/ 0 w 1"/>
                    <a:gd name="T1" fmla="*/ 1 h 2"/>
                    <a:gd name="T2" fmla="*/ 0 w 1"/>
                    <a:gd name="T3" fmla="*/ 2 h 2"/>
                    <a:gd name="T4" fmla="*/ 0 w 1"/>
                    <a:gd name="T5" fmla="*/ 2 h 2"/>
                    <a:gd name="T6" fmla="*/ 1 w 1"/>
                    <a:gd name="T7" fmla="*/ 2 h 2"/>
                    <a:gd name="T8" fmla="*/ 1 w 1"/>
                    <a:gd name="T9" fmla="*/ 2 h 2"/>
                    <a:gd name="T10" fmla="*/ 1 w 1"/>
                    <a:gd name="T11" fmla="*/ 1 h 2"/>
                    <a:gd name="T12" fmla="*/ 1 w 1"/>
                    <a:gd name="T13" fmla="*/ 1 h 2"/>
                    <a:gd name="T14" fmla="*/ 0 w 1"/>
                    <a:gd name="T15" fmla="*/ 0 h 2"/>
                    <a:gd name="T16" fmla="*/ 0 w 1"/>
                    <a:gd name="T17" fmla="*/ 1 h 2"/>
                    <a:gd name="T18" fmla="*/ 0 w 1"/>
                    <a:gd name="T19" fmla="*/ 1 h 2"/>
                    <a:gd name="T20" fmla="*/ 0 w 1"/>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0" y="1"/>
                      </a:moveTo>
                      <a:lnTo>
                        <a:pt x="0" y="2"/>
                      </a:lnTo>
                      <a:lnTo>
                        <a:pt x="0" y="2"/>
                      </a:lnTo>
                      <a:cubicBezTo>
                        <a:pt x="0" y="2"/>
                        <a:pt x="1" y="2"/>
                        <a:pt x="1" y="2"/>
                      </a:cubicBezTo>
                      <a:lnTo>
                        <a:pt x="1" y="2"/>
                      </a:lnTo>
                      <a:lnTo>
                        <a:pt x="1" y="1"/>
                      </a:lnTo>
                      <a:lnTo>
                        <a:pt x="1" y="1"/>
                      </a:lnTo>
                      <a:cubicBezTo>
                        <a:pt x="1" y="0"/>
                        <a:pt x="1"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2" name="Freeform 16"/>
                <p:cNvSpPr>
                  <a:spLocks/>
                </p:cNvSpPr>
                <p:nvPr>
                  <p:custDataLst>
                    <p:tags r:id="rId8"/>
                  </p:custDataLst>
                </p:nvPr>
              </p:nvSpPr>
              <p:spPr bwMode="gray">
                <a:xfrm>
                  <a:off x="8829964" y="3626154"/>
                  <a:ext cx="9871" cy="31450"/>
                </a:xfrm>
                <a:custGeom>
                  <a:avLst/>
                  <a:gdLst>
                    <a:gd name="T0" fmla="*/ 1 w 1"/>
                    <a:gd name="T1" fmla="*/ 0 h 3"/>
                    <a:gd name="T2" fmla="*/ 0 w 1"/>
                    <a:gd name="T3" fmla="*/ 2 h 3"/>
                    <a:gd name="T4" fmla="*/ 0 w 1"/>
                    <a:gd name="T5" fmla="*/ 2 h 3"/>
                    <a:gd name="T6" fmla="*/ 0 w 1"/>
                    <a:gd name="T7" fmla="*/ 3 h 3"/>
                    <a:gd name="T8" fmla="*/ 0 w 1"/>
                    <a:gd name="T9" fmla="*/ 3 h 3"/>
                    <a:gd name="T10" fmla="*/ 1 w 1"/>
                    <a:gd name="T11" fmla="*/ 2 h 3"/>
                    <a:gd name="T12" fmla="*/ 1 w 1"/>
                    <a:gd name="T13" fmla="*/ 2 h 3"/>
                    <a:gd name="T14" fmla="*/ 1 w 1"/>
                    <a:gd name="T15" fmla="*/ 0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0" y="2"/>
                        <a:pt x="0" y="2"/>
                        <a:pt x="0" y="2"/>
                      </a:cubicBezTo>
                      <a:lnTo>
                        <a:pt x="0" y="2"/>
                      </a:lnTo>
                      <a:lnTo>
                        <a:pt x="0" y="3"/>
                      </a:lnTo>
                      <a:lnTo>
                        <a:pt x="0" y="3"/>
                      </a:lnTo>
                      <a:cubicBezTo>
                        <a:pt x="0" y="3"/>
                        <a:pt x="1" y="3"/>
                        <a:pt x="1" y="2"/>
                      </a:cubicBezTo>
                      <a:lnTo>
                        <a:pt x="1" y="2"/>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3" name="Freeform 17"/>
                <p:cNvSpPr>
                  <a:spLocks/>
                </p:cNvSpPr>
                <p:nvPr>
                  <p:custDataLst>
                    <p:tags r:id="rId9"/>
                  </p:custDataLst>
                </p:nvPr>
              </p:nvSpPr>
              <p:spPr bwMode="gray">
                <a:xfrm>
                  <a:off x="8880733" y="3737802"/>
                  <a:ext cx="21154" cy="22015"/>
                </a:xfrm>
                <a:custGeom>
                  <a:avLst/>
                  <a:gdLst>
                    <a:gd name="T0" fmla="*/ 0 w 2"/>
                    <a:gd name="T1" fmla="*/ 2 h 2"/>
                    <a:gd name="T2" fmla="*/ 2 w 2"/>
                    <a:gd name="T3" fmla="*/ 2 h 2"/>
                    <a:gd name="T4" fmla="*/ 2 w 2"/>
                    <a:gd name="T5" fmla="*/ 2 h 2"/>
                    <a:gd name="T6" fmla="*/ 2 w 2"/>
                    <a:gd name="T7" fmla="*/ 0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2"/>
                      </a:lnTo>
                      <a:lnTo>
                        <a:pt x="2" y="2"/>
                      </a:lnTo>
                      <a:cubicBezTo>
                        <a:pt x="2" y="1"/>
                        <a:pt x="2" y="1"/>
                        <a:pt x="2" y="0"/>
                      </a:cubicBezTo>
                      <a:cubicBezTo>
                        <a:pt x="0" y="0"/>
                        <a:pt x="1"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4" name="Freeform 18"/>
                <p:cNvSpPr>
                  <a:spLocks/>
                </p:cNvSpPr>
                <p:nvPr>
                  <p:custDataLst>
                    <p:tags r:id="rId10"/>
                  </p:custDataLst>
                </p:nvPr>
              </p:nvSpPr>
              <p:spPr bwMode="gray">
                <a:xfrm>
                  <a:off x="8880735" y="3770823"/>
                  <a:ext cx="31026" cy="11009"/>
                </a:xfrm>
                <a:custGeom>
                  <a:avLst/>
                  <a:gdLst>
                    <a:gd name="T0" fmla="*/ 1 w 3"/>
                    <a:gd name="T1" fmla="*/ 1 h 1"/>
                    <a:gd name="T2" fmla="*/ 3 w 3"/>
                    <a:gd name="T3" fmla="*/ 0 h 1"/>
                    <a:gd name="T4" fmla="*/ 0 w 3"/>
                    <a:gd name="T5" fmla="*/ 0 h 1"/>
                    <a:gd name="T6" fmla="*/ 1 w 3"/>
                    <a:gd name="T7" fmla="*/ 1 h 1"/>
                    <a:gd name="T8" fmla="*/ 1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2" y="1"/>
                        <a:pt x="2" y="1"/>
                        <a:pt x="3" y="0"/>
                      </a:cubicBezTo>
                      <a:cubicBezTo>
                        <a:pt x="2" y="0"/>
                        <a:pt x="1" y="0"/>
                        <a:pt x="0" y="0"/>
                      </a:cubicBezTo>
                      <a:cubicBezTo>
                        <a:pt x="1" y="1"/>
                        <a:pt x="1" y="1"/>
                        <a:pt x="1" y="1"/>
                      </a:cubicBez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5" name="Freeform 19"/>
                <p:cNvSpPr>
                  <a:spLocks/>
                </p:cNvSpPr>
                <p:nvPr>
                  <p:custDataLst>
                    <p:tags r:id="rId11"/>
                  </p:custDataLst>
                </p:nvPr>
              </p:nvSpPr>
              <p:spPr bwMode="gray">
                <a:xfrm>
                  <a:off x="8700219" y="4072747"/>
                  <a:ext cx="40897" cy="34595"/>
                </a:xfrm>
                <a:custGeom>
                  <a:avLst/>
                  <a:gdLst>
                    <a:gd name="T0" fmla="*/ 0 w 4"/>
                    <a:gd name="T1" fmla="*/ 0 h 3"/>
                    <a:gd name="T2" fmla="*/ 4 w 4"/>
                    <a:gd name="T3" fmla="*/ 2 h 3"/>
                    <a:gd name="T4" fmla="*/ 3 w 4"/>
                    <a:gd name="T5" fmla="*/ 3 h 3"/>
                    <a:gd name="T6" fmla="*/ 0 w 4"/>
                    <a:gd name="T7" fmla="*/ 1 h 3"/>
                    <a:gd name="T8" fmla="*/ 0 w 4"/>
                    <a:gd name="T9" fmla="*/ 1 h 3"/>
                    <a:gd name="T10" fmla="*/ 0 w 4"/>
                    <a:gd name="T11" fmla="*/ 0 h 3"/>
                    <a:gd name="T12" fmla="*/ 0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0"/>
                      </a:moveTo>
                      <a:cubicBezTo>
                        <a:pt x="1" y="2"/>
                        <a:pt x="2" y="2"/>
                        <a:pt x="4" y="2"/>
                      </a:cubicBezTo>
                      <a:cubicBezTo>
                        <a:pt x="4" y="3"/>
                        <a:pt x="3" y="3"/>
                        <a:pt x="3" y="3"/>
                      </a:cubicBezTo>
                      <a:cubicBezTo>
                        <a:pt x="2" y="3"/>
                        <a:pt x="0" y="2"/>
                        <a:pt x="0" y="1"/>
                      </a:cubicBez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6" name="Freeform 20"/>
                <p:cNvSpPr>
                  <a:spLocks/>
                </p:cNvSpPr>
                <p:nvPr>
                  <p:custDataLst>
                    <p:tags r:id="rId12"/>
                  </p:custDataLst>
                </p:nvPr>
              </p:nvSpPr>
              <p:spPr bwMode="gray">
                <a:xfrm>
                  <a:off x="8137521" y="3626154"/>
                  <a:ext cx="100129" cy="66046"/>
                </a:xfrm>
                <a:custGeom>
                  <a:avLst/>
                  <a:gdLst>
                    <a:gd name="T0" fmla="*/ 0 w 10"/>
                    <a:gd name="T1" fmla="*/ 3 h 6"/>
                    <a:gd name="T2" fmla="*/ 1 w 10"/>
                    <a:gd name="T3" fmla="*/ 2 h 6"/>
                    <a:gd name="T4" fmla="*/ 6 w 10"/>
                    <a:gd name="T5" fmla="*/ 0 h 6"/>
                    <a:gd name="T6" fmla="*/ 10 w 10"/>
                    <a:gd name="T7" fmla="*/ 2 h 6"/>
                    <a:gd name="T8" fmla="*/ 9 w 10"/>
                    <a:gd name="T9" fmla="*/ 3 h 6"/>
                    <a:gd name="T10" fmla="*/ 10 w 10"/>
                    <a:gd name="T11" fmla="*/ 5 h 6"/>
                    <a:gd name="T12" fmla="*/ 8 w 10"/>
                    <a:gd name="T13" fmla="*/ 4 h 6"/>
                    <a:gd name="T14" fmla="*/ 6 w 10"/>
                    <a:gd name="T15" fmla="*/ 6 h 6"/>
                    <a:gd name="T16" fmla="*/ 0 w 10"/>
                    <a:gd name="T17" fmla="*/ 3 h 6"/>
                    <a:gd name="T18" fmla="*/ 0 w 10"/>
                    <a:gd name="T19" fmla="*/ 3 h 6"/>
                    <a:gd name="T20" fmla="*/ 0 w 10"/>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3"/>
                      </a:moveTo>
                      <a:cubicBezTo>
                        <a:pt x="0" y="3"/>
                        <a:pt x="0" y="2"/>
                        <a:pt x="1" y="2"/>
                      </a:cubicBezTo>
                      <a:cubicBezTo>
                        <a:pt x="3" y="0"/>
                        <a:pt x="4" y="0"/>
                        <a:pt x="6" y="0"/>
                      </a:cubicBezTo>
                      <a:cubicBezTo>
                        <a:pt x="8" y="0"/>
                        <a:pt x="10" y="1"/>
                        <a:pt x="10" y="2"/>
                      </a:cubicBezTo>
                      <a:cubicBezTo>
                        <a:pt x="10" y="3"/>
                        <a:pt x="9" y="3"/>
                        <a:pt x="9" y="3"/>
                      </a:cubicBezTo>
                      <a:cubicBezTo>
                        <a:pt x="9" y="4"/>
                        <a:pt x="10" y="5"/>
                        <a:pt x="10" y="5"/>
                      </a:cubicBezTo>
                      <a:cubicBezTo>
                        <a:pt x="9" y="5"/>
                        <a:pt x="9" y="4"/>
                        <a:pt x="8" y="4"/>
                      </a:cubicBezTo>
                      <a:cubicBezTo>
                        <a:pt x="7" y="4"/>
                        <a:pt x="7" y="6"/>
                        <a:pt x="6" y="6"/>
                      </a:cubicBezTo>
                      <a:cubicBezTo>
                        <a:pt x="4" y="6"/>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7" name="Freeform 21"/>
                <p:cNvSpPr>
                  <a:spLocks/>
                </p:cNvSpPr>
                <p:nvPr>
                  <p:custDataLst>
                    <p:tags r:id="rId13"/>
                  </p:custDataLst>
                </p:nvPr>
              </p:nvSpPr>
              <p:spPr bwMode="gray">
                <a:xfrm>
                  <a:off x="8137521" y="3512932"/>
                  <a:ext cx="19744" cy="22015"/>
                </a:xfrm>
                <a:custGeom>
                  <a:avLst/>
                  <a:gdLst>
                    <a:gd name="T0" fmla="*/ 0 w 2"/>
                    <a:gd name="T1" fmla="*/ 2 h 2"/>
                    <a:gd name="T2" fmla="*/ 2 w 2"/>
                    <a:gd name="T3" fmla="*/ 2 h 2"/>
                    <a:gd name="T4" fmla="*/ 2 w 2"/>
                    <a:gd name="T5" fmla="*/ 2 h 2"/>
                    <a:gd name="T6" fmla="*/ 2 w 2"/>
                    <a:gd name="T7" fmla="*/ 1 h 2"/>
                    <a:gd name="T8" fmla="*/ 2 w 2"/>
                    <a:gd name="T9" fmla="*/ 1 h 2"/>
                    <a:gd name="T10" fmla="*/ 2 w 2"/>
                    <a:gd name="T11" fmla="*/ 0 h 2"/>
                    <a:gd name="T12" fmla="*/ 2 w 2"/>
                    <a:gd name="T13" fmla="*/ 0 h 2"/>
                    <a:gd name="T14" fmla="*/ 0 w 2"/>
                    <a:gd name="T15" fmla="*/ 2 h 2"/>
                    <a:gd name="T16" fmla="*/ 0 w 2"/>
                    <a:gd name="T17" fmla="*/ 2 h 2"/>
                    <a:gd name="T18" fmla="*/ 0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2"/>
                      </a:moveTo>
                      <a:lnTo>
                        <a:pt x="2" y="2"/>
                      </a:lnTo>
                      <a:lnTo>
                        <a:pt x="2" y="2"/>
                      </a:lnTo>
                      <a:cubicBezTo>
                        <a:pt x="2" y="2"/>
                        <a:pt x="2" y="1"/>
                        <a:pt x="2" y="1"/>
                      </a:cubicBezTo>
                      <a:lnTo>
                        <a:pt x="2" y="1"/>
                      </a:lnTo>
                      <a:lnTo>
                        <a:pt x="2" y="0"/>
                      </a:lnTo>
                      <a:lnTo>
                        <a:pt x="2" y="0"/>
                      </a:lnTo>
                      <a:cubicBezTo>
                        <a:pt x="1" y="0"/>
                        <a:pt x="0" y="0"/>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8" name="Freeform 22"/>
                <p:cNvSpPr>
                  <a:spLocks/>
                </p:cNvSpPr>
                <p:nvPr>
                  <p:custDataLst>
                    <p:tags r:id="rId14"/>
                  </p:custDataLst>
                </p:nvPr>
              </p:nvSpPr>
              <p:spPr bwMode="gray">
                <a:xfrm>
                  <a:off x="8147392" y="3379268"/>
                  <a:ext cx="9871" cy="11008"/>
                </a:xfrm>
                <a:custGeom>
                  <a:avLst/>
                  <a:gdLst>
                    <a:gd name="T0" fmla="*/ 0 w 1"/>
                    <a:gd name="T1" fmla="*/ 1 h 1"/>
                    <a:gd name="T2" fmla="*/ 1 w 1"/>
                    <a:gd name="T3" fmla="*/ 1 h 1"/>
                    <a:gd name="T4" fmla="*/ 1 w 1"/>
                    <a:gd name="T5" fmla="*/ 1 h 1"/>
                    <a:gd name="T6" fmla="*/ 1 w 1"/>
                    <a:gd name="T7" fmla="*/ 1 h 1"/>
                    <a:gd name="T8" fmla="*/ 1 w 1"/>
                    <a:gd name="T9" fmla="*/ 0 h 1"/>
                    <a:gd name="T10" fmla="*/ 0 w 1"/>
                    <a:gd name="T11" fmla="*/ 1 h 1"/>
                    <a:gd name="T12" fmla="*/ 0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1" y="1"/>
                      </a:lnTo>
                      <a:lnTo>
                        <a:pt x="1" y="1"/>
                      </a:lnTo>
                      <a:lnTo>
                        <a:pt x="1" y="1"/>
                      </a:lnTo>
                      <a:cubicBezTo>
                        <a:pt x="1" y="1"/>
                        <a:pt x="1" y="0"/>
                        <a:pt x="1" y="0"/>
                      </a:cubicBezTo>
                      <a:cubicBezTo>
                        <a:pt x="1"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899" name="Freeform 23"/>
                <p:cNvSpPr>
                  <a:spLocks/>
                </p:cNvSpPr>
                <p:nvPr>
                  <p:custDataLst>
                    <p:tags r:id="rId15"/>
                  </p:custDataLst>
                </p:nvPr>
              </p:nvSpPr>
              <p:spPr bwMode="gray">
                <a:xfrm>
                  <a:off x="8186879" y="3299070"/>
                  <a:ext cx="9871" cy="23588"/>
                </a:xfrm>
                <a:custGeom>
                  <a:avLst/>
                  <a:gdLst>
                    <a:gd name="T0" fmla="*/ 0 w 1"/>
                    <a:gd name="T1" fmla="*/ 0 h 2"/>
                    <a:gd name="T2" fmla="*/ 0 w 1"/>
                    <a:gd name="T3" fmla="*/ 2 h 2"/>
                    <a:gd name="T4" fmla="*/ 1 w 1"/>
                    <a:gd name="T5" fmla="*/ 0 h 2"/>
                    <a:gd name="T6" fmla="*/ 1 w 1"/>
                    <a:gd name="T7" fmla="*/ 0 h 2"/>
                    <a:gd name="T8" fmla="*/ 0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1"/>
                        <a:pt x="0" y="1"/>
                        <a:pt x="0" y="2"/>
                      </a:cubicBezTo>
                      <a:cubicBezTo>
                        <a:pt x="1" y="2"/>
                        <a:pt x="1" y="1"/>
                        <a:pt x="1" y="0"/>
                      </a:cubicBezTo>
                      <a:lnTo>
                        <a:pt x="1"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0" name="Freeform 24"/>
                <p:cNvSpPr>
                  <a:spLocks/>
                </p:cNvSpPr>
                <p:nvPr>
                  <p:custDataLst>
                    <p:tags r:id="rId16"/>
                  </p:custDataLst>
                </p:nvPr>
              </p:nvSpPr>
              <p:spPr bwMode="gray">
                <a:xfrm>
                  <a:off x="8278548" y="3299070"/>
                  <a:ext cx="100129" cy="80199"/>
                </a:xfrm>
                <a:custGeom>
                  <a:avLst/>
                  <a:gdLst>
                    <a:gd name="T0" fmla="*/ 7 w 10"/>
                    <a:gd name="T1" fmla="*/ 6 h 7"/>
                    <a:gd name="T2" fmla="*/ 9 w 10"/>
                    <a:gd name="T3" fmla="*/ 7 h 7"/>
                    <a:gd name="T4" fmla="*/ 10 w 10"/>
                    <a:gd name="T5" fmla="*/ 5 h 7"/>
                    <a:gd name="T6" fmla="*/ 3 w 10"/>
                    <a:gd name="T7" fmla="*/ 0 h 7"/>
                    <a:gd name="T8" fmla="*/ 0 w 10"/>
                    <a:gd name="T9" fmla="*/ 1 h 7"/>
                    <a:gd name="T10" fmla="*/ 7 w 10"/>
                    <a:gd name="T11" fmla="*/ 6 h 7"/>
                    <a:gd name="T12" fmla="*/ 7 w 10"/>
                    <a:gd name="T13" fmla="*/ 6 h 7"/>
                    <a:gd name="T14" fmla="*/ 7 w 10"/>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6"/>
                      </a:moveTo>
                      <a:cubicBezTo>
                        <a:pt x="8" y="6"/>
                        <a:pt x="8" y="7"/>
                        <a:pt x="9" y="7"/>
                      </a:cubicBezTo>
                      <a:cubicBezTo>
                        <a:pt x="10" y="7"/>
                        <a:pt x="10" y="6"/>
                        <a:pt x="10" y="5"/>
                      </a:cubicBezTo>
                      <a:cubicBezTo>
                        <a:pt x="10" y="1"/>
                        <a:pt x="6" y="0"/>
                        <a:pt x="3" y="0"/>
                      </a:cubicBezTo>
                      <a:cubicBezTo>
                        <a:pt x="1" y="0"/>
                        <a:pt x="1" y="1"/>
                        <a:pt x="0" y="1"/>
                      </a:cubicBezTo>
                      <a:cubicBezTo>
                        <a:pt x="2" y="3"/>
                        <a:pt x="3" y="6"/>
                        <a:pt x="7" y="6"/>
                      </a:cubicBezTo>
                      <a:lnTo>
                        <a:pt x="7" y="6"/>
                      </a:lnTo>
                      <a:lnTo>
                        <a:pt x="7"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1" name="Freeform 25"/>
                <p:cNvSpPr>
                  <a:spLocks/>
                </p:cNvSpPr>
                <p:nvPr>
                  <p:custDataLst>
                    <p:tags r:id="rId17"/>
                  </p:custDataLst>
                </p:nvPr>
              </p:nvSpPr>
              <p:spPr bwMode="gray">
                <a:xfrm>
                  <a:off x="8217906" y="3311651"/>
                  <a:ext cx="100129" cy="78626"/>
                </a:xfrm>
                <a:custGeom>
                  <a:avLst/>
                  <a:gdLst>
                    <a:gd name="T0" fmla="*/ 5 w 10"/>
                    <a:gd name="T1" fmla="*/ 1 h 7"/>
                    <a:gd name="T2" fmla="*/ 6 w 10"/>
                    <a:gd name="T3" fmla="*/ 3 h 7"/>
                    <a:gd name="T4" fmla="*/ 10 w 10"/>
                    <a:gd name="T5" fmla="*/ 5 h 7"/>
                    <a:gd name="T6" fmla="*/ 8 w 10"/>
                    <a:gd name="T7" fmla="*/ 7 h 7"/>
                    <a:gd name="T8" fmla="*/ 6 w 10"/>
                    <a:gd name="T9" fmla="*/ 5 h 7"/>
                    <a:gd name="T10" fmla="*/ 4 w 10"/>
                    <a:gd name="T11" fmla="*/ 5 h 7"/>
                    <a:gd name="T12" fmla="*/ 0 w 10"/>
                    <a:gd name="T13" fmla="*/ 3 h 7"/>
                    <a:gd name="T14" fmla="*/ 1 w 10"/>
                    <a:gd name="T15" fmla="*/ 2 h 7"/>
                    <a:gd name="T16" fmla="*/ 0 w 10"/>
                    <a:gd name="T17" fmla="*/ 1 h 7"/>
                    <a:gd name="T18" fmla="*/ 5 w 10"/>
                    <a:gd name="T19" fmla="*/ 1 h 7"/>
                    <a:gd name="T20" fmla="*/ 5 w 10"/>
                    <a:gd name="T21" fmla="*/ 1 h 7"/>
                    <a:gd name="T22" fmla="*/ 5 w 10"/>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5" y="1"/>
                      </a:moveTo>
                      <a:cubicBezTo>
                        <a:pt x="6" y="2"/>
                        <a:pt x="5" y="2"/>
                        <a:pt x="6" y="3"/>
                      </a:cubicBezTo>
                      <a:cubicBezTo>
                        <a:pt x="7" y="4"/>
                        <a:pt x="10" y="3"/>
                        <a:pt x="10" y="5"/>
                      </a:cubicBezTo>
                      <a:cubicBezTo>
                        <a:pt x="10" y="6"/>
                        <a:pt x="9" y="7"/>
                        <a:pt x="8" y="7"/>
                      </a:cubicBezTo>
                      <a:cubicBezTo>
                        <a:pt x="6" y="7"/>
                        <a:pt x="6" y="6"/>
                        <a:pt x="6" y="5"/>
                      </a:cubicBezTo>
                      <a:cubicBezTo>
                        <a:pt x="5" y="5"/>
                        <a:pt x="4" y="5"/>
                        <a:pt x="4" y="5"/>
                      </a:cubicBezTo>
                      <a:cubicBezTo>
                        <a:pt x="3" y="5"/>
                        <a:pt x="1" y="3"/>
                        <a:pt x="0" y="3"/>
                      </a:cubicBezTo>
                      <a:cubicBezTo>
                        <a:pt x="0" y="2"/>
                        <a:pt x="1" y="2"/>
                        <a:pt x="1" y="2"/>
                      </a:cubicBezTo>
                      <a:cubicBezTo>
                        <a:pt x="1" y="1"/>
                        <a:pt x="0" y="2"/>
                        <a:pt x="0" y="1"/>
                      </a:cubicBezTo>
                      <a:cubicBezTo>
                        <a:pt x="0" y="0"/>
                        <a:pt x="5" y="1"/>
                        <a:pt x="5" y="1"/>
                      </a:cubicBezTo>
                      <a:lnTo>
                        <a:pt x="5" y="1"/>
                      </a:lnTo>
                      <a:lnTo>
                        <a:pt x="5"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2" name="Freeform 26"/>
                <p:cNvSpPr>
                  <a:spLocks/>
                </p:cNvSpPr>
                <p:nvPr>
                  <p:custDataLst>
                    <p:tags r:id="rId18"/>
                  </p:custDataLst>
                </p:nvPr>
              </p:nvSpPr>
              <p:spPr bwMode="gray">
                <a:xfrm>
                  <a:off x="8237650" y="3368261"/>
                  <a:ext cx="40897" cy="33023"/>
                </a:xfrm>
                <a:custGeom>
                  <a:avLst/>
                  <a:gdLst>
                    <a:gd name="T0" fmla="*/ 4 w 4"/>
                    <a:gd name="T1" fmla="*/ 2 h 3"/>
                    <a:gd name="T2" fmla="*/ 3 w 4"/>
                    <a:gd name="T3" fmla="*/ 3 h 3"/>
                    <a:gd name="T4" fmla="*/ 0 w 4"/>
                    <a:gd name="T5" fmla="*/ 2 h 3"/>
                    <a:gd name="T6" fmla="*/ 4 w 4"/>
                    <a:gd name="T7" fmla="*/ 2 h 3"/>
                    <a:gd name="T8" fmla="*/ 4 w 4"/>
                    <a:gd name="T9" fmla="*/ 2 h 3"/>
                    <a:gd name="T10" fmla="*/ 4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4" y="2"/>
                      </a:moveTo>
                      <a:cubicBezTo>
                        <a:pt x="4" y="2"/>
                        <a:pt x="3" y="3"/>
                        <a:pt x="3" y="3"/>
                      </a:cubicBezTo>
                      <a:cubicBezTo>
                        <a:pt x="1" y="3"/>
                        <a:pt x="1" y="2"/>
                        <a:pt x="0" y="2"/>
                      </a:cubicBezTo>
                      <a:cubicBezTo>
                        <a:pt x="2" y="2"/>
                        <a:pt x="4" y="0"/>
                        <a:pt x="4" y="2"/>
                      </a:cubicBezTo>
                      <a:lnTo>
                        <a:pt x="4" y="2"/>
                      </a:lnTo>
                      <a:lnTo>
                        <a:pt x="4"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3" name="Freeform 27"/>
                <p:cNvSpPr>
                  <a:spLocks/>
                </p:cNvSpPr>
                <p:nvPr>
                  <p:custDataLst>
                    <p:tags r:id="rId19"/>
                  </p:custDataLst>
                </p:nvPr>
              </p:nvSpPr>
              <p:spPr bwMode="gray">
                <a:xfrm>
                  <a:off x="8258804" y="3412292"/>
                  <a:ext cx="9872" cy="11009"/>
                </a:xfrm>
                <a:custGeom>
                  <a:avLst/>
                  <a:gdLst>
                    <a:gd name="T0" fmla="*/ 0 w 1"/>
                    <a:gd name="T1" fmla="*/ 1 h 1"/>
                    <a:gd name="T2" fmla="*/ 0 w 1"/>
                    <a:gd name="T3" fmla="*/ 1 h 1"/>
                    <a:gd name="T4" fmla="*/ 1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1" y="1"/>
                      </a:ln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4" name="Freeform 28"/>
                <p:cNvSpPr>
                  <a:spLocks/>
                </p:cNvSpPr>
                <p:nvPr>
                  <p:custDataLst>
                    <p:tags r:id="rId20"/>
                  </p:custDataLst>
                </p:nvPr>
              </p:nvSpPr>
              <p:spPr bwMode="gray">
                <a:xfrm>
                  <a:off x="8237650" y="3446886"/>
                  <a:ext cx="80384" cy="31450"/>
                </a:xfrm>
                <a:custGeom>
                  <a:avLst/>
                  <a:gdLst>
                    <a:gd name="T0" fmla="*/ 0 w 8"/>
                    <a:gd name="T1" fmla="*/ 3 h 3"/>
                    <a:gd name="T2" fmla="*/ 3 w 8"/>
                    <a:gd name="T3" fmla="*/ 1 h 3"/>
                    <a:gd name="T4" fmla="*/ 5 w 8"/>
                    <a:gd name="T5" fmla="*/ 1 h 3"/>
                    <a:gd name="T6" fmla="*/ 5 w 8"/>
                    <a:gd name="T7" fmla="*/ 1 h 3"/>
                    <a:gd name="T8" fmla="*/ 6 w 8"/>
                    <a:gd name="T9" fmla="*/ 1 h 3"/>
                    <a:gd name="T10" fmla="*/ 6 w 8"/>
                    <a:gd name="T11" fmla="*/ 1 h 3"/>
                    <a:gd name="T12" fmla="*/ 8 w 8"/>
                    <a:gd name="T13" fmla="*/ 0 h 3"/>
                    <a:gd name="T14" fmla="*/ 8 w 8"/>
                    <a:gd name="T15" fmla="*/ 0 h 3"/>
                    <a:gd name="T16" fmla="*/ 0 w 8"/>
                    <a:gd name="T17" fmla="*/ 3 h 3"/>
                    <a:gd name="T18" fmla="*/ 0 w 8"/>
                    <a:gd name="T19" fmla="*/ 3 h 3"/>
                    <a:gd name="T20" fmla="*/ 0 w 8"/>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0" y="3"/>
                      </a:moveTo>
                      <a:cubicBezTo>
                        <a:pt x="0" y="1"/>
                        <a:pt x="2" y="1"/>
                        <a:pt x="3" y="1"/>
                      </a:cubicBezTo>
                      <a:cubicBezTo>
                        <a:pt x="4" y="1"/>
                        <a:pt x="4" y="1"/>
                        <a:pt x="5" y="1"/>
                      </a:cubicBezTo>
                      <a:lnTo>
                        <a:pt x="5" y="1"/>
                      </a:lnTo>
                      <a:lnTo>
                        <a:pt x="6" y="1"/>
                      </a:lnTo>
                      <a:lnTo>
                        <a:pt x="6" y="1"/>
                      </a:lnTo>
                      <a:cubicBezTo>
                        <a:pt x="6" y="0"/>
                        <a:pt x="7" y="0"/>
                        <a:pt x="8" y="0"/>
                      </a:cubicBezTo>
                      <a:cubicBezTo>
                        <a:pt x="8" y="0"/>
                        <a:pt x="8" y="0"/>
                        <a:pt x="8" y="0"/>
                      </a:cubicBezTo>
                      <a:cubicBezTo>
                        <a:pt x="8" y="3"/>
                        <a:pt x="2"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5" name="Freeform 29"/>
                <p:cNvSpPr>
                  <a:spLocks/>
                </p:cNvSpPr>
                <p:nvPr>
                  <p:custDataLst>
                    <p:tags r:id="rId21"/>
                  </p:custDataLst>
                </p:nvPr>
              </p:nvSpPr>
              <p:spPr bwMode="gray">
                <a:xfrm>
                  <a:off x="8278547" y="3467330"/>
                  <a:ext cx="69104" cy="80197"/>
                </a:xfrm>
                <a:custGeom>
                  <a:avLst/>
                  <a:gdLst>
                    <a:gd name="T0" fmla="*/ 0 w 7"/>
                    <a:gd name="T1" fmla="*/ 1 h 7"/>
                    <a:gd name="T2" fmla="*/ 0 w 7"/>
                    <a:gd name="T3" fmla="*/ 3 h 7"/>
                    <a:gd name="T4" fmla="*/ 3 w 7"/>
                    <a:gd name="T5" fmla="*/ 7 h 7"/>
                    <a:gd name="T6" fmla="*/ 6 w 7"/>
                    <a:gd name="T7" fmla="*/ 5 h 7"/>
                    <a:gd name="T8" fmla="*/ 6 w 7"/>
                    <a:gd name="T9" fmla="*/ 5 h 7"/>
                    <a:gd name="T10" fmla="*/ 7 w 7"/>
                    <a:gd name="T11" fmla="*/ 2 h 7"/>
                    <a:gd name="T12" fmla="*/ 7 w 7"/>
                    <a:gd name="T13" fmla="*/ 2 h 7"/>
                    <a:gd name="T14" fmla="*/ 7 w 7"/>
                    <a:gd name="T15" fmla="*/ 2 h 7"/>
                    <a:gd name="T16" fmla="*/ 3 w 7"/>
                    <a:gd name="T17" fmla="*/ 0 h 7"/>
                    <a:gd name="T18" fmla="*/ 0 w 7"/>
                    <a:gd name="T19" fmla="*/ 1 h 7"/>
                    <a:gd name="T20" fmla="*/ 0 w 7"/>
                    <a:gd name="T21" fmla="*/ 1 h 7"/>
                    <a:gd name="T22" fmla="*/ 0 w 7"/>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1"/>
                      </a:moveTo>
                      <a:cubicBezTo>
                        <a:pt x="0" y="2"/>
                        <a:pt x="0" y="2"/>
                        <a:pt x="0" y="3"/>
                      </a:cubicBezTo>
                      <a:cubicBezTo>
                        <a:pt x="0" y="5"/>
                        <a:pt x="1" y="7"/>
                        <a:pt x="3" y="7"/>
                      </a:cubicBezTo>
                      <a:cubicBezTo>
                        <a:pt x="5" y="7"/>
                        <a:pt x="6" y="7"/>
                        <a:pt x="6" y="5"/>
                      </a:cubicBezTo>
                      <a:lnTo>
                        <a:pt x="6" y="5"/>
                      </a:lnTo>
                      <a:lnTo>
                        <a:pt x="7" y="2"/>
                      </a:lnTo>
                      <a:lnTo>
                        <a:pt x="7" y="2"/>
                      </a:lnTo>
                      <a:lnTo>
                        <a:pt x="7" y="2"/>
                      </a:lnTo>
                      <a:cubicBezTo>
                        <a:pt x="5" y="2"/>
                        <a:pt x="5" y="0"/>
                        <a:pt x="3" y="0"/>
                      </a:cubicBezTo>
                      <a:cubicBezTo>
                        <a:pt x="2" y="0"/>
                        <a:pt x="1"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6" name="Freeform 30"/>
                <p:cNvSpPr>
                  <a:spLocks/>
                </p:cNvSpPr>
                <p:nvPr>
                  <p:custDataLst>
                    <p:tags r:id="rId22"/>
                  </p:custDataLst>
                </p:nvPr>
              </p:nvSpPr>
              <p:spPr bwMode="gray">
                <a:xfrm>
                  <a:off x="8388550" y="4050732"/>
                  <a:ext cx="9872" cy="22015"/>
                </a:xfrm>
                <a:custGeom>
                  <a:avLst/>
                  <a:gdLst>
                    <a:gd name="T0" fmla="*/ 1 w 1"/>
                    <a:gd name="T1" fmla="*/ 2 h 2"/>
                    <a:gd name="T2" fmla="*/ 1 w 1"/>
                    <a:gd name="T3" fmla="*/ 0 h 2"/>
                    <a:gd name="T4" fmla="*/ 0 w 1"/>
                    <a:gd name="T5" fmla="*/ 0 h 2"/>
                    <a:gd name="T6" fmla="*/ 1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1"/>
                        <a:pt x="1" y="1"/>
                        <a:pt x="1" y="0"/>
                      </a:cubicBezTo>
                      <a:cubicBezTo>
                        <a:pt x="1" y="0"/>
                        <a:pt x="1" y="0"/>
                        <a:pt x="0"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7" name="Freeform 31"/>
                <p:cNvSpPr>
                  <a:spLocks/>
                </p:cNvSpPr>
                <p:nvPr>
                  <p:custDataLst>
                    <p:tags r:id="rId23"/>
                  </p:custDataLst>
                </p:nvPr>
              </p:nvSpPr>
              <p:spPr bwMode="gray">
                <a:xfrm>
                  <a:off x="8419575" y="3794412"/>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0"/>
                        <a:pt x="1" y="0"/>
                      </a:cubicBezTo>
                      <a:cubicBezTo>
                        <a:pt x="1" y="0"/>
                        <a:pt x="1" y="1"/>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8" name="Freeform 32"/>
                <p:cNvSpPr>
                  <a:spLocks/>
                </p:cNvSpPr>
                <p:nvPr>
                  <p:custDataLst>
                    <p:tags r:id="rId24"/>
                  </p:custDataLst>
                </p:nvPr>
              </p:nvSpPr>
              <p:spPr bwMode="gray">
                <a:xfrm>
                  <a:off x="8357522" y="3108796"/>
                  <a:ext cx="1128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1" y="0"/>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09" name="Freeform 33"/>
                <p:cNvSpPr>
                  <a:spLocks/>
                </p:cNvSpPr>
                <p:nvPr>
                  <p:custDataLst>
                    <p:tags r:id="rId25"/>
                  </p:custDataLst>
                </p:nvPr>
              </p:nvSpPr>
              <p:spPr bwMode="gray">
                <a:xfrm>
                  <a:off x="7543796" y="3871464"/>
                  <a:ext cx="191797" cy="157251"/>
                </a:xfrm>
                <a:custGeom>
                  <a:avLst/>
                  <a:gdLst>
                    <a:gd name="T0" fmla="*/ 2 w 19"/>
                    <a:gd name="T1" fmla="*/ 9 h 14"/>
                    <a:gd name="T2" fmla="*/ 0 w 19"/>
                    <a:gd name="T3" fmla="*/ 3 h 14"/>
                    <a:gd name="T4" fmla="*/ 1 w 19"/>
                    <a:gd name="T5" fmla="*/ 1 h 14"/>
                    <a:gd name="T6" fmla="*/ 2 w 19"/>
                    <a:gd name="T7" fmla="*/ 3 h 14"/>
                    <a:gd name="T8" fmla="*/ 5 w 19"/>
                    <a:gd name="T9" fmla="*/ 2 h 14"/>
                    <a:gd name="T10" fmla="*/ 5 w 19"/>
                    <a:gd name="T11" fmla="*/ 2 h 14"/>
                    <a:gd name="T12" fmla="*/ 8 w 19"/>
                    <a:gd name="T13" fmla="*/ 2 h 14"/>
                    <a:gd name="T14" fmla="*/ 8 w 19"/>
                    <a:gd name="T15" fmla="*/ 2 h 14"/>
                    <a:gd name="T16" fmla="*/ 10 w 19"/>
                    <a:gd name="T17" fmla="*/ 0 h 14"/>
                    <a:gd name="T18" fmla="*/ 17 w 19"/>
                    <a:gd name="T19" fmla="*/ 4 h 14"/>
                    <a:gd name="T20" fmla="*/ 16 w 19"/>
                    <a:gd name="T21" fmla="*/ 5 h 14"/>
                    <a:gd name="T22" fmla="*/ 19 w 19"/>
                    <a:gd name="T23" fmla="*/ 7 h 14"/>
                    <a:gd name="T24" fmla="*/ 19 w 19"/>
                    <a:gd name="T25" fmla="*/ 9 h 14"/>
                    <a:gd name="T26" fmla="*/ 10 w 19"/>
                    <a:gd name="T27" fmla="*/ 14 h 14"/>
                    <a:gd name="T28" fmla="*/ 8 w 19"/>
                    <a:gd name="T29" fmla="*/ 13 h 14"/>
                    <a:gd name="T30" fmla="*/ 2 w 19"/>
                    <a:gd name="T31" fmla="*/ 9 h 14"/>
                    <a:gd name="T32" fmla="*/ 2 w 19"/>
                    <a:gd name="T33" fmla="*/ 9 h 14"/>
                    <a:gd name="T34" fmla="*/ 2 w 19"/>
                    <a:gd name="T3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4">
                      <a:moveTo>
                        <a:pt x="2" y="9"/>
                      </a:moveTo>
                      <a:cubicBezTo>
                        <a:pt x="1" y="7"/>
                        <a:pt x="0" y="6"/>
                        <a:pt x="0" y="3"/>
                      </a:cubicBezTo>
                      <a:cubicBezTo>
                        <a:pt x="0" y="2"/>
                        <a:pt x="0" y="1"/>
                        <a:pt x="1" y="1"/>
                      </a:cubicBezTo>
                      <a:cubicBezTo>
                        <a:pt x="2" y="1"/>
                        <a:pt x="2" y="3"/>
                        <a:pt x="2" y="3"/>
                      </a:cubicBezTo>
                      <a:cubicBezTo>
                        <a:pt x="3" y="3"/>
                        <a:pt x="4" y="2"/>
                        <a:pt x="5" y="2"/>
                      </a:cubicBezTo>
                      <a:lnTo>
                        <a:pt x="5" y="2"/>
                      </a:lnTo>
                      <a:lnTo>
                        <a:pt x="8" y="2"/>
                      </a:lnTo>
                      <a:lnTo>
                        <a:pt x="8" y="2"/>
                      </a:lnTo>
                      <a:cubicBezTo>
                        <a:pt x="9" y="1"/>
                        <a:pt x="9" y="0"/>
                        <a:pt x="10" y="0"/>
                      </a:cubicBezTo>
                      <a:cubicBezTo>
                        <a:pt x="13" y="0"/>
                        <a:pt x="15" y="3"/>
                        <a:pt x="17" y="4"/>
                      </a:cubicBezTo>
                      <a:cubicBezTo>
                        <a:pt x="16" y="4"/>
                        <a:pt x="16" y="5"/>
                        <a:pt x="16" y="5"/>
                      </a:cubicBezTo>
                      <a:cubicBezTo>
                        <a:pt x="16" y="5"/>
                        <a:pt x="18" y="7"/>
                        <a:pt x="19" y="7"/>
                      </a:cubicBezTo>
                      <a:cubicBezTo>
                        <a:pt x="19" y="8"/>
                        <a:pt x="18" y="9"/>
                        <a:pt x="19" y="9"/>
                      </a:cubicBezTo>
                      <a:cubicBezTo>
                        <a:pt x="16" y="11"/>
                        <a:pt x="14" y="14"/>
                        <a:pt x="10" y="14"/>
                      </a:cubicBezTo>
                      <a:cubicBezTo>
                        <a:pt x="9" y="14"/>
                        <a:pt x="8" y="13"/>
                        <a:pt x="8" y="13"/>
                      </a:cubicBezTo>
                      <a:cubicBezTo>
                        <a:pt x="6" y="11"/>
                        <a:pt x="3" y="11"/>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0" name="Freeform 34"/>
                <p:cNvSpPr>
                  <a:spLocks/>
                </p:cNvSpPr>
                <p:nvPr>
                  <p:custDataLst>
                    <p:tags r:id="rId26"/>
                  </p:custDataLst>
                </p:nvPr>
              </p:nvSpPr>
              <p:spPr bwMode="gray">
                <a:xfrm>
                  <a:off x="7745465" y="3512932"/>
                  <a:ext cx="59231" cy="34595"/>
                </a:xfrm>
                <a:custGeom>
                  <a:avLst/>
                  <a:gdLst>
                    <a:gd name="T0" fmla="*/ 0 w 6"/>
                    <a:gd name="T1" fmla="*/ 0 h 3"/>
                    <a:gd name="T2" fmla="*/ 6 w 6"/>
                    <a:gd name="T3" fmla="*/ 3 h 3"/>
                    <a:gd name="T4" fmla="*/ 6 w 6"/>
                    <a:gd name="T5" fmla="*/ 2 h 3"/>
                    <a:gd name="T6" fmla="*/ 0 w 6"/>
                    <a:gd name="T7" fmla="*/ 0 h 3"/>
                    <a:gd name="T8" fmla="*/ 0 w 6"/>
                    <a:gd name="T9" fmla="*/ 0 h 3"/>
                    <a:gd name="T10" fmla="*/ 0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0" y="0"/>
                      </a:moveTo>
                      <a:cubicBezTo>
                        <a:pt x="1" y="1"/>
                        <a:pt x="4" y="3"/>
                        <a:pt x="6" y="3"/>
                      </a:cubicBezTo>
                      <a:cubicBezTo>
                        <a:pt x="6" y="3"/>
                        <a:pt x="6" y="3"/>
                        <a:pt x="6" y="2"/>
                      </a:cubicBezTo>
                      <a:cubicBezTo>
                        <a:pt x="6" y="1"/>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1" name="Freeform 35"/>
                <p:cNvSpPr>
                  <a:spLocks/>
                </p:cNvSpPr>
                <p:nvPr>
                  <p:custDataLst>
                    <p:tags r:id="rId27"/>
                  </p:custDataLst>
                </p:nvPr>
              </p:nvSpPr>
              <p:spPr bwMode="gray">
                <a:xfrm>
                  <a:off x="7735594" y="3547527"/>
                  <a:ext cx="19744" cy="33023"/>
                </a:xfrm>
                <a:custGeom>
                  <a:avLst/>
                  <a:gdLst>
                    <a:gd name="T0" fmla="*/ 1 w 2"/>
                    <a:gd name="T1" fmla="*/ 1 h 3"/>
                    <a:gd name="T2" fmla="*/ 0 w 2"/>
                    <a:gd name="T3" fmla="*/ 3 h 3"/>
                    <a:gd name="T4" fmla="*/ 1 w 2"/>
                    <a:gd name="T5" fmla="*/ 3 h 3"/>
                    <a:gd name="T6" fmla="*/ 2 w 2"/>
                    <a:gd name="T7" fmla="*/ 2 h 3"/>
                    <a:gd name="T8" fmla="*/ 2 w 2"/>
                    <a:gd name="T9" fmla="*/ 2 h 3"/>
                    <a:gd name="T10" fmla="*/ 2 w 2"/>
                    <a:gd name="T11" fmla="*/ 0 h 3"/>
                    <a:gd name="T12" fmla="*/ 1 w 2"/>
                    <a:gd name="T13" fmla="*/ 1 h 3"/>
                    <a:gd name="T14" fmla="*/ 1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1" y="1"/>
                      </a:moveTo>
                      <a:cubicBezTo>
                        <a:pt x="1" y="1"/>
                        <a:pt x="0" y="2"/>
                        <a:pt x="0" y="3"/>
                      </a:cubicBezTo>
                      <a:cubicBezTo>
                        <a:pt x="1" y="3"/>
                        <a:pt x="1" y="3"/>
                        <a:pt x="1" y="3"/>
                      </a:cubicBezTo>
                      <a:cubicBezTo>
                        <a:pt x="2" y="3"/>
                        <a:pt x="2" y="2"/>
                        <a:pt x="2" y="2"/>
                      </a:cubicBezTo>
                      <a:lnTo>
                        <a:pt x="2" y="2"/>
                      </a:lnTo>
                      <a:lnTo>
                        <a:pt x="2" y="0"/>
                      </a:ln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2" name="Freeform 36"/>
                <p:cNvSpPr>
                  <a:spLocks/>
                </p:cNvSpPr>
                <p:nvPr>
                  <p:custDataLst>
                    <p:tags r:id="rId28"/>
                  </p:custDataLst>
                </p:nvPr>
              </p:nvSpPr>
              <p:spPr bwMode="gray">
                <a:xfrm>
                  <a:off x="7755338" y="3558535"/>
                  <a:ext cx="119873" cy="78626"/>
                </a:xfrm>
                <a:custGeom>
                  <a:avLst/>
                  <a:gdLst>
                    <a:gd name="T0" fmla="*/ 1 w 12"/>
                    <a:gd name="T1" fmla="*/ 2 h 7"/>
                    <a:gd name="T2" fmla="*/ 4 w 12"/>
                    <a:gd name="T3" fmla="*/ 0 h 7"/>
                    <a:gd name="T4" fmla="*/ 7 w 12"/>
                    <a:gd name="T5" fmla="*/ 1 h 7"/>
                    <a:gd name="T6" fmla="*/ 12 w 12"/>
                    <a:gd name="T7" fmla="*/ 5 h 7"/>
                    <a:gd name="T8" fmla="*/ 11 w 12"/>
                    <a:gd name="T9" fmla="*/ 6 h 7"/>
                    <a:gd name="T10" fmla="*/ 11 w 12"/>
                    <a:gd name="T11" fmla="*/ 6 h 7"/>
                    <a:gd name="T12" fmla="*/ 6 w 12"/>
                    <a:gd name="T13" fmla="*/ 6 h 7"/>
                    <a:gd name="T14" fmla="*/ 6 w 12"/>
                    <a:gd name="T15" fmla="*/ 6 h 7"/>
                    <a:gd name="T16" fmla="*/ 2 w 12"/>
                    <a:gd name="T17" fmla="*/ 7 h 7"/>
                    <a:gd name="T18" fmla="*/ 0 w 12"/>
                    <a:gd name="T19" fmla="*/ 5 h 7"/>
                    <a:gd name="T20" fmla="*/ 0 w 12"/>
                    <a:gd name="T21" fmla="*/ 3 h 7"/>
                    <a:gd name="T22" fmla="*/ 0 w 12"/>
                    <a:gd name="T23" fmla="*/ 2 h 7"/>
                    <a:gd name="T24" fmla="*/ 1 w 12"/>
                    <a:gd name="T25" fmla="*/ 2 h 7"/>
                    <a:gd name="T26" fmla="*/ 1 w 12"/>
                    <a:gd name="T27" fmla="*/ 2 h 7"/>
                    <a:gd name="T28" fmla="*/ 1 w 12"/>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7">
                      <a:moveTo>
                        <a:pt x="1" y="2"/>
                      </a:moveTo>
                      <a:cubicBezTo>
                        <a:pt x="2" y="2"/>
                        <a:pt x="3" y="0"/>
                        <a:pt x="4" y="0"/>
                      </a:cubicBezTo>
                      <a:cubicBezTo>
                        <a:pt x="6" y="0"/>
                        <a:pt x="6" y="1"/>
                        <a:pt x="7" y="1"/>
                      </a:cubicBezTo>
                      <a:cubicBezTo>
                        <a:pt x="9" y="2"/>
                        <a:pt x="12" y="3"/>
                        <a:pt x="12" y="5"/>
                      </a:cubicBezTo>
                      <a:cubicBezTo>
                        <a:pt x="12" y="6"/>
                        <a:pt x="11" y="6"/>
                        <a:pt x="11" y="6"/>
                      </a:cubicBezTo>
                      <a:lnTo>
                        <a:pt x="11" y="6"/>
                      </a:lnTo>
                      <a:lnTo>
                        <a:pt x="6" y="6"/>
                      </a:lnTo>
                      <a:lnTo>
                        <a:pt x="6" y="6"/>
                      </a:lnTo>
                      <a:cubicBezTo>
                        <a:pt x="4" y="6"/>
                        <a:pt x="4" y="7"/>
                        <a:pt x="2" y="7"/>
                      </a:cubicBezTo>
                      <a:cubicBezTo>
                        <a:pt x="1" y="7"/>
                        <a:pt x="0" y="6"/>
                        <a:pt x="0" y="5"/>
                      </a:cubicBezTo>
                      <a:cubicBezTo>
                        <a:pt x="0" y="4"/>
                        <a:pt x="0" y="4"/>
                        <a:pt x="0" y="3"/>
                      </a:cubicBezTo>
                      <a:cubicBezTo>
                        <a:pt x="0" y="3"/>
                        <a:pt x="0" y="2"/>
                        <a:pt x="0" y="2"/>
                      </a:cubicBezTo>
                      <a:cubicBezTo>
                        <a:pt x="0" y="2"/>
                        <a:pt x="0"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3" name="Freeform 37"/>
                <p:cNvSpPr>
                  <a:spLocks/>
                </p:cNvSpPr>
                <p:nvPr>
                  <p:custDataLst>
                    <p:tags r:id="rId29"/>
                  </p:custDataLst>
                </p:nvPr>
              </p:nvSpPr>
              <p:spPr bwMode="gray">
                <a:xfrm>
                  <a:off x="7714439" y="4016136"/>
                  <a:ext cx="21155"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1"/>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4" name="Freeform 38"/>
                <p:cNvSpPr>
                  <a:spLocks/>
                </p:cNvSpPr>
                <p:nvPr>
                  <p:custDataLst>
                    <p:tags r:id="rId30"/>
                  </p:custDataLst>
                </p:nvPr>
              </p:nvSpPr>
              <p:spPr bwMode="gray">
                <a:xfrm>
                  <a:off x="7776491" y="3917069"/>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5" name="Freeform 39"/>
                <p:cNvSpPr>
                  <a:spLocks/>
                </p:cNvSpPr>
                <p:nvPr>
                  <p:custDataLst>
                    <p:tags r:id="rId31"/>
                  </p:custDataLst>
                </p:nvPr>
              </p:nvSpPr>
              <p:spPr bwMode="gray">
                <a:xfrm>
                  <a:off x="7804697" y="3893481"/>
                  <a:ext cx="21155" cy="23588"/>
                </a:xfrm>
                <a:custGeom>
                  <a:avLst/>
                  <a:gdLst>
                    <a:gd name="T0" fmla="*/ 0 w 2"/>
                    <a:gd name="T1" fmla="*/ 2 h 2"/>
                    <a:gd name="T2" fmla="*/ 2 w 2"/>
                    <a:gd name="T3" fmla="*/ 1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1" y="2"/>
                        <a:pt x="1" y="1"/>
                        <a:pt x="2" y="1"/>
                      </a:cubicBezTo>
                      <a:cubicBezTo>
                        <a:pt x="1" y="1"/>
                        <a:pt x="1" y="1"/>
                        <a:pt x="2" y="0"/>
                      </a:cubicBezTo>
                      <a:lnTo>
                        <a:pt x="2" y="0"/>
                      </a:lnTo>
                      <a:lnTo>
                        <a:pt x="0" y="0"/>
                      </a:lnTo>
                      <a:lnTo>
                        <a:pt x="0" y="0"/>
                      </a:lnTo>
                      <a:cubicBezTo>
                        <a:pt x="0" y="1"/>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6" name="Freeform 40"/>
                <p:cNvSpPr>
                  <a:spLocks/>
                </p:cNvSpPr>
                <p:nvPr>
                  <p:custDataLst>
                    <p:tags r:id="rId32"/>
                  </p:custDataLst>
                </p:nvPr>
              </p:nvSpPr>
              <p:spPr bwMode="gray">
                <a:xfrm>
                  <a:off x="7825851" y="3860457"/>
                  <a:ext cx="19744" cy="11008"/>
                </a:xfrm>
                <a:custGeom>
                  <a:avLst/>
                  <a:gdLst>
                    <a:gd name="T0" fmla="*/ 0 w 2"/>
                    <a:gd name="T1" fmla="*/ 1 h 1"/>
                    <a:gd name="T2" fmla="*/ 2 w 2"/>
                    <a:gd name="T3" fmla="*/ 1 h 1"/>
                    <a:gd name="T4" fmla="*/ 2 w 2"/>
                    <a:gd name="T5" fmla="*/ 1 h 1"/>
                    <a:gd name="T6" fmla="*/ 2 w 2"/>
                    <a:gd name="T7" fmla="*/ 0 h 1"/>
                    <a:gd name="T8" fmla="*/ 2 w 2"/>
                    <a:gd name="T9" fmla="*/ 0 h 1"/>
                    <a:gd name="T10" fmla="*/ 0 w 2"/>
                    <a:gd name="T11" fmla="*/ 1 h 1"/>
                    <a:gd name="T12" fmla="*/ 0 w 2"/>
                    <a:gd name="T13" fmla="*/ 1 h 1"/>
                    <a:gd name="T14" fmla="*/ 0 w 2"/>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0" y="1"/>
                      </a:moveTo>
                      <a:cubicBezTo>
                        <a:pt x="0" y="1"/>
                        <a:pt x="2" y="1"/>
                        <a:pt x="2" y="1"/>
                      </a:cubicBezTo>
                      <a:lnTo>
                        <a:pt x="2" y="1"/>
                      </a:lnTo>
                      <a:lnTo>
                        <a:pt x="2" y="0"/>
                      </a:lnTo>
                      <a:lnTo>
                        <a:pt x="2" y="0"/>
                      </a:ln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7" name="Freeform 41"/>
                <p:cNvSpPr>
                  <a:spLocks/>
                </p:cNvSpPr>
                <p:nvPr>
                  <p:custDataLst>
                    <p:tags r:id="rId33"/>
                  </p:custDataLst>
                </p:nvPr>
              </p:nvSpPr>
              <p:spPr bwMode="gray">
                <a:xfrm>
                  <a:off x="7825851" y="3827435"/>
                  <a:ext cx="483722" cy="201281"/>
                </a:xfrm>
                <a:custGeom>
                  <a:avLst/>
                  <a:gdLst>
                    <a:gd name="T0" fmla="*/ 2 w 48"/>
                    <a:gd name="T1" fmla="*/ 13 h 18"/>
                    <a:gd name="T2" fmla="*/ 2 w 48"/>
                    <a:gd name="T3" fmla="*/ 12 h 18"/>
                    <a:gd name="T4" fmla="*/ 4 w 48"/>
                    <a:gd name="T5" fmla="*/ 8 h 18"/>
                    <a:gd name="T6" fmla="*/ 5 w 48"/>
                    <a:gd name="T7" fmla="*/ 5 h 18"/>
                    <a:gd name="T8" fmla="*/ 8 w 48"/>
                    <a:gd name="T9" fmla="*/ 9 h 18"/>
                    <a:gd name="T10" fmla="*/ 12 w 48"/>
                    <a:gd name="T11" fmla="*/ 11 h 18"/>
                    <a:gd name="T12" fmla="*/ 17 w 48"/>
                    <a:gd name="T13" fmla="*/ 7 h 18"/>
                    <a:gd name="T14" fmla="*/ 26 w 48"/>
                    <a:gd name="T15" fmla="*/ 11 h 18"/>
                    <a:gd name="T16" fmla="*/ 26 w 48"/>
                    <a:gd name="T17" fmla="*/ 11 h 18"/>
                    <a:gd name="T18" fmla="*/ 27 w 48"/>
                    <a:gd name="T19" fmla="*/ 11 h 18"/>
                    <a:gd name="T20" fmla="*/ 27 w 48"/>
                    <a:gd name="T21" fmla="*/ 11 h 18"/>
                    <a:gd name="T22" fmla="*/ 27 w 48"/>
                    <a:gd name="T23" fmla="*/ 9 h 18"/>
                    <a:gd name="T24" fmla="*/ 29 w 48"/>
                    <a:gd name="T25" fmla="*/ 8 h 18"/>
                    <a:gd name="T26" fmla="*/ 36 w 48"/>
                    <a:gd name="T27" fmla="*/ 12 h 18"/>
                    <a:gd name="T28" fmla="*/ 37 w 48"/>
                    <a:gd name="T29" fmla="*/ 13 h 18"/>
                    <a:gd name="T30" fmla="*/ 42 w 48"/>
                    <a:gd name="T31" fmla="*/ 15 h 18"/>
                    <a:gd name="T32" fmla="*/ 47 w 48"/>
                    <a:gd name="T33" fmla="*/ 18 h 18"/>
                    <a:gd name="T34" fmla="*/ 48 w 48"/>
                    <a:gd name="T35" fmla="*/ 16 h 18"/>
                    <a:gd name="T36" fmla="*/ 47 w 48"/>
                    <a:gd name="T37" fmla="*/ 10 h 18"/>
                    <a:gd name="T38" fmla="*/ 43 w 48"/>
                    <a:gd name="T39" fmla="*/ 6 h 18"/>
                    <a:gd name="T40" fmla="*/ 38 w 48"/>
                    <a:gd name="T41" fmla="*/ 4 h 18"/>
                    <a:gd name="T42" fmla="*/ 26 w 48"/>
                    <a:gd name="T43" fmla="*/ 0 h 18"/>
                    <a:gd name="T44" fmla="*/ 20 w 48"/>
                    <a:gd name="T45" fmla="*/ 3 h 18"/>
                    <a:gd name="T46" fmla="*/ 20 w 48"/>
                    <a:gd name="T47" fmla="*/ 1 h 18"/>
                    <a:gd name="T48" fmla="*/ 20 w 48"/>
                    <a:gd name="T49" fmla="*/ 1 h 18"/>
                    <a:gd name="T50" fmla="*/ 5 w 48"/>
                    <a:gd name="T51" fmla="*/ 1 h 18"/>
                    <a:gd name="T52" fmla="*/ 5 w 48"/>
                    <a:gd name="T53" fmla="*/ 1 h 18"/>
                    <a:gd name="T54" fmla="*/ 4 w 48"/>
                    <a:gd name="T55" fmla="*/ 4 h 18"/>
                    <a:gd name="T56" fmla="*/ 4 w 48"/>
                    <a:gd name="T57" fmla="*/ 4 h 18"/>
                    <a:gd name="T58" fmla="*/ 0 w 48"/>
                    <a:gd name="T59" fmla="*/ 7 h 18"/>
                    <a:gd name="T60" fmla="*/ 1 w 48"/>
                    <a:gd name="T61" fmla="*/ 8 h 18"/>
                    <a:gd name="T62" fmla="*/ 2 w 48"/>
                    <a:gd name="T63" fmla="*/ 9 h 18"/>
                    <a:gd name="T64" fmla="*/ 2 w 48"/>
                    <a:gd name="T65" fmla="*/ 11 h 18"/>
                    <a:gd name="T66" fmla="*/ 2 w 48"/>
                    <a:gd name="T67" fmla="*/ 11 h 18"/>
                    <a:gd name="T68" fmla="*/ 2 w 48"/>
                    <a:gd name="T69" fmla="*/ 13 h 18"/>
                    <a:gd name="T70" fmla="*/ 2 w 48"/>
                    <a:gd name="T7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8">
                      <a:moveTo>
                        <a:pt x="2" y="13"/>
                      </a:moveTo>
                      <a:cubicBezTo>
                        <a:pt x="2" y="12"/>
                        <a:pt x="2" y="12"/>
                        <a:pt x="2" y="12"/>
                      </a:cubicBezTo>
                      <a:cubicBezTo>
                        <a:pt x="2" y="11"/>
                        <a:pt x="4" y="8"/>
                        <a:pt x="4" y="8"/>
                      </a:cubicBezTo>
                      <a:cubicBezTo>
                        <a:pt x="4" y="7"/>
                        <a:pt x="4" y="5"/>
                        <a:pt x="5" y="5"/>
                      </a:cubicBezTo>
                      <a:cubicBezTo>
                        <a:pt x="6" y="5"/>
                        <a:pt x="7" y="9"/>
                        <a:pt x="8" y="9"/>
                      </a:cubicBezTo>
                      <a:cubicBezTo>
                        <a:pt x="9" y="11"/>
                        <a:pt x="11" y="11"/>
                        <a:pt x="12" y="11"/>
                      </a:cubicBezTo>
                      <a:cubicBezTo>
                        <a:pt x="15" y="11"/>
                        <a:pt x="15" y="7"/>
                        <a:pt x="17" y="7"/>
                      </a:cubicBezTo>
                      <a:cubicBezTo>
                        <a:pt x="19" y="10"/>
                        <a:pt x="23" y="10"/>
                        <a:pt x="26" y="11"/>
                      </a:cubicBezTo>
                      <a:lnTo>
                        <a:pt x="26" y="11"/>
                      </a:lnTo>
                      <a:lnTo>
                        <a:pt x="27" y="11"/>
                      </a:lnTo>
                      <a:lnTo>
                        <a:pt x="27" y="11"/>
                      </a:lnTo>
                      <a:cubicBezTo>
                        <a:pt x="27" y="10"/>
                        <a:pt x="27" y="10"/>
                        <a:pt x="27" y="9"/>
                      </a:cubicBezTo>
                      <a:cubicBezTo>
                        <a:pt x="27" y="8"/>
                        <a:pt x="28" y="8"/>
                        <a:pt x="29" y="8"/>
                      </a:cubicBezTo>
                      <a:cubicBezTo>
                        <a:pt x="33" y="8"/>
                        <a:pt x="33" y="12"/>
                        <a:pt x="36" y="12"/>
                      </a:cubicBezTo>
                      <a:cubicBezTo>
                        <a:pt x="36" y="13"/>
                        <a:pt x="36" y="13"/>
                        <a:pt x="37" y="13"/>
                      </a:cubicBezTo>
                      <a:cubicBezTo>
                        <a:pt x="39" y="13"/>
                        <a:pt x="41" y="14"/>
                        <a:pt x="42" y="15"/>
                      </a:cubicBezTo>
                      <a:cubicBezTo>
                        <a:pt x="43" y="16"/>
                        <a:pt x="45" y="18"/>
                        <a:pt x="47" y="18"/>
                      </a:cubicBezTo>
                      <a:cubicBezTo>
                        <a:pt x="47" y="18"/>
                        <a:pt x="48" y="17"/>
                        <a:pt x="48" y="16"/>
                      </a:cubicBezTo>
                      <a:cubicBezTo>
                        <a:pt x="48" y="13"/>
                        <a:pt x="47" y="13"/>
                        <a:pt x="47" y="10"/>
                      </a:cubicBezTo>
                      <a:cubicBezTo>
                        <a:pt x="44" y="10"/>
                        <a:pt x="44" y="8"/>
                        <a:pt x="43" y="6"/>
                      </a:cubicBezTo>
                      <a:cubicBezTo>
                        <a:pt x="42" y="4"/>
                        <a:pt x="40" y="4"/>
                        <a:pt x="38" y="4"/>
                      </a:cubicBezTo>
                      <a:cubicBezTo>
                        <a:pt x="32" y="4"/>
                        <a:pt x="31" y="0"/>
                        <a:pt x="26" y="0"/>
                      </a:cubicBezTo>
                      <a:cubicBezTo>
                        <a:pt x="24" y="0"/>
                        <a:pt x="23" y="3"/>
                        <a:pt x="20" y="3"/>
                      </a:cubicBezTo>
                      <a:cubicBezTo>
                        <a:pt x="20" y="3"/>
                        <a:pt x="20" y="1"/>
                        <a:pt x="20" y="1"/>
                      </a:cubicBezTo>
                      <a:lnTo>
                        <a:pt x="20" y="1"/>
                      </a:lnTo>
                      <a:lnTo>
                        <a:pt x="5" y="1"/>
                      </a:lnTo>
                      <a:lnTo>
                        <a:pt x="5" y="1"/>
                      </a:lnTo>
                      <a:cubicBezTo>
                        <a:pt x="5" y="2"/>
                        <a:pt x="4" y="3"/>
                        <a:pt x="4" y="4"/>
                      </a:cubicBezTo>
                      <a:cubicBezTo>
                        <a:pt x="4" y="4"/>
                        <a:pt x="4" y="4"/>
                        <a:pt x="4" y="4"/>
                      </a:cubicBezTo>
                      <a:cubicBezTo>
                        <a:pt x="3" y="6"/>
                        <a:pt x="0" y="6"/>
                        <a:pt x="0" y="7"/>
                      </a:cubicBezTo>
                      <a:cubicBezTo>
                        <a:pt x="0" y="8"/>
                        <a:pt x="1" y="8"/>
                        <a:pt x="1" y="8"/>
                      </a:cubicBezTo>
                      <a:cubicBezTo>
                        <a:pt x="2" y="9"/>
                        <a:pt x="2" y="9"/>
                        <a:pt x="2" y="9"/>
                      </a:cubicBezTo>
                      <a:cubicBezTo>
                        <a:pt x="1" y="10"/>
                        <a:pt x="2" y="11"/>
                        <a:pt x="2" y="11"/>
                      </a:cubicBezTo>
                      <a:lnTo>
                        <a:pt x="2" y="11"/>
                      </a:lnTo>
                      <a:lnTo>
                        <a:pt x="2" y="13"/>
                      </a:lnTo>
                      <a:lnTo>
                        <a:pt x="2" y="1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8" name="Freeform 42"/>
                <p:cNvSpPr>
                  <a:spLocks/>
                </p:cNvSpPr>
                <p:nvPr>
                  <p:custDataLst>
                    <p:tags r:id="rId34"/>
                  </p:custDataLst>
                </p:nvPr>
              </p:nvSpPr>
              <p:spPr bwMode="gray">
                <a:xfrm>
                  <a:off x="7916108" y="3973678"/>
                  <a:ext cx="21154" cy="11008"/>
                </a:xfrm>
                <a:custGeom>
                  <a:avLst/>
                  <a:gdLst>
                    <a:gd name="T0" fmla="*/ 0 w 2"/>
                    <a:gd name="T1" fmla="*/ 0 h 1"/>
                    <a:gd name="T2" fmla="*/ 0 w 2"/>
                    <a:gd name="T3" fmla="*/ 0 h 1"/>
                    <a:gd name="T4" fmla="*/ 1 w 2"/>
                    <a:gd name="T5" fmla="*/ 1 h 1"/>
                    <a:gd name="T6" fmla="*/ 2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0" y="0"/>
                        <a:pt x="0" y="0"/>
                      </a:cubicBezTo>
                      <a:cubicBezTo>
                        <a:pt x="0" y="1"/>
                        <a:pt x="1" y="1"/>
                        <a:pt x="1" y="1"/>
                      </a:cubicBezTo>
                      <a:cubicBezTo>
                        <a:pt x="1" y="1"/>
                        <a:pt x="2" y="1"/>
                        <a:pt x="2" y="1"/>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19" name="Freeform 43"/>
                <p:cNvSpPr>
                  <a:spLocks/>
                </p:cNvSpPr>
                <p:nvPr>
                  <p:custDataLst>
                    <p:tags r:id="rId35"/>
                  </p:custDataLst>
                </p:nvPr>
              </p:nvSpPr>
              <p:spPr bwMode="gray">
                <a:xfrm>
                  <a:off x="7947134" y="3961098"/>
                  <a:ext cx="19744" cy="23588"/>
                </a:xfrm>
                <a:custGeom>
                  <a:avLst/>
                  <a:gdLst>
                    <a:gd name="T0" fmla="*/ 0 w 2"/>
                    <a:gd name="T1" fmla="*/ 1 h 2"/>
                    <a:gd name="T2" fmla="*/ 0 w 2"/>
                    <a:gd name="T3" fmla="*/ 2 h 2"/>
                    <a:gd name="T4" fmla="*/ 0 w 2"/>
                    <a:gd name="T5" fmla="*/ 2 h 2"/>
                    <a:gd name="T6" fmla="*/ 2 w 2"/>
                    <a:gd name="T7" fmla="*/ 2 h 2"/>
                    <a:gd name="T8" fmla="*/ 2 w 2"/>
                    <a:gd name="T9" fmla="*/ 2 h 2"/>
                    <a:gd name="T10" fmla="*/ 2 w 2"/>
                    <a:gd name="T11" fmla="*/ 1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1"/>
                        <a:pt x="0" y="1"/>
                        <a:pt x="0" y="2"/>
                      </a:cubicBezTo>
                      <a:lnTo>
                        <a:pt x="0" y="2"/>
                      </a:lnTo>
                      <a:lnTo>
                        <a:pt x="2" y="2"/>
                      </a:lnTo>
                      <a:lnTo>
                        <a:pt x="2" y="2"/>
                      </a:lnTo>
                      <a:cubicBezTo>
                        <a:pt x="2" y="1"/>
                        <a:pt x="2" y="1"/>
                        <a:pt x="2" y="1"/>
                      </a:cubicBezTo>
                      <a:cubicBezTo>
                        <a:pt x="0" y="1"/>
                        <a:pt x="1"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0" name="Freeform 44"/>
                <p:cNvSpPr>
                  <a:spLocks/>
                </p:cNvSpPr>
                <p:nvPr>
                  <p:custDataLst>
                    <p:tags r:id="rId36"/>
                  </p:custDataLst>
                </p:nvPr>
              </p:nvSpPr>
              <p:spPr bwMode="gray">
                <a:xfrm>
                  <a:off x="7845594" y="3961098"/>
                  <a:ext cx="60642" cy="55038"/>
                </a:xfrm>
                <a:custGeom>
                  <a:avLst/>
                  <a:gdLst>
                    <a:gd name="T0" fmla="*/ 0 w 6"/>
                    <a:gd name="T1" fmla="*/ 4 h 5"/>
                    <a:gd name="T2" fmla="*/ 1 w 6"/>
                    <a:gd name="T3" fmla="*/ 5 h 5"/>
                    <a:gd name="T4" fmla="*/ 1 w 6"/>
                    <a:gd name="T5" fmla="*/ 4 h 5"/>
                    <a:gd name="T6" fmla="*/ 6 w 6"/>
                    <a:gd name="T7" fmla="*/ 1 h 5"/>
                    <a:gd name="T8" fmla="*/ 6 w 6"/>
                    <a:gd name="T9" fmla="*/ 0 h 5"/>
                    <a:gd name="T10" fmla="*/ 0 w 6"/>
                    <a:gd name="T11" fmla="*/ 4 h 5"/>
                    <a:gd name="T12" fmla="*/ 0 w 6"/>
                    <a:gd name="T13" fmla="*/ 4 h 5"/>
                    <a:gd name="T14" fmla="*/ 0 w 6"/>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0" y="4"/>
                      </a:moveTo>
                      <a:cubicBezTo>
                        <a:pt x="0" y="4"/>
                        <a:pt x="0" y="5"/>
                        <a:pt x="1" y="5"/>
                      </a:cubicBezTo>
                      <a:cubicBezTo>
                        <a:pt x="1" y="5"/>
                        <a:pt x="1" y="4"/>
                        <a:pt x="1" y="4"/>
                      </a:cubicBezTo>
                      <a:cubicBezTo>
                        <a:pt x="2" y="2"/>
                        <a:pt x="6" y="4"/>
                        <a:pt x="6" y="1"/>
                      </a:cubicBezTo>
                      <a:cubicBezTo>
                        <a:pt x="6" y="1"/>
                        <a:pt x="6" y="1"/>
                        <a:pt x="6" y="0"/>
                      </a:cubicBezTo>
                      <a:cubicBezTo>
                        <a:pt x="4"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1" name="Freeform 45"/>
                <p:cNvSpPr>
                  <a:spLocks/>
                </p:cNvSpPr>
                <p:nvPr>
                  <p:custDataLst>
                    <p:tags r:id="rId37"/>
                  </p:custDataLst>
                </p:nvPr>
              </p:nvSpPr>
              <p:spPr bwMode="gray">
                <a:xfrm>
                  <a:off x="7975339" y="3984685"/>
                  <a:ext cx="11282" cy="11009"/>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2" name="Freeform 46"/>
                <p:cNvSpPr>
                  <a:spLocks/>
                </p:cNvSpPr>
                <p:nvPr>
                  <p:custDataLst>
                    <p:tags r:id="rId38"/>
                  </p:custDataLst>
                </p:nvPr>
              </p:nvSpPr>
              <p:spPr bwMode="gray">
                <a:xfrm>
                  <a:off x="8378677" y="4072747"/>
                  <a:ext cx="9871" cy="11009"/>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3" name="Freeform 47"/>
                <p:cNvSpPr>
                  <a:spLocks/>
                </p:cNvSpPr>
                <p:nvPr>
                  <p:custDataLst>
                    <p:tags r:id="rId39"/>
                  </p:custDataLst>
                </p:nvPr>
              </p:nvSpPr>
              <p:spPr bwMode="gray">
                <a:xfrm>
                  <a:off x="8539448" y="433221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4" name="Freeform 48"/>
                <p:cNvSpPr>
                  <a:spLocks/>
                </p:cNvSpPr>
                <p:nvPr>
                  <p:custDataLst>
                    <p:tags r:id="rId40"/>
                  </p:custDataLst>
                </p:nvPr>
              </p:nvSpPr>
              <p:spPr bwMode="gray">
                <a:xfrm>
                  <a:off x="8529576" y="4354226"/>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1" y="0"/>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5" name="Freeform 49"/>
                <p:cNvSpPr>
                  <a:spLocks/>
                </p:cNvSpPr>
                <p:nvPr>
                  <p:custDataLst>
                    <p:tags r:id="rId41"/>
                  </p:custDataLst>
                </p:nvPr>
              </p:nvSpPr>
              <p:spPr bwMode="gray">
                <a:xfrm>
                  <a:off x="8419575" y="4564943"/>
                  <a:ext cx="9872" cy="23588"/>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1" y="0"/>
                        <a:pt x="1" y="0"/>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6" name="Freeform 50"/>
                <p:cNvSpPr>
                  <a:spLocks/>
                </p:cNvSpPr>
                <p:nvPr>
                  <p:custDataLst>
                    <p:tags r:id="rId42"/>
                  </p:custDataLst>
                </p:nvPr>
              </p:nvSpPr>
              <p:spPr bwMode="gray">
                <a:xfrm>
                  <a:off x="8741117" y="4476882"/>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7" name="Freeform 51"/>
                <p:cNvSpPr>
                  <a:spLocks/>
                </p:cNvSpPr>
                <p:nvPr>
                  <p:custDataLst>
                    <p:tags r:id="rId43"/>
                  </p:custDataLst>
                </p:nvPr>
              </p:nvSpPr>
              <p:spPr bwMode="gray">
                <a:xfrm>
                  <a:off x="8631116" y="4297617"/>
                  <a:ext cx="47950" cy="122656"/>
                </a:xfrm>
                <a:custGeom>
                  <a:avLst/>
                  <a:gdLst>
                    <a:gd name="T0" fmla="*/ 0 w 5"/>
                    <a:gd name="T1" fmla="*/ 8 h 11"/>
                    <a:gd name="T2" fmla="*/ 4 w 5"/>
                    <a:gd name="T3" fmla="*/ 0 h 11"/>
                    <a:gd name="T4" fmla="*/ 4 w 5"/>
                    <a:gd name="T5" fmla="*/ 3 h 11"/>
                    <a:gd name="T6" fmla="*/ 1 w 5"/>
                    <a:gd name="T7" fmla="*/ 10 h 11"/>
                    <a:gd name="T8" fmla="*/ 0 w 5"/>
                    <a:gd name="T9" fmla="*/ 11 h 11"/>
                    <a:gd name="T10" fmla="*/ 0 w 5"/>
                    <a:gd name="T11" fmla="*/ 8 h 11"/>
                    <a:gd name="T12" fmla="*/ 0 w 5"/>
                    <a:gd name="T13" fmla="*/ 8 h 11"/>
                    <a:gd name="T14" fmla="*/ 0 w 5"/>
                    <a:gd name="T15" fmla="*/ 8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1">
                      <a:moveTo>
                        <a:pt x="0" y="8"/>
                      </a:moveTo>
                      <a:cubicBezTo>
                        <a:pt x="0" y="6"/>
                        <a:pt x="3" y="1"/>
                        <a:pt x="4" y="0"/>
                      </a:cubicBezTo>
                      <a:cubicBezTo>
                        <a:pt x="5" y="1"/>
                        <a:pt x="4" y="2"/>
                        <a:pt x="4" y="3"/>
                      </a:cubicBezTo>
                      <a:cubicBezTo>
                        <a:pt x="4" y="6"/>
                        <a:pt x="1" y="7"/>
                        <a:pt x="1" y="10"/>
                      </a:cubicBezTo>
                      <a:cubicBezTo>
                        <a:pt x="1" y="11"/>
                        <a:pt x="0" y="11"/>
                        <a:pt x="0" y="11"/>
                      </a:cubicBezTo>
                      <a:cubicBezTo>
                        <a:pt x="0" y="10"/>
                        <a:pt x="0" y="9"/>
                        <a:pt x="0" y="8"/>
                      </a:cubicBezTo>
                      <a:lnTo>
                        <a:pt x="0" y="8"/>
                      </a:lnTo>
                      <a:lnTo>
                        <a:pt x="0"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8" name="Freeform 52"/>
                <p:cNvSpPr>
                  <a:spLocks/>
                </p:cNvSpPr>
                <p:nvPr>
                  <p:custDataLst>
                    <p:tags r:id="rId44"/>
                  </p:custDataLst>
                </p:nvPr>
              </p:nvSpPr>
              <p:spPr bwMode="gray">
                <a:xfrm>
                  <a:off x="8580345" y="4343219"/>
                  <a:ext cx="39488" cy="77053"/>
                </a:xfrm>
                <a:custGeom>
                  <a:avLst/>
                  <a:gdLst>
                    <a:gd name="T0" fmla="*/ 2 w 4"/>
                    <a:gd name="T1" fmla="*/ 7 h 7"/>
                    <a:gd name="T2" fmla="*/ 2 w 4"/>
                    <a:gd name="T3" fmla="*/ 4 h 7"/>
                    <a:gd name="T4" fmla="*/ 0 w 4"/>
                    <a:gd name="T5" fmla="*/ 3 h 7"/>
                    <a:gd name="T6" fmla="*/ 4 w 4"/>
                    <a:gd name="T7" fmla="*/ 0 h 7"/>
                    <a:gd name="T8" fmla="*/ 4 w 4"/>
                    <a:gd name="T9" fmla="*/ 1 h 7"/>
                    <a:gd name="T10" fmla="*/ 4 w 4"/>
                    <a:gd name="T11" fmla="*/ 1 h 7"/>
                    <a:gd name="T12" fmla="*/ 3 w 4"/>
                    <a:gd name="T13" fmla="*/ 4 h 7"/>
                    <a:gd name="T14" fmla="*/ 3 w 4"/>
                    <a:gd name="T15" fmla="*/ 4 h 7"/>
                    <a:gd name="T16" fmla="*/ 4 w 4"/>
                    <a:gd name="T17" fmla="*/ 4 h 7"/>
                    <a:gd name="T18" fmla="*/ 2 w 4"/>
                    <a:gd name="T19" fmla="*/ 7 h 7"/>
                    <a:gd name="T20" fmla="*/ 2 w 4"/>
                    <a:gd name="T21" fmla="*/ 7 h 7"/>
                    <a:gd name="T22" fmla="*/ 2 w 4"/>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2" y="7"/>
                      </a:moveTo>
                      <a:cubicBezTo>
                        <a:pt x="2" y="5"/>
                        <a:pt x="3" y="6"/>
                        <a:pt x="2" y="4"/>
                      </a:cubicBezTo>
                      <a:cubicBezTo>
                        <a:pt x="1" y="4"/>
                        <a:pt x="0" y="3"/>
                        <a:pt x="0" y="3"/>
                      </a:cubicBezTo>
                      <a:cubicBezTo>
                        <a:pt x="0" y="2"/>
                        <a:pt x="1" y="2"/>
                        <a:pt x="4" y="0"/>
                      </a:cubicBezTo>
                      <a:cubicBezTo>
                        <a:pt x="4" y="0"/>
                        <a:pt x="4" y="1"/>
                        <a:pt x="4" y="1"/>
                      </a:cubicBezTo>
                      <a:lnTo>
                        <a:pt x="4" y="1"/>
                      </a:lnTo>
                      <a:lnTo>
                        <a:pt x="3" y="4"/>
                      </a:lnTo>
                      <a:lnTo>
                        <a:pt x="3" y="4"/>
                      </a:lnTo>
                      <a:cubicBezTo>
                        <a:pt x="3" y="4"/>
                        <a:pt x="4" y="4"/>
                        <a:pt x="4" y="4"/>
                      </a:cubicBezTo>
                      <a:cubicBezTo>
                        <a:pt x="4" y="6"/>
                        <a:pt x="3"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29" name="Freeform 53"/>
                <p:cNvSpPr>
                  <a:spLocks/>
                </p:cNvSpPr>
                <p:nvPr>
                  <p:custDataLst>
                    <p:tags r:id="rId45"/>
                  </p:custDataLst>
                </p:nvPr>
              </p:nvSpPr>
              <p:spPr bwMode="gray">
                <a:xfrm>
                  <a:off x="8931503" y="4487890"/>
                  <a:ext cx="21154" cy="45603"/>
                </a:xfrm>
                <a:custGeom>
                  <a:avLst/>
                  <a:gdLst>
                    <a:gd name="T0" fmla="*/ 0 w 2"/>
                    <a:gd name="T1" fmla="*/ 4 h 4"/>
                    <a:gd name="T2" fmla="*/ 0 w 2"/>
                    <a:gd name="T3" fmla="*/ 0 h 4"/>
                    <a:gd name="T4" fmla="*/ 2 w 2"/>
                    <a:gd name="T5" fmla="*/ 0 h 4"/>
                    <a:gd name="T6" fmla="*/ 2 w 2"/>
                    <a:gd name="T7" fmla="*/ 0 h 4"/>
                    <a:gd name="T8" fmla="*/ 0 w 2"/>
                    <a:gd name="T9" fmla="*/ 4 h 4"/>
                    <a:gd name="T10" fmla="*/ 0 w 2"/>
                    <a:gd name="T11" fmla="*/ 4 h 4"/>
                    <a:gd name="T12" fmla="*/ 0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4"/>
                      </a:moveTo>
                      <a:lnTo>
                        <a:pt x="0" y="0"/>
                      </a:lnTo>
                      <a:lnTo>
                        <a:pt x="2" y="0"/>
                      </a:lnTo>
                      <a:lnTo>
                        <a:pt x="2" y="0"/>
                      </a:lnTo>
                      <a:cubicBezTo>
                        <a:pt x="2" y="1"/>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0" name="Freeform 56"/>
                <p:cNvSpPr>
                  <a:spLocks/>
                </p:cNvSpPr>
                <p:nvPr>
                  <p:custDataLst>
                    <p:tags r:id="rId46"/>
                  </p:custDataLst>
                </p:nvPr>
              </p:nvSpPr>
              <p:spPr bwMode="gray">
                <a:xfrm>
                  <a:off x="8811630" y="4465874"/>
                  <a:ext cx="69104" cy="144672"/>
                </a:xfrm>
                <a:custGeom>
                  <a:avLst/>
                  <a:gdLst>
                    <a:gd name="T0" fmla="*/ 1 w 7"/>
                    <a:gd name="T1" fmla="*/ 3 h 13"/>
                    <a:gd name="T2" fmla="*/ 0 w 7"/>
                    <a:gd name="T3" fmla="*/ 7 h 13"/>
                    <a:gd name="T4" fmla="*/ 0 w 7"/>
                    <a:gd name="T5" fmla="*/ 7 h 13"/>
                    <a:gd name="T6" fmla="*/ 0 w 7"/>
                    <a:gd name="T7" fmla="*/ 11 h 13"/>
                    <a:gd name="T8" fmla="*/ 3 w 7"/>
                    <a:gd name="T9" fmla="*/ 13 h 13"/>
                    <a:gd name="T10" fmla="*/ 7 w 7"/>
                    <a:gd name="T11" fmla="*/ 7 h 13"/>
                    <a:gd name="T12" fmla="*/ 4 w 7"/>
                    <a:gd name="T13" fmla="*/ 4 h 13"/>
                    <a:gd name="T14" fmla="*/ 3 w 7"/>
                    <a:gd name="T15" fmla="*/ 1 h 13"/>
                    <a:gd name="T16" fmla="*/ 1 w 7"/>
                    <a:gd name="T17" fmla="*/ 0 h 13"/>
                    <a:gd name="T18" fmla="*/ 1 w 7"/>
                    <a:gd name="T19" fmla="*/ 1 h 13"/>
                    <a:gd name="T20" fmla="*/ 1 w 7"/>
                    <a:gd name="T21" fmla="*/ 3 h 13"/>
                    <a:gd name="T22" fmla="*/ 1 w 7"/>
                    <a:gd name="T23" fmla="*/ 3 h 13"/>
                    <a:gd name="T24" fmla="*/ 1 w 7"/>
                    <a:gd name="T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1" y="3"/>
                      </a:moveTo>
                      <a:lnTo>
                        <a:pt x="0" y="7"/>
                      </a:lnTo>
                      <a:lnTo>
                        <a:pt x="0" y="7"/>
                      </a:lnTo>
                      <a:cubicBezTo>
                        <a:pt x="1" y="8"/>
                        <a:pt x="0" y="9"/>
                        <a:pt x="0" y="11"/>
                      </a:cubicBezTo>
                      <a:cubicBezTo>
                        <a:pt x="0" y="11"/>
                        <a:pt x="2" y="13"/>
                        <a:pt x="3" y="13"/>
                      </a:cubicBezTo>
                      <a:cubicBezTo>
                        <a:pt x="5" y="13"/>
                        <a:pt x="7" y="8"/>
                        <a:pt x="7" y="7"/>
                      </a:cubicBezTo>
                      <a:cubicBezTo>
                        <a:pt x="7" y="5"/>
                        <a:pt x="5" y="4"/>
                        <a:pt x="4" y="4"/>
                      </a:cubicBezTo>
                      <a:cubicBezTo>
                        <a:pt x="3" y="3"/>
                        <a:pt x="4" y="2"/>
                        <a:pt x="3" y="1"/>
                      </a:cubicBezTo>
                      <a:cubicBezTo>
                        <a:pt x="3" y="1"/>
                        <a:pt x="1" y="0"/>
                        <a:pt x="1" y="0"/>
                      </a:cubicBezTo>
                      <a:cubicBezTo>
                        <a:pt x="1" y="0"/>
                        <a:pt x="1" y="1"/>
                        <a:pt x="1" y="1"/>
                      </a:cubicBezTo>
                      <a:cubicBezTo>
                        <a:pt x="1"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1" name="Freeform 57"/>
                <p:cNvSpPr>
                  <a:spLocks/>
                </p:cNvSpPr>
                <p:nvPr>
                  <p:custDataLst>
                    <p:tags r:id="rId47"/>
                  </p:custDataLst>
                </p:nvPr>
              </p:nvSpPr>
              <p:spPr bwMode="gray">
                <a:xfrm>
                  <a:off x="8860990" y="4487890"/>
                  <a:ext cx="40897" cy="45603"/>
                </a:xfrm>
                <a:custGeom>
                  <a:avLst/>
                  <a:gdLst>
                    <a:gd name="T0" fmla="*/ 0 w 4"/>
                    <a:gd name="T1" fmla="*/ 1 h 4"/>
                    <a:gd name="T2" fmla="*/ 3 w 4"/>
                    <a:gd name="T3" fmla="*/ 4 h 4"/>
                    <a:gd name="T4" fmla="*/ 4 w 4"/>
                    <a:gd name="T5" fmla="*/ 3 h 4"/>
                    <a:gd name="T6" fmla="*/ 0 w 4"/>
                    <a:gd name="T7" fmla="*/ 0 h 4"/>
                    <a:gd name="T8" fmla="*/ 0 w 4"/>
                    <a:gd name="T9" fmla="*/ 1 h 4"/>
                    <a:gd name="T10" fmla="*/ 0 w 4"/>
                    <a:gd name="T11" fmla="*/ 1 h 4"/>
                    <a:gd name="T12" fmla="*/ 0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1"/>
                      </a:moveTo>
                      <a:cubicBezTo>
                        <a:pt x="0" y="2"/>
                        <a:pt x="2" y="4"/>
                        <a:pt x="3" y="4"/>
                      </a:cubicBezTo>
                      <a:cubicBezTo>
                        <a:pt x="4" y="4"/>
                        <a:pt x="4" y="3"/>
                        <a:pt x="4" y="3"/>
                      </a:cubicBezTo>
                      <a:cubicBezTo>
                        <a:pt x="4" y="2"/>
                        <a:pt x="2"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2" name="Freeform 58"/>
                <p:cNvSpPr>
                  <a:spLocks/>
                </p:cNvSpPr>
                <p:nvPr>
                  <p:custDataLst>
                    <p:tags r:id="rId48"/>
                  </p:custDataLst>
                </p:nvPr>
              </p:nvSpPr>
              <p:spPr bwMode="gray">
                <a:xfrm>
                  <a:off x="8820091" y="4442288"/>
                  <a:ext cx="40898" cy="45602"/>
                </a:xfrm>
                <a:custGeom>
                  <a:avLst/>
                  <a:gdLst>
                    <a:gd name="T0" fmla="*/ 0 w 4"/>
                    <a:gd name="T1" fmla="*/ 1 h 4"/>
                    <a:gd name="T2" fmla="*/ 3 w 4"/>
                    <a:gd name="T3" fmla="*/ 4 h 4"/>
                    <a:gd name="T4" fmla="*/ 4 w 4"/>
                    <a:gd name="T5" fmla="*/ 3 h 4"/>
                    <a:gd name="T6" fmla="*/ 2 w 4"/>
                    <a:gd name="T7" fmla="*/ 2 h 4"/>
                    <a:gd name="T8" fmla="*/ 2 w 4"/>
                    <a:gd name="T9" fmla="*/ 0 h 4"/>
                    <a:gd name="T10" fmla="*/ 1 w 4"/>
                    <a:gd name="T11" fmla="*/ 0 h 4"/>
                    <a:gd name="T12" fmla="*/ 0 w 4"/>
                    <a:gd name="T13" fmla="*/ 1 h 4"/>
                    <a:gd name="T14" fmla="*/ 0 w 4"/>
                    <a:gd name="T15" fmla="*/ 1 h 4"/>
                    <a:gd name="T16" fmla="*/ 0 w 4"/>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1"/>
                      </a:moveTo>
                      <a:cubicBezTo>
                        <a:pt x="0" y="1"/>
                        <a:pt x="2" y="3"/>
                        <a:pt x="3" y="4"/>
                      </a:cubicBezTo>
                      <a:cubicBezTo>
                        <a:pt x="3" y="4"/>
                        <a:pt x="4" y="3"/>
                        <a:pt x="4" y="3"/>
                      </a:cubicBezTo>
                      <a:cubicBezTo>
                        <a:pt x="4" y="2"/>
                        <a:pt x="3" y="2"/>
                        <a:pt x="2" y="2"/>
                      </a:cubicBezTo>
                      <a:cubicBezTo>
                        <a:pt x="2" y="2"/>
                        <a:pt x="2" y="1"/>
                        <a:pt x="2" y="0"/>
                      </a:cubicBezTo>
                      <a:cubicBezTo>
                        <a:pt x="2" y="0"/>
                        <a:pt x="1" y="0"/>
                        <a:pt x="1"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3" name="Freeform 59"/>
                <p:cNvSpPr>
                  <a:spLocks/>
                </p:cNvSpPr>
                <p:nvPr>
                  <p:custDataLst>
                    <p:tags r:id="rId49"/>
                  </p:custDataLst>
                </p:nvPr>
              </p:nvSpPr>
              <p:spPr bwMode="gray">
                <a:xfrm>
                  <a:off x="8829963" y="4308623"/>
                  <a:ext cx="101540" cy="190275"/>
                </a:xfrm>
                <a:custGeom>
                  <a:avLst/>
                  <a:gdLst>
                    <a:gd name="T0" fmla="*/ 1 w 10"/>
                    <a:gd name="T1" fmla="*/ 6 h 17"/>
                    <a:gd name="T2" fmla="*/ 0 w 10"/>
                    <a:gd name="T3" fmla="*/ 7 h 17"/>
                    <a:gd name="T4" fmla="*/ 0 w 10"/>
                    <a:gd name="T5" fmla="*/ 7 h 17"/>
                    <a:gd name="T6" fmla="*/ 0 w 10"/>
                    <a:gd name="T7" fmla="*/ 9 h 17"/>
                    <a:gd name="T8" fmla="*/ 1 w 10"/>
                    <a:gd name="T9" fmla="*/ 9 h 17"/>
                    <a:gd name="T10" fmla="*/ 1 w 10"/>
                    <a:gd name="T11" fmla="*/ 9 h 17"/>
                    <a:gd name="T12" fmla="*/ 1 w 10"/>
                    <a:gd name="T13" fmla="*/ 7 h 17"/>
                    <a:gd name="T14" fmla="*/ 2 w 10"/>
                    <a:gd name="T15" fmla="*/ 6 h 17"/>
                    <a:gd name="T16" fmla="*/ 3 w 10"/>
                    <a:gd name="T17" fmla="*/ 7 h 17"/>
                    <a:gd name="T18" fmla="*/ 2 w 10"/>
                    <a:gd name="T19" fmla="*/ 10 h 17"/>
                    <a:gd name="T20" fmla="*/ 3 w 10"/>
                    <a:gd name="T21" fmla="*/ 12 h 17"/>
                    <a:gd name="T22" fmla="*/ 2 w 10"/>
                    <a:gd name="T23" fmla="*/ 13 h 17"/>
                    <a:gd name="T24" fmla="*/ 7 w 10"/>
                    <a:gd name="T25" fmla="*/ 17 h 17"/>
                    <a:gd name="T26" fmla="*/ 10 w 10"/>
                    <a:gd name="T27" fmla="*/ 12 h 17"/>
                    <a:gd name="T28" fmla="*/ 8 w 10"/>
                    <a:gd name="T29" fmla="*/ 10 h 17"/>
                    <a:gd name="T30" fmla="*/ 9 w 10"/>
                    <a:gd name="T31" fmla="*/ 10 h 17"/>
                    <a:gd name="T32" fmla="*/ 9 w 10"/>
                    <a:gd name="T33" fmla="*/ 10 h 17"/>
                    <a:gd name="T34" fmla="*/ 9 w 10"/>
                    <a:gd name="T35" fmla="*/ 6 h 17"/>
                    <a:gd name="T36" fmla="*/ 9 w 10"/>
                    <a:gd name="T37" fmla="*/ 6 h 17"/>
                    <a:gd name="T38" fmla="*/ 7 w 10"/>
                    <a:gd name="T39" fmla="*/ 0 h 17"/>
                    <a:gd name="T40" fmla="*/ 6 w 10"/>
                    <a:gd name="T41" fmla="*/ 0 h 17"/>
                    <a:gd name="T42" fmla="*/ 5 w 10"/>
                    <a:gd name="T43" fmla="*/ 3 h 17"/>
                    <a:gd name="T44" fmla="*/ 1 w 10"/>
                    <a:gd name="T45" fmla="*/ 6 h 17"/>
                    <a:gd name="T46" fmla="*/ 1 w 10"/>
                    <a:gd name="T47" fmla="*/ 6 h 17"/>
                    <a:gd name="T48" fmla="*/ 1 w 10"/>
                    <a:gd name="T4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7">
                      <a:moveTo>
                        <a:pt x="1" y="6"/>
                      </a:moveTo>
                      <a:cubicBezTo>
                        <a:pt x="1" y="7"/>
                        <a:pt x="0" y="7"/>
                        <a:pt x="0" y="7"/>
                      </a:cubicBezTo>
                      <a:lnTo>
                        <a:pt x="0" y="7"/>
                      </a:lnTo>
                      <a:lnTo>
                        <a:pt x="0" y="9"/>
                      </a:lnTo>
                      <a:lnTo>
                        <a:pt x="1" y="9"/>
                      </a:lnTo>
                      <a:lnTo>
                        <a:pt x="1" y="9"/>
                      </a:lnTo>
                      <a:cubicBezTo>
                        <a:pt x="1" y="7"/>
                        <a:pt x="1" y="7"/>
                        <a:pt x="1" y="7"/>
                      </a:cubicBezTo>
                      <a:cubicBezTo>
                        <a:pt x="1" y="7"/>
                        <a:pt x="1" y="6"/>
                        <a:pt x="2" y="6"/>
                      </a:cubicBezTo>
                      <a:cubicBezTo>
                        <a:pt x="2" y="6"/>
                        <a:pt x="3" y="7"/>
                        <a:pt x="3" y="7"/>
                      </a:cubicBezTo>
                      <a:cubicBezTo>
                        <a:pt x="2" y="8"/>
                        <a:pt x="2" y="8"/>
                        <a:pt x="2" y="10"/>
                      </a:cubicBezTo>
                      <a:cubicBezTo>
                        <a:pt x="2" y="11"/>
                        <a:pt x="3" y="11"/>
                        <a:pt x="3" y="12"/>
                      </a:cubicBezTo>
                      <a:cubicBezTo>
                        <a:pt x="2" y="12"/>
                        <a:pt x="2" y="13"/>
                        <a:pt x="2" y="13"/>
                      </a:cubicBezTo>
                      <a:cubicBezTo>
                        <a:pt x="2" y="15"/>
                        <a:pt x="6" y="17"/>
                        <a:pt x="7" y="17"/>
                      </a:cubicBezTo>
                      <a:cubicBezTo>
                        <a:pt x="8" y="17"/>
                        <a:pt x="10" y="13"/>
                        <a:pt x="10" y="12"/>
                      </a:cubicBezTo>
                      <a:cubicBezTo>
                        <a:pt x="10" y="12"/>
                        <a:pt x="8" y="11"/>
                        <a:pt x="8" y="10"/>
                      </a:cubicBezTo>
                      <a:cubicBezTo>
                        <a:pt x="8" y="10"/>
                        <a:pt x="8" y="10"/>
                        <a:pt x="9" y="10"/>
                      </a:cubicBezTo>
                      <a:lnTo>
                        <a:pt x="9" y="10"/>
                      </a:lnTo>
                      <a:lnTo>
                        <a:pt x="9" y="6"/>
                      </a:lnTo>
                      <a:lnTo>
                        <a:pt x="9" y="6"/>
                      </a:lnTo>
                      <a:cubicBezTo>
                        <a:pt x="9" y="4"/>
                        <a:pt x="7" y="2"/>
                        <a:pt x="7" y="0"/>
                      </a:cubicBezTo>
                      <a:cubicBezTo>
                        <a:pt x="7" y="0"/>
                        <a:pt x="7" y="0"/>
                        <a:pt x="6" y="0"/>
                      </a:cubicBezTo>
                      <a:cubicBezTo>
                        <a:pt x="6" y="1"/>
                        <a:pt x="6" y="2"/>
                        <a:pt x="5" y="3"/>
                      </a:cubicBezTo>
                      <a:cubicBezTo>
                        <a:pt x="4" y="5"/>
                        <a:pt x="4" y="6"/>
                        <a:pt x="1" y="6"/>
                      </a:cubicBezTo>
                      <a:lnTo>
                        <a:pt x="1" y="6"/>
                      </a:lnTo>
                      <a:lnTo>
                        <a:pt x="1"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4" name="Freeform 60"/>
                <p:cNvSpPr>
                  <a:spLocks/>
                </p:cNvSpPr>
                <p:nvPr>
                  <p:custDataLst>
                    <p:tags r:id="rId50"/>
                  </p:custDataLst>
                </p:nvPr>
              </p:nvSpPr>
              <p:spPr bwMode="gray">
                <a:xfrm>
                  <a:off x="8851117" y="4343219"/>
                  <a:ext cx="987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5" name="Freeform 61"/>
                <p:cNvSpPr>
                  <a:spLocks/>
                </p:cNvSpPr>
                <p:nvPr>
                  <p:custDataLst>
                    <p:tags r:id="rId51"/>
                  </p:custDataLst>
                </p:nvPr>
              </p:nvSpPr>
              <p:spPr bwMode="gray">
                <a:xfrm>
                  <a:off x="8298292" y="4824408"/>
                  <a:ext cx="49360" cy="56611"/>
                </a:xfrm>
                <a:custGeom>
                  <a:avLst/>
                  <a:gdLst>
                    <a:gd name="T0" fmla="*/ 4 w 5"/>
                    <a:gd name="T1" fmla="*/ 0 h 5"/>
                    <a:gd name="T2" fmla="*/ 5 w 5"/>
                    <a:gd name="T3" fmla="*/ 1 h 5"/>
                    <a:gd name="T4" fmla="*/ 0 w 5"/>
                    <a:gd name="T5" fmla="*/ 5 h 5"/>
                    <a:gd name="T6" fmla="*/ 4 w 5"/>
                    <a:gd name="T7" fmla="*/ 0 h 5"/>
                    <a:gd name="T8" fmla="*/ 4 w 5"/>
                    <a:gd name="T9" fmla="*/ 0 h 5"/>
                    <a:gd name="T10" fmla="*/ 4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4" y="0"/>
                      </a:moveTo>
                      <a:cubicBezTo>
                        <a:pt x="5" y="0"/>
                        <a:pt x="5" y="1"/>
                        <a:pt x="5" y="1"/>
                      </a:cubicBezTo>
                      <a:cubicBezTo>
                        <a:pt x="4" y="3"/>
                        <a:pt x="1" y="4"/>
                        <a:pt x="0" y="5"/>
                      </a:cubicBezTo>
                      <a:cubicBezTo>
                        <a:pt x="0" y="2"/>
                        <a:pt x="3" y="2"/>
                        <a:pt x="4" y="0"/>
                      </a:cubicBezTo>
                      <a:lnTo>
                        <a:pt x="4" y="0"/>
                      </a:lnTo>
                      <a:lnTo>
                        <a:pt x="4"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6" name="Freeform 62"/>
                <p:cNvSpPr>
                  <a:spLocks/>
                </p:cNvSpPr>
                <p:nvPr>
                  <p:custDataLst>
                    <p:tags r:id="rId52"/>
                  </p:custDataLst>
                </p:nvPr>
              </p:nvSpPr>
              <p:spPr bwMode="gray">
                <a:xfrm>
                  <a:off x="8309573" y="4712760"/>
                  <a:ext cx="18334" cy="22015"/>
                </a:xfrm>
                <a:custGeom>
                  <a:avLst/>
                  <a:gdLst>
                    <a:gd name="T0" fmla="*/ 0 w 2"/>
                    <a:gd name="T1" fmla="*/ 0 h 2"/>
                    <a:gd name="T2" fmla="*/ 0 w 2"/>
                    <a:gd name="T3" fmla="*/ 2 h 2"/>
                    <a:gd name="T4" fmla="*/ 2 w 2"/>
                    <a:gd name="T5" fmla="*/ 1 h 2"/>
                    <a:gd name="T6" fmla="*/ 0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0" y="1"/>
                        <a:pt x="0" y="2"/>
                      </a:cubicBezTo>
                      <a:cubicBezTo>
                        <a:pt x="1" y="2"/>
                        <a:pt x="1" y="2"/>
                        <a:pt x="2" y="1"/>
                      </a:cubicBezTo>
                      <a:cubicBezTo>
                        <a:pt x="1"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7" name="Freeform 63"/>
                <p:cNvSpPr>
                  <a:spLocks/>
                </p:cNvSpPr>
                <p:nvPr>
                  <p:custDataLst>
                    <p:tags r:id="rId53"/>
                  </p:custDataLst>
                </p:nvPr>
              </p:nvSpPr>
              <p:spPr bwMode="gray">
                <a:xfrm>
                  <a:off x="8327908" y="4701752"/>
                  <a:ext cx="19744" cy="22015"/>
                </a:xfrm>
                <a:custGeom>
                  <a:avLst/>
                  <a:gdLst>
                    <a:gd name="T0" fmla="*/ 0 w 2"/>
                    <a:gd name="T1" fmla="*/ 1 h 2"/>
                    <a:gd name="T2" fmla="*/ 1 w 2"/>
                    <a:gd name="T3" fmla="*/ 2 h 2"/>
                    <a:gd name="T4" fmla="*/ 2 w 2"/>
                    <a:gd name="T5" fmla="*/ 1 h 2"/>
                    <a:gd name="T6" fmla="*/ 2 w 2"/>
                    <a:gd name="T7" fmla="*/ 1 h 2"/>
                    <a:gd name="T8" fmla="*/ 2 w 2"/>
                    <a:gd name="T9" fmla="*/ 0 h 2"/>
                    <a:gd name="T10" fmla="*/ 2 w 2"/>
                    <a:gd name="T11" fmla="*/ 0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2"/>
                        <a:pt x="1" y="2"/>
                        <a:pt x="1" y="2"/>
                      </a:cubicBezTo>
                      <a:cubicBezTo>
                        <a:pt x="2" y="2"/>
                        <a:pt x="2" y="1"/>
                        <a:pt x="2" y="1"/>
                      </a:cubicBezTo>
                      <a:lnTo>
                        <a:pt x="2" y="1"/>
                      </a:lnTo>
                      <a:lnTo>
                        <a:pt x="2" y="0"/>
                      </a:lnTo>
                      <a:lnTo>
                        <a:pt x="2" y="0"/>
                      </a:ln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8" name="Freeform 64"/>
                <p:cNvSpPr>
                  <a:spLocks/>
                </p:cNvSpPr>
                <p:nvPr>
                  <p:custDataLst>
                    <p:tags r:id="rId54"/>
                  </p:custDataLst>
                </p:nvPr>
              </p:nvSpPr>
              <p:spPr bwMode="gray">
                <a:xfrm>
                  <a:off x="8347651" y="4634133"/>
                  <a:ext cx="101540" cy="190274"/>
                </a:xfrm>
                <a:custGeom>
                  <a:avLst/>
                  <a:gdLst>
                    <a:gd name="T0" fmla="*/ 1 w 10"/>
                    <a:gd name="T1" fmla="*/ 11 h 17"/>
                    <a:gd name="T2" fmla="*/ 1 w 10"/>
                    <a:gd name="T3" fmla="*/ 11 h 17"/>
                    <a:gd name="T4" fmla="*/ 1 w 10"/>
                    <a:gd name="T5" fmla="*/ 8 h 17"/>
                    <a:gd name="T6" fmla="*/ 5 w 10"/>
                    <a:gd name="T7" fmla="*/ 4 h 17"/>
                    <a:gd name="T8" fmla="*/ 8 w 10"/>
                    <a:gd name="T9" fmla="*/ 0 h 17"/>
                    <a:gd name="T10" fmla="*/ 10 w 10"/>
                    <a:gd name="T11" fmla="*/ 1 h 17"/>
                    <a:gd name="T12" fmla="*/ 8 w 10"/>
                    <a:gd name="T13" fmla="*/ 7 h 17"/>
                    <a:gd name="T14" fmla="*/ 8 w 10"/>
                    <a:gd name="T15" fmla="*/ 7 h 17"/>
                    <a:gd name="T16" fmla="*/ 9 w 10"/>
                    <a:gd name="T17" fmla="*/ 8 h 17"/>
                    <a:gd name="T18" fmla="*/ 9 w 10"/>
                    <a:gd name="T19" fmla="*/ 8 h 17"/>
                    <a:gd name="T20" fmla="*/ 4 w 10"/>
                    <a:gd name="T21" fmla="*/ 15 h 17"/>
                    <a:gd name="T22" fmla="*/ 4 w 10"/>
                    <a:gd name="T23" fmla="*/ 15 h 17"/>
                    <a:gd name="T24" fmla="*/ 3 w 10"/>
                    <a:gd name="T25" fmla="*/ 16 h 17"/>
                    <a:gd name="T26" fmla="*/ 3 w 10"/>
                    <a:gd name="T27" fmla="*/ 16 h 17"/>
                    <a:gd name="T28" fmla="*/ 2 w 10"/>
                    <a:gd name="T29" fmla="*/ 16 h 17"/>
                    <a:gd name="T30" fmla="*/ 0 w 10"/>
                    <a:gd name="T31" fmla="*/ 16 h 17"/>
                    <a:gd name="T32" fmla="*/ 1 w 10"/>
                    <a:gd name="T33" fmla="*/ 11 h 17"/>
                    <a:gd name="T34" fmla="*/ 1 w 10"/>
                    <a:gd name="T35" fmla="*/ 11 h 17"/>
                    <a:gd name="T36" fmla="*/ 1 w 10"/>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7">
                      <a:moveTo>
                        <a:pt x="1" y="11"/>
                      </a:moveTo>
                      <a:cubicBezTo>
                        <a:pt x="1" y="11"/>
                        <a:pt x="1" y="11"/>
                        <a:pt x="1" y="11"/>
                      </a:cubicBezTo>
                      <a:cubicBezTo>
                        <a:pt x="1" y="10"/>
                        <a:pt x="1" y="9"/>
                        <a:pt x="1" y="8"/>
                      </a:cubicBezTo>
                      <a:cubicBezTo>
                        <a:pt x="2" y="6"/>
                        <a:pt x="5" y="6"/>
                        <a:pt x="5" y="4"/>
                      </a:cubicBezTo>
                      <a:cubicBezTo>
                        <a:pt x="5" y="4"/>
                        <a:pt x="8" y="0"/>
                        <a:pt x="8" y="0"/>
                      </a:cubicBezTo>
                      <a:cubicBezTo>
                        <a:pt x="9" y="0"/>
                        <a:pt x="9" y="1"/>
                        <a:pt x="10" y="1"/>
                      </a:cubicBezTo>
                      <a:cubicBezTo>
                        <a:pt x="9" y="2"/>
                        <a:pt x="8" y="5"/>
                        <a:pt x="8" y="7"/>
                      </a:cubicBezTo>
                      <a:lnTo>
                        <a:pt x="8" y="7"/>
                      </a:lnTo>
                      <a:lnTo>
                        <a:pt x="9" y="8"/>
                      </a:lnTo>
                      <a:lnTo>
                        <a:pt x="9" y="8"/>
                      </a:lnTo>
                      <a:cubicBezTo>
                        <a:pt x="8" y="10"/>
                        <a:pt x="4" y="12"/>
                        <a:pt x="4" y="15"/>
                      </a:cubicBezTo>
                      <a:cubicBezTo>
                        <a:pt x="4" y="15"/>
                        <a:pt x="4" y="15"/>
                        <a:pt x="4" y="15"/>
                      </a:cubicBezTo>
                      <a:cubicBezTo>
                        <a:pt x="4" y="16"/>
                        <a:pt x="3" y="16"/>
                        <a:pt x="3" y="16"/>
                      </a:cubicBezTo>
                      <a:cubicBezTo>
                        <a:pt x="3" y="16"/>
                        <a:pt x="3" y="16"/>
                        <a:pt x="3" y="16"/>
                      </a:cubicBezTo>
                      <a:cubicBezTo>
                        <a:pt x="2" y="16"/>
                        <a:pt x="2" y="16"/>
                        <a:pt x="2" y="16"/>
                      </a:cubicBezTo>
                      <a:cubicBezTo>
                        <a:pt x="1" y="16"/>
                        <a:pt x="0" y="17"/>
                        <a:pt x="0" y="16"/>
                      </a:cubicBezTo>
                      <a:cubicBezTo>
                        <a:pt x="0" y="14"/>
                        <a:pt x="1" y="13"/>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39" name="Freeform 65"/>
                <p:cNvSpPr>
                  <a:spLocks/>
                </p:cNvSpPr>
                <p:nvPr>
                  <p:custDataLst>
                    <p:tags r:id="rId55"/>
                  </p:custDataLst>
                </p:nvPr>
              </p:nvSpPr>
              <p:spPr bwMode="gray">
                <a:xfrm>
                  <a:off x="8449190" y="4634135"/>
                  <a:ext cx="39488" cy="33022"/>
                </a:xfrm>
                <a:custGeom>
                  <a:avLst/>
                  <a:gdLst>
                    <a:gd name="T0" fmla="*/ 2 w 4"/>
                    <a:gd name="T1" fmla="*/ 0 h 3"/>
                    <a:gd name="T2" fmla="*/ 4 w 4"/>
                    <a:gd name="T3" fmla="*/ 2 h 3"/>
                    <a:gd name="T4" fmla="*/ 4 w 4"/>
                    <a:gd name="T5" fmla="*/ 2 h 3"/>
                    <a:gd name="T6" fmla="*/ 4 w 4"/>
                    <a:gd name="T7" fmla="*/ 3 h 3"/>
                    <a:gd name="T8" fmla="*/ 4 w 4"/>
                    <a:gd name="T9" fmla="*/ 3 h 3"/>
                    <a:gd name="T10" fmla="*/ 1 w 4"/>
                    <a:gd name="T11" fmla="*/ 1 h 3"/>
                    <a:gd name="T12" fmla="*/ 0 w 4"/>
                    <a:gd name="T13" fmla="*/ 2 h 3"/>
                    <a:gd name="T14" fmla="*/ 2 w 4"/>
                    <a:gd name="T15" fmla="*/ 0 h 3"/>
                    <a:gd name="T16" fmla="*/ 2 w 4"/>
                    <a:gd name="T17" fmla="*/ 0 h 3"/>
                    <a:gd name="T18" fmla="*/ 2 w 4"/>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2" y="0"/>
                      </a:moveTo>
                      <a:cubicBezTo>
                        <a:pt x="3" y="0"/>
                        <a:pt x="3" y="1"/>
                        <a:pt x="4" y="2"/>
                      </a:cubicBezTo>
                      <a:lnTo>
                        <a:pt x="4" y="2"/>
                      </a:lnTo>
                      <a:lnTo>
                        <a:pt x="4" y="3"/>
                      </a:lnTo>
                      <a:lnTo>
                        <a:pt x="4" y="3"/>
                      </a:lnTo>
                      <a:cubicBezTo>
                        <a:pt x="3" y="2"/>
                        <a:pt x="2" y="1"/>
                        <a:pt x="1" y="1"/>
                      </a:cubicBezTo>
                      <a:cubicBezTo>
                        <a:pt x="1" y="1"/>
                        <a:pt x="0" y="1"/>
                        <a:pt x="0" y="2"/>
                      </a:cubicBezTo>
                      <a:cubicBezTo>
                        <a:pt x="0" y="1"/>
                        <a:pt x="1"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0" name="Freeform 67"/>
                <p:cNvSpPr>
                  <a:spLocks/>
                </p:cNvSpPr>
                <p:nvPr>
                  <p:custDataLst>
                    <p:tags r:id="rId56"/>
                  </p:custDataLst>
                </p:nvPr>
              </p:nvSpPr>
              <p:spPr bwMode="gray">
                <a:xfrm>
                  <a:off x="8086750" y="4767798"/>
                  <a:ext cx="60642" cy="56611"/>
                </a:xfrm>
                <a:custGeom>
                  <a:avLst/>
                  <a:gdLst>
                    <a:gd name="T0" fmla="*/ 1 w 6"/>
                    <a:gd name="T1" fmla="*/ 1 h 5"/>
                    <a:gd name="T2" fmla="*/ 4 w 6"/>
                    <a:gd name="T3" fmla="*/ 4 h 5"/>
                    <a:gd name="T4" fmla="*/ 6 w 6"/>
                    <a:gd name="T5" fmla="*/ 3 h 5"/>
                    <a:gd name="T6" fmla="*/ 6 w 6"/>
                    <a:gd name="T7" fmla="*/ 1 h 5"/>
                    <a:gd name="T8" fmla="*/ 3 w 6"/>
                    <a:gd name="T9" fmla="*/ 0 h 5"/>
                    <a:gd name="T10" fmla="*/ 1 w 6"/>
                    <a:gd name="T11" fmla="*/ 1 h 5"/>
                    <a:gd name="T12" fmla="*/ 1 w 6"/>
                    <a:gd name="T13" fmla="*/ 1 h 5"/>
                    <a:gd name="T14" fmla="*/ 1 w 6"/>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1"/>
                      </a:moveTo>
                      <a:cubicBezTo>
                        <a:pt x="0" y="4"/>
                        <a:pt x="3" y="3"/>
                        <a:pt x="4" y="4"/>
                      </a:cubicBezTo>
                      <a:cubicBezTo>
                        <a:pt x="4" y="5"/>
                        <a:pt x="6" y="4"/>
                        <a:pt x="6" y="3"/>
                      </a:cubicBezTo>
                      <a:cubicBezTo>
                        <a:pt x="6" y="3"/>
                        <a:pt x="6" y="1"/>
                        <a:pt x="6" y="1"/>
                      </a:cubicBezTo>
                      <a:cubicBezTo>
                        <a:pt x="5" y="0"/>
                        <a:pt x="4" y="0"/>
                        <a:pt x="3" y="0"/>
                      </a:cubicBezTo>
                      <a:cubicBezTo>
                        <a:pt x="2" y="0"/>
                        <a:pt x="2" y="1"/>
                        <a:pt x="1" y="1"/>
                      </a:cubicBez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1" name="Freeform 68"/>
                <p:cNvSpPr>
                  <a:spLocks/>
                </p:cNvSpPr>
                <p:nvPr>
                  <p:custDataLst>
                    <p:tags r:id="rId57"/>
                  </p:custDataLst>
                </p:nvPr>
              </p:nvSpPr>
              <p:spPr bwMode="gray">
                <a:xfrm>
                  <a:off x="8147392" y="4824408"/>
                  <a:ext cx="19744" cy="33023"/>
                </a:xfrm>
                <a:custGeom>
                  <a:avLst/>
                  <a:gdLst>
                    <a:gd name="T0" fmla="*/ 0 w 2"/>
                    <a:gd name="T1" fmla="*/ 2 h 3"/>
                    <a:gd name="T2" fmla="*/ 0 w 2"/>
                    <a:gd name="T3" fmla="*/ 3 h 3"/>
                    <a:gd name="T4" fmla="*/ 0 w 2"/>
                    <a:gd name="T5" fmla="*/ 3 h 3"/>
                    <a:gd name="T6" fmla="*/ 0 w 2"/>
                    <a:gd name="T7" fmla="*/ 3 h 3"/>
                    <a:gd name="T8" fmla="*/ 0 w 2"/>
                    <a:gd name="T9" fmla="*/ 2 h 3"/>
                    <a:gd name="T10" fmla="*/ 2 w 2"/>
                    <a:gd name="T11" fmla="*/ 1 h 3"/>
                    <a:gd name="T12" fmla="*/ 1 w 2"/>
                    <a:gd name="T13" fmla="*/ 0 h 3"/>
                    <a:gd name="T14" fmla="*/ 0 w 2"/>
                    <a:gd name="T15" fmla="*/ 2 h 3"/>
                    <a:gd name="T16" fmla="*/ 0 w 2"/>
                    <a:gd name="T17" fmla="*/ 2 h 3"/>
                    <a:gd name="T18" fmla="*/ 0 w 2"/>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2"/>
                      </a:moveTo>
                      <a:lnTo>
                        <a:pt x="0" y="3"/>
                      </a:lnTo>
                      <a:lnTo>
                        <a:pt x="0" y="3"/>
                      </a:lnTo>
                      <a:lnTo>
                        <a:pt x="0" y="3"/>
                      </a:lnTo>
                      <a:cubicBezTo>
                        <a:pt x="0" y="2"/>
                        <a:pt x="0" y="2"/>
                        <a:pt x="0" y="2"/>
                      </a:cubicBezTo>
                      <a:cubicBezTo>
                        <a:pt x="1" y="2"/>
                        <a:pt x="2" y="1"/>
                        <a:pt x="2" y="1"/>
                      </a:cubicBezTo>
                      <a:cubicBezTo>
                        <a:pt x="2" y="1"/>
                        <a:pt x="1" y="1"/>
                        <a:pt x="1" y="0"/>
                      </a:cubicBezTo>
                      <a:cubicBezTo>
                        <a:pt x="0"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2" name="Freeform 69"/>
                <p:cNvSpPr>
                  <a:spLocks/>
                </p:cNvSpPr>
                <p:nvPr>
                  <p:custDataLst>
                    <p:tags r:id="rId58"/>
                  </p:custDataLst>
                </p:nvPr>
              </p:nvSpPr>
              <p:spPr bwMode="gray">
                <a:xfrm>
                  <a:off x="7986622" y="4846423"/>
                  <a:ext cx="29615" cy="11009"/>
                </a:xfrm>
                <a:custGeom>
                  <a:avLst/>
                  <a:gdLst>
                    <a:gd name="T0" fmla="*/ 0 w 3"/>
                    <a:gd name="T1" fmla="*/ 1 h 1"/>
                    <a:gd name="T2" fmla="*/ 2 w 3"/>
                    <a:gd name="T3" fmla="*/ 1 h 1"/>
                    <a:gd name="T4" fmla="*/ 3 w 3"/>
                    <a:gd name="T5" fmla="*/ 0 h 1"/>
                    <a:gd name="T6" fmla="*/ 2 w 3"/>
                    <a:gd name="T7" fmla="*/ 0 h 1"/>
                    <a:gd name="T8" fmla="*/ 0 w 3"/>
                    <a:gd name="T9" fmla="*/ 1 h 1"/>
                    <a:gd name="T10" fmla="*/ 0 w 3"/>
                    <a:gd name="T11" fmla="*/ 1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0" y="1"/>
                        <a:pt x="1" y="1"/>
                        <a:pt x="2" y="1"/>
                      </a:cubicBezTo>
                      <a:cubicBezTo>
                        <a:pt x="3" y="1"/>
                        <a:pt x="3" y="1"/>
                        <a:pt x="3" y="0"/>
                      </a:cubicBezTo>
                      <a:cubicBezTo>
                        <a:pt x="2" y="0"/>
                        <a:pt x="2" y="0"/>
                        <a:pt x="2" y="0"/>
                      </a:cubicBez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3" name="Freeform 73"/>
                <p:cNvSpPr>
                  <a:spLocks/>
                </p:cNvSpPr>
                <p:nvPr>
                  <p:custDataLst>
                    <p:tags r:id="rId59"/>
                  </p:custDataLst>
                </p:nvPr>
              </p:nvSpPr>
              <p:spPr bwMode="gray">
                <a:xfrm>
                  <a:off x="8590218" y="3928075"/>
                  <a:ext cx="19744" cy="33023"/>
                </a:xfrm>
                <a:custGeom>
                  <a:avLst/>
                  <a:gdLst>
                    <a:gd name="T0" fmla="*/ 0 w 2"/>
                    <a:gd name="T1" fmla="*/ 2 h 3"/>
                    <a:gd name="T2" fmla="*/ 0 w 2"/>
                    <a:gd name="T3" fmla="*/ 1 h 3"/>
                    <a:gd name="T4" fmla="*/ 1 w 2"/>
                    <a:gd name="T5" fmla="*/ 1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0" y="1"/>
                        <a:pt x="0" y="1"/>
                      </a:cubicBezTo>
                      <a:cubicBezTo>
                        <a:pt x="0" y="0"/>
                        <a:pt x="1" y="1"/>
                        <a:pt x="1" y="1"/>
                      </a:cubicBezTo>
                      <a:cubicBezTo>
                        <a:pt x="2" y="2"/>
                        <a:pt x="2" y="3"/>
                        <a:pt x="1" y="3"/>
                      </a:cubicBezTo>
                      <a:cubicBezTo>
                        <a:pt x="1" y="3"/>
                        <a:pt x="1"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4" name="Freeform 74"/>
                <p:cNvSpPr>
                  <a:spLocks/>
                </p:cNvSpPr>
                <p:nvPr>
                  <p:custDataLst>
                    <p:tags r:id="rId60"/>
                  </p:custDataLst>
                </p:nvPr>
              </p:nvSpPr>
              <p:spPr bwMode="gray">
                <a:xfrm>
                  <a:off x="7937262" y="4634135"/>
                  <a:ext cx="19744" cy="22015"/>
                </a:xfrm>
                <a:custGeom>
                  <a:avLst/>
                  <a:gdLst>
                    <a:gd name="T0" fmla="*/ 0 w 2"/>
                    <a:gd name="T1" fmla="*/ 2 h 2"/>
                    <a:gd name="T2" fmla="*/ 2 w 2"/>
                    <a:gd name="T3" fmla="*/ 2 h 2"/>
                    <a:gd name="T4" fmla="*/ 1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0" y="2"/>
                        <a:pt x="2" y="2"/>
                        <a:pt x="2" y="2"/>
                      </a:cubicBezTo>
                      <a:cubicBezTo>
                        <a:pt x="2" y="1"/>
                        <a:pt x="1" y="1"/>
                        <a:pt x="1" y="0"/>
                      </a:cubicBezTo>
                      <a:cubicBezTo>
                        <a:pt x="1"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5" name="Freeform 75"/>
                <p:cNvSpPr>
                  <a:spLocks/>
                </p:cNvSpPr>
                <p:nvPr>
                  <p:custDataLst>
                    <p:tags r:id="rId61"/>
                  </p:custDataLst>
                </p:nvPr>
              </p:nvSpPr>
              <p:spPr bwMode="gray">
                <a:xfrm>
                  <a:off x="7714438" y="4813401"/>
                  <a:ext cx="11282" cy="22015"/>
                </a:xfrm>
                <a:custGeom>
                  <a:avLst/>
                  <a:gdLst>
                    <a:gd name="T0" fmla="*/ 0 w 1"/>
                    <a:gd name="T1" fmla="*/ 0 h 2"/>
                    <a:gd name="T2" fmla="*/ 1 w 1"/>
                    <a:gd name="T3" fmla="*/ 2 h 2"/>
                    <a:gd name="T4" fmla="*/ 1 w 1"/>
                    <a:gd name="T5" fmla="*/ 0 h 2"/>
                    <a:gd name="T6" fmla="*/ 1 w 1"/>
                    <a:gd name="T7" fmla="*/ 0 h 2"/>
                    <a:gd name="T8" fmla="*/ 0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1"/>
                        <a:pt x="0" y="2"/>
                        <a:pt x="1" y="2"/>
                      </a:cubicBezTo>
                      <a:cubicBezTo>
                        <a:pt x="1" y="1"/>
                        <a:pt x="1" y="1"/>
                        <a:pt x="1" y="0"/>
                      </a:cubicBezTo>
                      <a:lnTo>
                        <a:pt x="1"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6" name="Freeform 76"/>
                <p:cNvSpPr>
                  <a:spLocks/>
                </p:cNvSpPr>
                <p:nvPr>
                  <p:custDataLst>
                    <p:tags r:id="rId62"/>
                  </p:custDataLst>
                </p:nvPr>
              </p:nvSpPr>
              <p:spPr bwMode="gray">
                <a:xfrm>
                  <a:off x="7745465" y="4723767"/>
                  <a:ext cx="19744" cy="20443"/>
                </a:xfrm>
                <a:custGeom>
                  <a:avLst/>
                  <a:gdLst>
                    <a:gd name="T0" fmla="*/ 0 w 2"/>
                    <a:gd name="T1" fmla="*/ 0 h 2"/>
                    <a:gd name="T2" fmla="*/ 1 w 2"/>
                    <a:gd name="T3" fmla="*/ 2 h 2"/>
                    <a:gd name="T4" fmla="*/ 2 w 2"/>
                    <a:gd name="T5" fmla="*/ 1 h 2"/>
                    <a:gd name="T6" fmla="*/ 0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1" y="2"/>
                        <a:pt x="1" y="2"/>
                      </a:cubicBezTo>
                      <a:cubicBezTo>
                        <a:pt x="1" y="2"/>
                        <a:pt x="2" y="2"/>
                        <a:pt x="2" y="1"/>
                      </a:cubicBezTo>
                      <a:cubicBezTo>
                        <a:pt x="2"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7" name="Freeform 77"/>
                <p:cNvSpPr>
                  <a:spLocks/>
                </p:cNvSpPr>
                <p:nvPr>
                  <p:custDataLst>
                    <p:tags r:id="rId63"/>
                  </p:custDataLst>
                </p:nvPr>
              </p:nvSpPr>
              <p:spPr bwMode="gray">
                <a:xfrm>
                  <a:off x="7796235" y="4835416"/>
                  <a:ext cx="1833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2"/>
                        <a:pt x="2"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8" name="Freeform 78"/>
                <p:cNvSpPr>
                  <a:spLocks/>
                </p:cNvSpPr>
                <p:nvPr>
                  <p:custDataLst>
                    <p:tags r:id="rId64"/>
                  </p:custDataLst>
                </p:nvPr>
              </p:nvSpPr>
              <p:spPr bwMode="gray">
                <a:xfrm>
                  <a:off x="7875210" y="4857431"/>
                  <a:ext cx="11282" cy="12580"/>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49" name="Freeform 79"/>
                <p:cNvSpPr>
                  <a:spLocks/>
                </p:cNvSpPr>
                <p:nvPr>
                  <p:custDataLst>
                    <p:tags r:id="rId65"/>
                  </p:custDataLst>
                </p:nvPr>
              </p:nvSpPr>
              <p:spPr bwMode="gray">
                <a:xfrm>
                  <a:off x="7825851" y="4835416"/>
                  <a:ext cx="49359" cy="34595"/>
                </a:xfrm>
                <a:custGeom>
                  <a:avLst/>
                  <a:gdLst>
                    <a:gd name="T0" fmla="*/ 0 w 5"/>
                    <a:gd name="T1" fmla="*/ 2 h 3"/>
                    <a:gd name="T2" fmla="*/ 0 w 5"/>
                    <a:gd name="T3" fmla="*/ 0 h 3"/>
                    <a:gd name="T4" fmla="*/ 1 w 5"/>
                    <a:gd name="T5" fmla="*/ 0 h 3"/>
                    <a:gd name="T6" fmla="*/ 5 w 5"/>
                    <a:gd name="T7" fmla="*/ 1 h 3"/>
                    <a:gd name="T8" fmla="*/ 5 w 5"/>
                    <a:gd name="T9" fmla="*/ 1 h 3"/>
                    <a:gd name="T10" fmla="*/ 5 w 5"/>
                    <a:gd name="T11" fmla="*/ 2 h 3"/>
                    <a:gd name="T12" fmla="*/ 3 w 5"/>
                    <a:gd name="T13" fmla="*/ 3 h 3"/>
                    <a:gd name="T14" fmla="*/ 3 w 5"/>
                    <a:gd name="T15" fmla="*/ 3 h 3"/>
                    <a:gd name="T16" fmla="*/ 1 w 5"/>
                    <a:gd name="T17" fmla="*/ 2 h 3"/>
                    <a:gd name="T18" fmla="*/ 0 w 5"/>
                    <a:gd name="T19" fmla="*/ 2 h 3"/>
                    <a:gd name="T20" fmla="*/ 0 w 5"/>
                    <a:gd name="T21" fmla="*/ 2 h 3"/>
                    <a:gd name="T22" fmla="*/ 0 w 5"/>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2"/>
                      </a:moveTo>
                      <a:cubicBezTo>
                        <a:pt x="0" y="2"/>
                        <a:pt x="0" y="1"/>
                        <a:pt x="0" y="0"/>
                      </a:cubicBezTo>
                      <a:cubicBezTo>
                        <a:pt x="0" y="0"/>
                        <a:pt x="0" y="0"/>
                        <a:pt x="1" y="0"/>
                      </a:cubicBezTo>
                      <a:cubicBezTo>
                        <a:pt x="2" y="0"/>
                        <a:pt x="3" y="1"/>
                        <a:pt x="5" y="1"/>
                      </a:cubicBezTo>
                      <a:lnTo>
                        <a:pt x="5" y="1"/>
                      </a:lnTo>
                      <a:lnTo>
                        <a:pt x="5" y="2"/>
                      </a:lnTo>
                      <a:lnTo>
                        <a:pt x="3" y="3"/>
                      </a:lnTo>
                      <a:lnTo>
                        <a:pt x="3" y="3"/>
                      </a:lnTo>
                      <a:cubicBezTo>
                        <a:pt x="2" y="3"/>
                        <a:pt x="1" y="2"/>
                        <a:pt x="1" y="2"/>
                      </a:cubicBezTo>
                      <a:cubicBezTo>
                        <a:pt x="1" y="2"/>
                        <a:pt x="1"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0" name="Freeform 80"/>
                <p:cNvSpPr>
                  <a:spLocks/>
                </p:cNvSpPr>
                <p:nvPr>
                  <p:custDataLst>
                    <p:tags r:id="rId66"/>
                  </p:custDataLst>
                </p:nvPr>
              </p:nvSpPr>
              <p:spPr bwMode="gray">
                <a:xfrm>
                  <a:off x="7454948" y="4835416"/>
                  <a:ext cx="28206" cy="34595"/>
                </a:xfrm>
                <a:custGeom>
                  <a:avLst/>
                  <a:gdLst>
                    <a:gd name="T0" fmla="*/ 0 w 3"/>
                    <a:gd name="T1" fmla="*/ 3 h 3"/>
                    <a:gd name="T2" fmla="*/ 2 w 3"/>
                    <a:gd name="T3" fmla="*/ 0 h 3"/>
                    <a:gd name="T4" fmla="*/ 3 w 3"/>
                    <a:gd name="T5" fmla="*/ 1 h 3"/>
                    <a:gd name="T6" fmla="*/ 1 w 3"/>
                    <a:gd name="T7" fmla="*/ 3 h 3"/>
                    <a:gd name="T8" fmla="*/ 1 w 3"/>
                    <a:gd name="T9" fmla="*/ 3 h 3"/>
                    <a:gd name="T10" fmla="*/ 0 w 3"/>
                    <a:gd name="T11" fmla="*/ 3 h 3"/>
                    <a:gd name="T12" fmla="*/ 0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3"/>
                      </a:moveTo>
                      <a:cubicBezTo>
                        <a:pt x="0" y="2"/>
                        <a:pt x="1" y="1"/>
                        <a:pt x="2" y="0"/>
                      </a:cubicBezTo>
                      <a:cubicBezTo>
                        <a:pt x="2" y="1"/>
                        <a:pt x="2" y="1"/>
                        <a:pt x="3" y="1"/>
                      </a:cubicBezTo>
                      <a:cubicBezTo>
                        <a:pt x="2" y="2"/>
                        <a:pt x="2" y="3"/>
                        <a:pt x="1" y="3"/>
                      </a:cubicBezTo>
                      <a:lnTo>
                        <a:pt x="1" y="3"/>
                      </a:ln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1" name="Freeform 81"/>
                <p:cNvSpPr>
                  <a:spLocks/>
                </p:cNvSpPr>
                <p:nvPr>
                  <p:custDataLst>
                    <p:tags r:id="rId67"/>
                  </p:custDataLst>
                </p:nvPr>
              </p:nvSpPr>
              <p:spPr bwMode="gray">
                <a:xfrm>
                  <a:off x="7493027" y="4734776"/>
                  <a:ext cx="172053" cy="78626"/>
                </a:xfrm>
                <a:custGeom>
                  <a:avLst/>
                  <a:gdLst>
                    <a:gd name="T0" fmla="*/ 2 w 17"/>
                    <a:gd name="T1" fmla="*/ 3 h 7"/>
                    <a:gd name="T2" fmla="*/ 2 w 17"/>
                    <a:gd name="T3" fmla="*/ 2 h 7"/>
                    <a:gd name="T4" fmla="*/ 5 w 17"/>
                    <a:gd name="T5" fmla="*/ 1 h 7"/>
                    <a:gd name="T6" fmla="*/ 7 w 17"/>
                    <a:gd name="T7" fmla="*/ 2 h 7"/>
                    <a:gd name="T8" fmla="*/ 9 w 17"/>
                    <a:gd name="T9" fmla="*/ 1 h 7"/>
                    <a:gd name="T10" fmla="*/ 14 w 17"/>
                    <a:gd name="T11" fmla="*/ 0 h 7"/>
                    <a:gd name="T12" fmla="*/ 17 w 17"/>
                    <a:gd name="T13" fmla="*/ 2 h 7"/>
                    <a:gd name="T14" fmla="*/ 13 w 17"/>
                    <a:gd name="T15" fmla="*/ 4 h 7"/>
                    <a:gd name="T16" fmla="*/ 11 w 17"/>
                    <a:gd name="T17" fmla="*/ 6 h 7"/>
                    <a:gd name="T18" fmla="*/ 9 w 17"/>
                    <a:gd name="T19" fmla="*/ 6 h 7"/>
                    <a:gd name="T20" fmla="*/ 5 w 17"/>
                    <a:gd name="T21" fmla="*/ 5 h 7"/>
                    <a:gd name="T22" fmla="*/ 3 w 17"/>
                    <a:gd name="T23" fmla="*/ 6 h 7"/>
                    <a:gd name="T24" fmla="*/ 0 w 17"/>
                    <a:gd name="T25" fmla="*/ 7 h 7"/>
                    <a:gd name="T26" fmla="*/ 2 w 17"/>
                    <a:gd name="T27" fmla="*/ 3 h 7"/>
                    <a:gd name="T28" fmla="*/ 2 w 17"/>
                    <a:gd name="T29" fmla="*/ 3 h 7"/>
                    <a:gd name="T30" fmla="*/ 2 w 17"/>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7">
                      <a:moveTo>
                        <a:pt x="2" y="3"/>
                      </a:moveTo>
                      <a:cubicBezTo>
                        <a:pt x="2" y="3"/>
                        <a:pt x="2" y="2"/>
                        <a:pt x="2" y="2"/>
                      </a:cubicBezTo>
                      <a:cubicBezTo>
                        <a:pt x="3" y="2"/>
                        <a:pt x="4" y="1"/>
                        <a:pt x="5" y="1"/>
                      </a:cubicBezTo>
                      <a:cubicBezTo>
                        <a:pt x="6" y="1"/>
                        <a:pt x="6" y="2"/>
                        <a:pt x="7" y="2"/>
                      </a:cubicBezTo>
                      <a:cubicBezTo>
                        <a:pt x="8" y="2"/>
                        <a:pt x="9" y="1"/>
                        <a:pt x="9" y="1"/>
                      </a:cubicBezTo>
                      <a:cubicBezTo>
                        <a:pt x="11" y="1"/>
                        <a:pt x="12" y="0"/>
                        <a:pt x="14" y="0"/>
                      </a:cubicBezTo>
                      <a:cubicBezTo>
                        <a:pt x="14" y="1"/>
                        <a:pt x="17" y="1"/>
                        <a:pt x="17" y="2"/>
                      </a:cubicBezTo>
                      <a:cubicBezTo>
                        <a:pt x="17" y="4"/>
                        <a:pt x="14" y="2"/>
                        <a:pt x="13" y="4"/>
                      </a:cubicBezTo>
                      <a:cubicBezTo>
                        <a:pt x="13" y="4"/>
                        <a:pt x="13" y="6"/>
                        <a:pt x="11" y="6"/>
                      </a:cubicBezTo>
                      <a:cubicBezTo>
                        <a:pt x="10" y="6"/>
                        <a:pt x="9" y="5"/>
                        <a:pt x="9" y="6"/>
                      </a:cubicBezTo>
                      <a:cubicBezTo>
                        <a:pt x="9" y="6"/>
                        <a:pt x="6" y="5"/>
                        <a:pt x="5" y="5"/>
                      </a:cubicBezTo>
                      <a:cubicBezTo>
                        <a:pt x="4" y="5"/>
                        <a:pt x="3" y="5"/>
                        <a:pt x="3" y="6"/>
                      </a:cubicBezTo>
                      <a:cubicBezTo>
                        <a:pt x="2" y="7"/>
                        <a:pt x="1" y="7"/>
                        <a:pt x="0" y="7"/>
                      </a:cubicBezTo>
                      <a:cubicBezTo>
                        <a:pt x="0" y="6"/>
                        <a:pt x="1" y="4"/>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2" name="Freeform 82"/>
                <p:cNvSpPr>
                  <a:spLocks/>
                </p:cNvSpPr>
                <p:nvPr>
                  <p:custDataLst>
                    <p:tags r:id="rId68"/>
                  </p:custDataLst>
                </p:nvPr>
              </p:nvSpPr>
              <p:spPr bwMode="gray">
                <a:xfrm>
                  <a:off x="7273024" y="4835415"/>
                  <a:ext cx="131155" cy="67618"/>
                </a:xfrm>
                <a:custGeom>
                  <a:avLst/>
                  <a:gdLst>
                    <a:gd name="T0" fmla="*/ 2 w 13"/>
                    <a:gd name="T1" fmla="*/ 2 h 6"/>
                    <a:gd name="T2" fmla="*/ 2 w 13"/>
                    <a:gd name="T3" fmla="*/ 1 h 6"/>
                    <a:gd name="T4" fmla="*/ 3 w 13"/>
                    <a:gd name="T5" fmla="*/ 0 h 6"/>
                    <a:gd name="T6" fmla="*/ 3 w 13"/>
                    <a:gd name="T7" fmla="*/ 0 h 6"/>
                    <a:gd name="T8" fmla="*/ 4 w 13"/>
                    <a:gd name="T9" fmla="*/ 0 h 6"/>
                    <a:gd name="T10" fmla="*/ 4 w 13"/>
                    <a:gd name="T11" fmla="*/ 0 h 6"/>
                    <a:gd name="T12" fmla="*/ 4 w 13"/>
                    <a:gd name="T13" fmla="*/ 1 h 6"/>
                    <a:gd name="T14" fmla="*/ 9 w 13"/>
                    <a:gd name="T15" fmla="*/ 0 h 6"/>
                    <a:gd name="T16" fmla="*/ 9 w 13"/>
                    <a:gd name="T17" fmla="*/ 0 h 6"/>
                    <a:gd name="T18" fmla="*/ 12 w 13"/>
                    <a:gd name="T19" fmla="*/ 1 h 6"/>
                    <a:gd name="T20" fmla="*/ 12 w 13"/>
                    <a:gd name="T21" fmla="*/ 1 h 6"/>
                    <a:gd name="T22" fmla="*/ 12 w 13"/>
                    <a:gd name="T23" fmla="*/ 2 h 6"/>
                    <a:gd name="T24" fmla="*/ 13 w 13"/>
                    <a:gd name="T25" fmla="*/ 2 h 6"/>
                    <a:gd name="T26" fmla="*/ 13 w 13"/>
                    <a:gd name="T27" fmla="*/ 2 h 6"/>
                    <a:gd name="T28" fmla="*/ 13 w 13"/>
                    <a:gd name="T29" fmla="*/ 3 h 6"/>
                    <a:gd name="T30" fmla="*/ 13 w 13"/>
                    <a:gd name="T31" fmla="*/ 3 h 6"/>
                    <a:gd name="T32" fmla="*/ 11 w 13"/>
                    <a:gd name="T33" fmla="*/ 5 h 6"/>
                    <a:gd name="T34" fmla="*/ 11 w 13"/>
                    <a:gd name="T35" fmla="*/ 5 h 6"/>
                    <a:gd name="T36" fmla="*/ 8 w 13"/>
                    <a:gd name="T37" fmla="*/ 5 h 6"/>
                    <a:gd name="T38" fmla="*/ 8 w 13"/>
                    <a:gd name="T39" fmla="*/ 5 h 6"/>
                    <a:gd name="T40" fmla="*/ 4 w 13"/>
                    <a:gd name="T41" fmla="*/ 6 h 6"/>
                    <a:gd name="T42" fmla="*/ 2 w 13"/>
                    <a:gd name="T43" fmla="*/ 5 h 6"/>
                    <a:gd name="T44" fmla="*/ 1 w 13"/>
                    <a:gd name="T45" fmla="*/ 6 h 6"/>
                    <a:gd name="T46" fmla="*/ 1 w 13"/>
                    <a:gd name="T47" fmla="*/ 6 h 6"/>
                    <a:gd name="T48" fmla="*/ 0 w 13"/>
                    <a:gd name="T49" fmla="*/ 6 h 6"/>
                    <a:gd name="T50" fmla="*/ 0 w 13"/>
                    <a:gd name="T51" fmla="*/ 6 h 6"/>
                    <a:gd name="T52" fmla="*/ 2 w 13"/>
                    <a:gd name="T53" fmla="*/ 2 h 6"/>
                    <a:gd name="T54" fmla="*/ 2 w 13"/>
                    <a:gd name="T55" fmla="*/ 2 h 6"/>
                    <a:gd name="T56" fmla="*/ 2 w 13"/>
                    <a:gd name="T5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
                      <a:moveTo>
                        <a:pt x="2" y="2"/>
                      </a:moveTo>
                      <a:cubicBezTo>
                        <a:pt x="2" y="2"/>
                        <a:pt x="2" y="2"/>
                        <a:pt x="2" y="1"/>
                      </a:cubicBezTo>
                      <a:cubicBezTo>
                        <a:pt x="2" y="1"/>
                        <a:pt x="2" y="0"/>
                        <a:pt x="3" y="0"/>
                      </a:cubicBezTo>
                      <a:lnTo>
                        <a:pt x="3" y="0"/>
                      </a:lnTo>
                      <a:lnTo>
                        <a:pt x="4" y="0"/>
                      </a:lnTo>
                      <a:lnTo>
                        <a:pt x="4" y="0"/>
                      </a:lnTo>
                      <a:cubicBezTo>
                        <a:pt x="4" y="0"/>
                        <a:pt x="3" y="1"/>
                        <a:pt x="4" y="1"/>
                      </a:cubicBezTo>
                      <a:cubicBezTo>
                        <a:pt x="4" y="1"/>
                        <a:pt x="9" y="1"/>
                        <a:pt x="9" y="0"/>
                      </a:cubicBezTo>
                      <a:lnTo>
                        <a:pt x="9" y="0"/>
                      </a:lnTo>
                      <a:lnTo>
                        <a:pt x="12" y="1"/>
                      </a:lnTo>
                      <a:lnTo>
                        <a:pt x="12" y="1"/>
                      </a:lnTo>
                      <a:cubicBezTo>
                        <a:pt x="12" y="1"/>
                        <a:pt x="12" y="1"/>
                        <a:pt x="12" y="2"/>
                      </a:cubicBezTo>
                      <a:cubicBezTo>
                        <a:pt x="12" y="2"/>
                        <a:pt x="13" y="2"/>
                        <a:pt x="13" y="2"/>
                      </a:cubicBezTo>
                      <a:lnTo>
                        <a:pt x="13" y="2"/>
                      </a:lnTo>
                      <a:lnTo>
                        <a:pt x="13" y="3"/>
                      </a:lnTo>
                      <a:lnTo>
                        <a:pt x="13" y="3"/>
                      </a:lnTo>
                      <a:cubicBezTo>
                        <a:pt x="12" y="4"/>
                        <a:pt x="12" y="4"/>
                        <a:pt x="11" y="5"/>
                      </a:cubicBezTo>
                      <a:lnTo>
                        <a:pt x="11" y="5"/>
                      </a:lnTo>
                      <a:lnTo>
                        <a:pt x="8" y="5"/>
                      </a:lnTo>
                      <a:lnTo>
                        <a:pt x="8" y="5"/>
                      </a:lnTo>
                      <a:cubicBezTo>
                        <a:pt x="7" y="6"/>
                        <a:pt x="6" y="6"/>
                        <a:pt x="4" y="6"/>
                      </a:cubicBezTo>
                      <a:cubicBezTo>
                        <a:pt x="3" y="6"/>
                        <a:pt x="2" y="5"/>
                        <a:pt x="2" y="5"/>
                      </a:cubicBezTo>
                      <a:cubicBezTo>
                        <a:pt x="2" y="6"/>
                        <a:pt x="1" y="6"/>
                        <a:pt x="1" y="6"/>
                      </a:cubicBezTo>
                      <a:lnTo>
                        <a:pt x="1" y="6"/>
                      </a:lnTo>
                      <a:lnTo>
                        <a:pt x="0" y="6"/>
                      </a:lnTo>
                      <a:lnTo>
                        <a:pt x="0" y="6"/>
                      </a:lnTo>
                      <a:cubicBezTo>
                        <a:pt x="0" y="5"/>
                        <a:pt x="2" y="3"/>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3" name="Freeform 83"/>
                <p:cNvSpPr>
                  <a:spLocks/>
                </p:cNvSpPr>
                <p:nvPr>
                  <p:custDataLst>
                    <p:tags r:id="rId69"/>
                  </p:custDataLst>
                </p:nvPr>
              </p:nvSpPr>
              <p:spPr bwMode="gray">
                <a:xfrm>
                  <a:off x="7102381" y="5228544"/>
                  <a:ext cx="39488" cy="22015"/>
                </a:xfrm>
                <a:custGeom>
                  <a:avLst/>
                  <a:gdLst>
                    <a:gd name="T0" fmla="*/ 1 w 4"/>
                    <a:gd name="T1" fmla="*/ 2 h 2"/>
                    <a:gd name="T2" fmla="*/ 1 w 4"/>
                    <a:gd name="T3" fmla="*/ 1 h 2"/>
                    <a:gd name="T4" fmla="*/ 3 w 4"/>
                    <a:gd name="T5" fmla="*/ 0 h 2"/>
                    <a:gd name="T6" fmla="*/ 2 w 4"/>
                    <a:gd name="T7" fmla="*/ 2 h 2"/>
                    <a:gd name="T8" fmla="*/ 1 w 4"/>
                    <a:gd name="T9" fmla="*/ 2 h 2"/>
                    <a:gd name="T10" fmla="*/ 1 w 4"/>
                    <a:gd name="T11" fmla="*/ 2 h 2"/>
                    <a:gd name="T12" fmla="*/ 1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2"/>
                      </a:moveTo>
                      <a:cubicBezTo>
                        <a:pt x="0" y="2"/>
                        <a:pt x="1" y="2"/>
                        <a:pt x="1" y="1"/>
                      </a:cubicBezTo>
                      <a:cubicBezTo>
                        <a:pt x="1" y="0"/>
                        <a:pt x="3" y="0"/>
                        <a:pt x="3" y="0"/>
                      </a:cubicBezTo>
                      <a:cubicBezTo>
                        <a:pt x="4" y="1"/>
                        <a:pt x="3" y="2"/>
                        <a:pt x="2" y="2"/>
                      </a:cubicBezTo>
                      <a:cubicBezTo>
                        <a:pt x="1"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4" name="Freeform 84"/>
                <p:cNvSpPr>
                  <a:spLocks/>
                </p:cNvSpPr>
                <p:nvPr>
                  <p:custDataLst>
                    <p:tags r:id="rId70"/>
                  </p:custDataLst>
                </p:nvPr>
              </p:nvSpPr>
              <p:spPr bwMode="gray">
                <a:xfrm>
                  <a:off x="6861225" y="5282010"/>
                  <a:ext cx="39488" cy="23588"/>
                </a:xfrm>
                <a:custGeom>
                  <a:avLst/>
                  <a:gdLst>
                    <a:gd name="T0" fmla="*/ 0 w 4"/>
                    <a:gd name="T1" fmla="*/ 2 h 2"/>
                    <a:gd name="T2" fmla="*/ 4 w 4"/>
                    <a:gd name="T3" fmla="*/ 0 h 2"/>
                    <a:gd name="T4" fmla="*/ 4 w 4"/>
                    <a:gd name="T5" fmla="*/ 0 h 2"/>
                    <a:gd name="T6" fmla="*/ 4 w 4"/>
                    <a:gd name="T7" fmla="*/ 0 h 2"/>
                    <a:gd name="T8" fmla="*/ 1 w 4"/>
                    <a:gd name="T9" fmla="*/ 2 h 2"/>
                    <a:gd name="T10" fmla="*/ 0 w 4"/>
                    <a:gd name="T11" fmla="*/ 2 h 2"/>
                    <a:gd name="T12" fmla="*/ 0 w 4"/>
                    <a:gd name="T13" fmla="*/ 2 h 2"/>
                    <a:gd name="T14" fmla="*/ 0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2"/>
                      </a:moveTo>
                      <a:cubicBezTo>
                        <a:pt x="0" y="1"/>
                        <a:pt x="2" y="0"/>
                        <a:pt x="4" y="0"/>
                      </a:cubicBezTo>
                      <a:cubicBezTo>
                        <a:pt x="4" y="0"/>
                        <a:pt x="4" y="0"/>
                        <a:pt x="4" y="0"/>
                      </a:cubicBezTo>
                      <a:cubicBezTo>
                        <a:pt x="4" y="0"/>
                        <a:pt x="4" y="0"/>
                        <a:pt x="4" y="0"/>
                      </a:cubicBezTo>
                      <a:cubicBezTo>
                        <a:pt x="4" y="2"/>
                        <a:pt x="3" y="2"/>
                        <a:pt x="1" y="2"/>
                      </a:cubicBezTo>
                      <a:cubicBezTo>
                        <a:pt x="1" y="2"/>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5" name="Freeform 85"/>
                <p:cNvSpPr>
                  <a:spLocks/>
                </p:cNvSpPr>
                <p:nvPr>
                  <p:custDataLst>
                    <p:tags r:id="rId71"/>
                  </p:custDataLst>
                </p:nvPr>
              </p:nvSpPr>
              <p:spPr bwMode="gray">
                <a:xfrm>
                  <a:off x="6830199" y="5305597"/>
                  <a:ext cx="9871" cy="11009"/>
                </a:xfrm>
                <a:custGeom>
                  <a:avLst/>
                  <a:gdLst>
                    <a:gd name="T0" fmla="*/ 0 w 1"/>
                    <a:gd name="T1" fmla="*/ 1 h 1"/>
                    <a:gd name="T2" fmla="*/ 1 w 1"/>
                    <a:gd name="T3" fmla="*/ 1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lnTo>
                        <a:pt x="1" y="1"/>
                      </a:lnTo>
                      <a:lnTo>
                        <a:pt x="1" y="0"/>
                      </a:lnTo>
                      <a:lnTo>
                        <a:pt x="1" y="0"/>
                      </a:ln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6" name="Freeform 86"/>
                <p:cNvSpPr>
                  <a:spLocks/>
                </p:cNvSpPr>
                <p:nvPr>
                  <p:custDataLst>
                    <p:tags r:id="rId72"/>
                  </p:custDataLst>
                </p:nvPr>
              </p:nvSpPr>
              <p:spPr bwMode="gray">
                <a:xfrm>
                  <a:off x="7031868" y="5294590"/>
                  <a:ext cx="100129" cy="78626"/>
                </a:xfrm>
                <a:custGeom>
                  <a:avLst/>
                  <a:gdLst>
                    <a:gd name="T0" fmla="*/ 0 w 10"/>
                    <a:gd name="T1" fmla="*/ 7 h 7"/>
                    <a:gd name="T2" fmla="*/ 1 w 10"/>
                    <a:gd name="T3" fmla="*/ 5 h 7"/>
                    <a:gd name="T4" fmla="*/ 1 w 10"/>
                    <a:gd name="T5" fmla="*/ 4 h 7"/>
                    <a:gd name="T6" fmla="*/ 4 w 10"/>
                    <a:gd name="T7" fmla="*/ 3 h 7"/>
                    <a:gd name="T8" fmla="*/ 6 w 10"/>
                    <a:gd name="T9" fmla="*/ 0 h 7"/>
                    <a:gd name="T10" fmla="*/ 9 w 10"/>
                    <a:gd name="T11" fmla="*/ 0 h 7"/>
                    <a:gd name="T12" fmla="*/ 9 w 10"/>
                    <a:gd name="T13" fmla="*/ 1 h 7"/>
                    <a:gd name="T14" fmla="*/ 10 w 10"/>
                    <a:gd name="T15" fmla="*/ 2 h 7"/>
                    <a:gd name="T16" fmla="*/ 0 w 10"/>
                    <a:gd name="T17" fmla="*/ 7 h 7"/>
                    <a:gd name="T18" fmla="*/ 0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cubicBezTo>
                        <a:pt x="0" y="5"/>
                        <a:pt x="1" y="5"/>
                        <a:pt x="1" y="5"/>
                      </a:cubicBezTo>
                      <a:cubicBezTo>
                        <a:pt x="1" y="4"/>
                        <a:pt x="1" y="4"/>
                        <a:pt x="1" y="4"/>
                      </a:cubicBezTo>
                      <a:cubicBezTo>
                        <a:pt x="0" y="3"/>
                        <a:pt x="4" y="3"/>
                        <a:pt x="4" y="3"/>
                      </a:cubicBezTo>
                      <a:cubicBezTo>
                        <a:pt x="5" y="2"/>
                        <a:pt x="6" y="1"/>
                        <a:pt x="6" y="0"/>
                      </a:cubicBezTo>
                      <a:cubicBezTo>
                        <a:pt x="8" y="0"/>
                        <a:pt x="9" y="0"/>
                        <a:pt x="9" y="0"/>
                      </a:cubicBezTo>
                      <a:cubicBezTo>
                        <a:pt x="9" y="0"/>
                        <a:pt x="9" y="0"/>
                        <a:pt x="9" y="1"/>
                      </a:cubicBezTo>
                      <a:cubicBezTo>
                        <a:pt x="9" y="1"/>
                        <a:pt x="10" y="1"/>
                        <a:pt x="10" y="2"/>
                      </a:cubicBezTo>
                      <a:cubicBezTo>
                        <a:pt x="8" y="4"/>
                        <a:pt x="3" y="7"/>
                        <a:pt x="0" y="7"/>
                      </a:cubicBezTo>
                      <a:lnTo>
                        <a:pt x="0" y="7"/>
                      </a:lnTo>
                      <a:lnTo>
                        <a:pt x="0"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7" name="Freeform 87"/>
                <p:cNvSpPr>
                  <a:spLocks/>
                </p:cNvSpPr>
                <p:nvPr>
                  <p:custDataLst>
                    <p:tags r:id="rId73"/>
                  </p:custDataLst>
                </p:nvPr>
              </p:nvSpPr>
              <p:spPr bwMode="gray">
                <a:xfrm>
                  <a:off x="7161613" y="4870012"/>
                  <a:ext cx="573981" cy="391554"/>
                </a:xfrm>
                <a:custGeom>
                  <a:avLst/>
                  <a:gdLst>
                    <a:gd name="T0" fmla="*/ 7 w 57"/>
                    <a:gd name="T1" fmla="*/ 33 h 35"/>
                    <a:gd name="T2" fmla="*/ 5 w 57"/>
                    <a:gd name="T3" fmla="*/ 34 h 35"/>
                    <a:gd name="T4" fmla="*/ 3 w 57"/>
                    <a:gd name="T5" fmla="*/ 34 h 35"/>
                    <a:gd name="T6" fmla="*/ 1 w 57"/>
                    <a:gd name="T7" fmla="*/ 34 h 35"/>
                    <a:gd name="T8" fmla="*/ 2 w 57"/>
                    <a:gd name="T9" fmla="*/ 32 h 35"/>
                    <a:gd name="T10" fmla="*/ 1 w 57"/>
                    <a:gd name="T11" fmla="*/ 30 h 35"/>
                    <a:gd name="T12" fmla="*/ 0 w 57"/>
                    <a:gd name="T13" fmla="*/ 29 h 35"/>
                    <a:gd name="T14" fmla="*/ 1 w 57"/>
                    <a:gd name="T15" fmla="*/ 23 h 35"/>
                    <a:gd name="T16" fmla="*/ 4 w 57"/>
                    <a:gd name="T17" fmla="*/ 20 h 35"/>
                    <a:gd name="T18" fmla="*/ 12 w 57"/>
                    <a:gd name="T19" fmla="*/ 15 h 35"/>
                    <a:gd name="T20" fmla="*/ 20 w 57"/>
                    <a:gd name="T21" fmla="*/ 10 h 35"/>
                    <a:gd name="T22" fmla="*/ 23 w 57"/>
                    <a:gd name="T23" fmla="*/ 6 h 35"/>
                    <a:gd name="T24" fmla="*/ 27 w 57"/>
                    <a:gd name="T25" fmla="*/ 5 h 35"/>
                    <a:gd name="T26" fmla="*/ 32 w 57"/>
                    <a:gd name="T27" fmla="*/ 3 h 35"/>
                    <a:gd name="T28" fmla="*/ 34 w 57"/>
                    <a:gd name="T29" fmla="*/ 4 h 35"/>
                    <a:gd name="T30" fmla="*/ 40 w 57"/>
                    <a:gd name="T31" fmla="*/ 4 h 35"/>
                    <a:gd name="T32" fmla="*/ 44 w 57"/>
                    <a:gd name="T33" fmla="*/ 2 h 35"/>
                    <a:gd name="T34" fmla="*/ 47 w 57"/>
                    <a:gd name="T35" fmla="*/ 2 h 35"/>
                    <a:gd name="T36" fmla="*/ 52 w 57"/>
                    <a:gd name="T37" fmla="*/ 0 h 35"/>
                    <a:gd name="T38" fmla="*/ 54 w 57"/>
                    <a:gd name="T39" fmla="*/ 1 h 35"/>
                    <a:gd name="T40" fmla="*/ 56 w 57"/>
                    <a:gd name="T41" fmla="*/ 1 h 35"/>
                    <a:gd name="T42" fmla="*/ 57 w 57"/>
                    <a:gd name="T43" fmla="*/ 2 h 35"/>
                    <a:gd name="T44" fmla="*/ 55 w 57"/>
                    <a:gd name="T45" fmla="*/ 5 h 35"/>
                    <a:gd name="T46" fmla="*/ 51 w 57"/>
                    <a:gd name="T47" fmla="*/ 8 h 35"/>
                    <a:gd name="T48" fmla="*/ 47 w 57"/>
                    <a:gd name="T49" fmla="*/ 9 h 35"/>
                    <a:gd name="T50" fmla="*/ 45 w 57"/>
                    <a:gd name="T51" fmla="*/ 12 h 35"/>
                    <a:gd name="T52" fmla="*/ 40 w 57"/>
                    <a:gd name="T53" fmla="*/ 12 h 35"/>
                    <a:gd name="T54" fmla="*/ 34 w 57"/>
                    <a:gd name="T55" fmla="*/ 15 h 35"/>
                    <a:gd name="T56" fmla="*/ 28 w 57"/>
                    <a:gd name="T57" fmla="*/ 17 h 35"/>
                    <a:gd name="T58" fmla="*/ 21 w 57"/>
                    <a:gd name="T59" fmla="*/ 23 h 35"/>
                    <a:gd name="T60" fmla="*/ 20 w 57"/>
                    <a:gd name="T61" fmla="*/ 24 h 35"/>
                    <a:gd name="T62" fmla="*/ 15 w 57"/>
                    <a:gd name="T63" fmla="*/ 30 h 35"/>
                    <a:gd name="T64" fmla="*/ 13 w 57"/>
                    <a:gd name="T65" fmla="*/ 32 h 35"/>
                    <a:gd name="T66" fmla="*/ 11 w 57"/>
                    <a:gd name="T67" fmla="*/ 32 h 35"/>
                    <a:gd name="T68" fmla="*/ 7 w 57"/>
                    <a:gd name="T69" fmla="*/ 33 h 35"/>
                    <a:gd name="T70" fmla="*/ 7 w 57"/>
                    <a:gd name="T71" fmla="*/ 33 h 35"/>
                    <a:gd name="T72" fmla="*/ 7 w 57"/>
                    <a:gd name="T7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35">
                      <a:moveTo>
                        <a:pt x="7" y="33"/>
                      </a:moveTo>
                      <a:cubicBezTo>
                        <a:pt x="7" y="34"/>
                        <a:pt x="5" y="34"/>
                        <a:pt x="5" y="34"/>
                      </a:cubicBezTo>
                      <a:cubicBezTo>
                        <a:pt x="4" y="35"/>
                        <a:pt x="4" y="34"/>
                        <a:pt x="3" y="34"/>
                      </a:cubicBezTo>
                      <a:cubicBezTo>
                        <a:pt x="2" y="34"/>
                        <a:pt x="1" y="35"/>
                        <a:pt x="1" y="34"/>
                      </a:cubicBezTo>
                      <a:cubicBezTo>
                        <a:pt x="1" y="33"/>
                        <a:pt x="1" y="32"/>
                        <a:pt x="2" y="32"/>
                      </a:cubicBezTo>
                      <a:cubicBezTo>
                        <a:pt x="1" y="31"/>
                        <a:pt x="1" y="30"/>
                        <a:pt x="1" y="30"/>
                      </a:cubicBezTo>
                      <a:cubicBezTo>
                        <a:pt x="0" y="30"/>
                        <a:pt x="0" y="29"/>
                        <a:pt x="0" y="29"/>
                      </a:cubicBezTo>
                      <a:cubicBezTo>
                        <a:pt x="1" y="27"/>
                        <a:pt x="1" y="25"/>
                        <a:pt x="1" y="23"/>
                      </a:cubicBezTo>
                      <a:cubicBezTo>
                        <a:pt x="1" y="22"/>
                        <a:pt x="3" y="20"/>
                        <a:pt x="4" y="20"/>
                      </a:cubicBezTo>
                      <a:cubicBezTo>
                        <a:pt x="5" y="18"/>
                        <a:pt x="10" y="15"/>
                        <a:pt x="12" y="15"/>
                      </a:cubicBezTo>
                      <a:cubicBezTo>
                        <a:pt x="15" y="15"/>
                        <a:pt x="19" y="12"/>
                        <a:pt x="20" y="10"/>
                      </a:cubicBezTo>
                      <a:cubicBezTo>
                        <a:pt x="22" y="9"/>
                        <a:pt x="22" y="8"/>
                        <a:pt x="23" y="6"/>
                      </a:cubicBezTo>
                      <a:cubicBezTo>
                        <a:pt x="24" y="4"/>
                        <a:pt x="27" y="5"/>
                        <a:pt x="27" y="5"/>
                      </a:cubicBezTo>
                      <a:cubicBezTo>
                        <a:pt x="27" y="4"/>
                        <a:pt x="32" y="3"/>
                        <a:pt x="32" y="3"/>
                      </a:cubicBezTo>
                      <a:cubicBezTo>
                        <a:pt x="34" y="3"/>
                        <a:pt x="33" y="4"/>
                        <a:pt x="34" y="4"/>
                      </a:cubicBezTo>
                      <a:cubicBezTo>
                        <a:pt x="36" y="4"/>
                        <a:pt x="38" y="3"/>
                        <a:pt x="40" y="4"/>
                      </a:cubicBezTo>
                      <a:cubicBezTo>
                        <a:pt x="40" y="4"/>
                        <a:pt x="43" y="1"/>
                        <a:pt x="44" y="2"/>
                      </a:cubicBezTo>
                      <a:cubicBezTo>
                        <a:pt x="46" y="4"/>
                        <a:pt x="47" y="2"/>
                        <a:pt x="47" y="2"/>
                      </a:cubicBezTo>
                      <a:cubicBezTo>
                        <a:pt x="47" y="1"/>
                        <a:pt x="50" y="0"/>
                        <a:pt x="52" y="0"/>
                      </a:cubicBezTo>
                      <a:cubicBezTo>
                        <a:pt x="53" y="0"/>
                        <a:pt x="54" y="1"/>
                        <a:pt x="54" y="1"/>
                      </a:cubicBezTo>
                      <a:cubicBezTo>
                        <a:pt x="55" y="1"/>
                        <a:pt x="55" y="1"/>
                        <a:pt x="56" y="1"/>
                      </a:cubicBezTo>
                      <a:cubicBezTo>
                        <a:pt x="56" y="1"/>
                        <a:pt x="57" y="2"/>
                        <a:pt x="57" y="2"/>
                      </a:cubicBezTo>
                      <a:cubicBezTo>
                        <a:pt x="57" y="3"/>
                        <a:pt x="55" y="4"/>
                        <a:pt x="55" y="5"/>
                      </a:cubicBezTo>
                      <a:cubicBezTo>
                        <a:pt x="53" y="5"/>
                        <a:pt x="53" y="7"/>
                        <a:pt x="51" y="8"/>
                      </a:cubicBezTo>
                      <a:cubicBezTo>
                        <a:pt x="50" y="9"/>
                        <a:pt x="48" y="7"/>
                        <a:pt x="47" y="9"/>
                      </a:cubicBezTo>
                      <a:cubicBezTo>
                        <a:pt x="46" y="10"/>
                        <a:pt x="45" y="11"/>
                        <a:pt x="45" y="12"/>
                      </a:cubicBezTo>
                      <a:cubicBezTo>
                        <a:pt x="43" y="12"/>
                        <a:pt x="42" y="11"/>
                        <a:pt x="40" y="12"/>
                      </a:cubicBezTo>
                      <a:cubicBezTo>
                        <a:pt x="38" y="13"/>
                        <a:pt x="37" y="15"/>
                        <a:pt x="34" y="15"/>
                      </a:cubicBezTo>
                      <a:cubicBezTo>
                        <a:pt x="32" y="16"/>
                        <a:pt x="30" y="16"/>
                        <a:pt x="28" y="17"/>
                      </a:cubicBezTo>
                      <a:cubicBezTo>
                        <a:pt x="25" y="17"/>
                        <a:pt x="25" y="19"/>
                        <a:pt x="21" y="23"/>
                      </a:cubicBezTo>
                      <a:cubicBezTo>
                        <a:pt x="21" y="23"/>
                        <a:pt x="21" y="24"/>
                        <a:pt x="20" y="24"/>
                      </a:cubicBezTo>
                      <a:cubicBezTo>
                        <a:pt x="18" y="26"/>
                        <a:pt x="16" y="28"/>
                        <a:pt x="15" y="30"/>
                      </a:cubicBezTo>
                      <a:cubicBezTo>
                        <a:pt x="15" y="30"/>
                        <a:pt x="14" y="32"/>
                        <a:pt x="13" y="32"/>
                      </a:cubicBezTo>
                      <a:cubicBezTo>
                        <a:pt x="12" y="32"/>
                        <a:pt x="12" y="32"/>
                        <a:pt x="11" y="32"/>
                      </a:cubicBezTo>
                      <a:cubicBezTo>
                        <a:pt x="10" y="32"/>
                        <a:pt x="7" y="31"/>
                        <a:pt x="7" y="33"/>
                      </a:cubicBezTo>
                      <a:lnTo>
                        <a:pt x="7" y="33"/>
                      </a:lnTo>
                      <a:lnTo>
                        <a:pt x="7" y="3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8" name="Freeform 88"/>
                <p:cNvSpPr>
                  <a:spLocks/>
                </p:cNvSpPr>
                <p:nvPr>
                  <p:custDataLst>
                    <p:tags r:id="rId74"/>
                  </p:custDataLst>
                </p:nvPr>
              </p:nvSpPr>
              <p:spPr bwMode="gray">
                <a:xfrm>
                  <a:off x="6951482" y="4892026"/>
                  <a:ext cx="19744" cy="11008"/>
                </a:xfrm>
                <a:custGeom>
                  <a:avLst/>
                  <a:gdLst>
                    <a:gd name="T0" fmla="*/ 0 w 2"/>
                    <a:gd name="T1" fmla="*/ 0 h 1"/>
                    <a:gd name="T2" fmla="*/ 1 w 2"/>
                    <a:gd name="T3" fmla="*/ 0 h 1"/>
                    <a:gd name="T4" fmla="*/ 2 w 2"/>
                    <a:gd name="T5" fmla="*/ 0 h 1"/>
                    <a:gd name="T6" fmla="*/ 1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1" y="0"/>
                        <a:pt x="1" y="0"/>
                      </a:cubicBezTo>
                      <a:cubicBezTo>
                        <a:pt x="2" y="0"/>
                        <a:pt x="2" y="0"/>
                        <a:pt x="2" y="0"/>
                      </a:cubicBezTo>
                      <a:cubicBezTo>
                        <a:pt x="2" y="1"/>
                        <a:pt x="2"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59" name="Freeform 89"/>
                <p:cNvSpPr>
                  <a:spLocks/>
                </p:cNvSpPr>
                <p:nvPr>
                  <p:custDataLst>
                    <p:tags r:id="rId75"/>
                  </p:custDataLst>
                </p:nvPr>
              </p:nvSpPr>
              <p:spPr bwMode="gray">
                <a:xfrm>
                  <a:off x="6849942" y="4870012"/>
                  <a:ext cx="1128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0" name="Freeform 90"/>
                <p:cNvSpPr>
                  <a:spLocks/>
                </p:cNvSpPr>
                <p:nvPr>
                  <p:custDataLst>
                    <p:tags r:id="rId76"/>
                  </p:custDataLst>
                </p:nvPr>
              </p:nvSpPr>
              <p:spPr bwMode="gray">
                <a:xfrm>
                  <a:off x="6861225" y="4701752"/>
                  <a:ext cx="9871"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2"/>
                        <a:pt x="1" y="2"/>
                        <a:pt x="0"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1" name="Freeform 91"/>
                <p:cNvSpPr>
                  <a:spLocks/>
                </p:cNvSpPr>
                <p:nvPr>
                  <p:custDataLst>
                    <p:tags r:id="rId77"/>
                  </p:custDataLst>
                </p:nvPr>
              </p:nvSpPr>
              <p:spPr bwMode="gray">
                <a:xfrm>
                  <a:off x="6861226" y="4690745"/>
                  <a:ext cx="19744" cy="11008"/>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1" y="0"/>
                        <a:pt x="1" y="0"/>
                      </a:cubicBezTo>
                      <a:cubicBezTo>
                        <a:pt x="2" y="0"/>
                        <a:pt x="2" y="0"/>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2" name="Freeform 92"/>
                <p:cNvSpPr>
                  <a:spLocks/>
                </p:cNvSpPr>
                <p:nvPr>
                  <p:custDataLst>
                    <p:tags r:id="rId78"/>
                  </p:custDataLst>
                </p:nvPr>
              </p:nvSpPr>
              <p:spPr bwMode="gray">
                <a:xfrm>
                  <a:off x="6710326" y="4577525"/>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3" name="Freeform 93"/>
                <p:cNvSpPr>
                  <a:spLocks/>
                </p:cNvSpPr>
                <p:nvPr>
                  <p:custDataLst>
                    <p:tags r:id="rId79"/>
                  </p:custDataLst>
                </p:nvPr>
              </p:nvSpPr>
              <p:spPr bwMode="gray">
                <a:xfrm>
                  <a:off x="6378912" y="4577523"/>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4" name="Freeform 94"/>
                <p:cNvSpPr>
                  <a:spLocks/>
                </p:cNvSpPr>
                <p:nvPr>
                  <p:custDataLst>
                    <p:tags r:id="rId80"/>
                  </p:custDataLst>
                </p:nvPr>
              </p:nvSpPr>
              <p:spPr bwMode="gray">
                <a:xfrm>
                  <a:off x="6347886" y="4522485"/>
                  <a:ext cx="9871" cy="11009"/>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5" name="Freeform 95"/>
                <p:cNvSpPr>
                  <a:spLocks/>
                </p:cNvSpPr>
                <p:nvPr>
                  <p:custDataLst>
                    <p:tags r:id="rId81"/>
                  </p:custDataLst>
                </p:nvPr>
              </p:nvSpPr>
              <p:spPr bwMode="gray">
                <a:xfrm>
                  <a:off x="6428272" y="4835416"/>
                  <a:ext cx="21155" cy="34595"/>
                </a:xfrm>
                <a:custGeom>
                  <a:avLst/>
                  <a:gdLst>
                    <a:gd name="T0" fmla="*/ 0 w 2"/>
                    <a:gd name="T1" fmla="*/ 2 h 3"/>
                    <a:gd name="T2" fmla="*/ 1 w 2"/>
                    <a:gd name="T3" fmla="*/ 0 h 3"/>
                    <a:gd name="T4" fmla="*/ 2 w 2"/>
                    <a:gd name="T5" fmla="*/ 2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1" y="0"/>
                        <a:pt x="1" y="0"/>
                      </a:cubicBezTo>
                      <a:cubicBezTo>
                        <a:pt x="2" y="0"/>
                        <a:pt x="2" y="1"/>
                        <a:pt x="2" y="2"/>
                      </a:cubicBezTo>
                      <a:cubicBezTo>
                        <a:pt x="2" y="2"/>
                        <a:pt x="2" y="3"/>
                        <a:pt x="1" y="3"/>
                      </a:cubicBezTo>
                      <a:cubicBezTo>
                        <a:pt x="1"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6" name="Freeform 96"/>
                <p:cNvSpPr>
                  <a:spLocks/>
                </p:cNvSpPr>
                <p:nvPr>
                  <p:custDataLst>
                    <p:tags r:id="rId82"/>
                  </p:custDataLst>
                </p:nvPr>
              </p:nvSpPr>
              <p:spPr bwMode="gray">
                <a:xfrm>
                  <a:off x="7202511" y="4846423"/>
                  <a:ext cx="70513" cy="77053"/>
                </a:xfrm>
                <a:custGeom>
                  <a:avLst/>
                  <a:gdLst>
                    <a:gd name="T0" fmla="*/ 0 w 7"/>
                    <a:gd name="T1" fmla="*/ 5 h 7"/>
                    <a:gd name="T2" fmla="*/ 1 w 7"/>
                    <a:gd name="T3" fmla="*/ 2 h 7"/>
                    <a:gd name="T4" fmla="*/ 3 w 7"/>
                    <a:gd name="T5" fmla="*/ 2 h 7"/>
                    <a:gd name="T6" fmla="*/ 3 w 7"/>
                    <a:gd name="T7" fmla="*/ 3 h 7"/>
                    <a:gd name="T8" fmla="*/ 6 w 7"/>
                    <a:gd name="T9" fmla="*/ 0 h 7"/>
                    <a:gd name="T10" fmla="*/ 7 w 7"/>
                    <a:gd name="T11" fmla="*/ 0 h 7"/>
                    <a:gd name="T12" fmla="*/ 7 w 7"/>
                    <a:gd name="T13" fmla="*/ 1 h 7"/>
                    <a:gd name="T14" fmla="*/ 3 w 7"/>
                    <a:gd name="T15" fmla="*/ 7 h 7"/>
                    <a:gd name="T16" fmla="*/ 2 w 7"/>
                    <a:gd name="T17" fmla="*/ 6 h 7"/>
                    <a:gd name="T18" fmla="*/ 2 w 7"/>
                    <a:gd name="T19" fmla="*/ 5 h 7"/>
                    <a:gd name="T20" fmla="*/ 0 w 7"/>
                    <a:gd name="T21" fmla="*/ 5 h 7"/>
                    <a:gd name="T22" fmla="*/ 0 w 7"/>
                    <a:gd name="T23" fmla="*/ 5 h 7"/>
                    <a:gd name="T24" fmla="*/ 0 w 7"/>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5"/>
                      </a:moveTo>
                      <a:cubicBezTo>
                        <a:pt x="1" y="4"/>
                        <a:pt x="1" y="3"/>
                        <a:pt x="1" y="2"/>
                      </a:cubicBezTo>
                      <a:cubicBezTo>
                        <a:pt x="2" y="2"/>
                        <a:pt x="2" y="2"/>
                        <a:pt x="3" y="2"/>
                      </a:cubicBezTo>
                      <a:cubicBezTo>
                        <a:pt x="3" y="2"/>
                        <a:pt x="3" y="3"/>
                        <a:pt x="3" y="3"/>
                      </a:cubicBezTo>
                      <a:cubicBezTo>
                        <a:pt x="4" y="3"/>
                        <a:pt x="6" y="0"/>
                        <a:pt x="6" y="0"/>
                      </a:cubicBezTo>
                      <a:cubicBezTo>
                        <a:pt x="6" y="0"/>
                        <a:pt x="7" y="0"/>
                        <a:pt x="7" y="0"/>
                      </a:cubicBezTo>
                      <a:cubicBezTo>
                        <a:pt x="7" y="0"/>
                        <a:pt x="7" y="1"/>
                        <a:pt x="7" y="1"/>
                      </a:cubicBezTo>
                      <a:cubicBezTo>
                        <a:pt x="7" y="2"/>
                        <a:pt x="5" y="7"/>
                        <a:pt x="3" y="7"/>
                      </a:cubicBezTo>
                      <a:cubicBezTo>
                        <a:pt x="2" y="7"/>
                        <a:pt x="2" y="6"/>
                        <a:pt x="2" y="6"/>
                      </a:cubicBezTo>
                      <a:cubicBezTo>
                        <a:pt x="2" y="6"/>
                        <a:pt x="2" y="5"/>
                        <a:pt x="2" y="5"/>
                      </a:cubicBezTo>
                      <a:cubicBezTo>
                        <a:pt x="1" y="5"/>
                        <a:pt x="1"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7" name="Freeform 97"/>
                <p:cNvSpPr>
                  <a:spLocks/>
                </p:cNvSpPr>
                <p:nvPr>
                  <p:custDataLst>
                    <p:tags r:id="rId83"/>
                  </p:custDataLst>
                </p:nvPr>
              </p:nvSpPr>
              <p:spPr bwMode="gray">
                <a:xfrm>
                  <a:off x="7102381" y="4846423"/>
                  <a:ext cx="110001" cy="77053"/>
                </a:xfrm>
                <a:custGeom>
                  <a:avLst/>
                  <a:gdLst>
                    <a:gd name="T0" fmla="*/ 0 w 11"/>
                    <a:gd name="T1" fmla="*/ 6 h 7"/>
                    <a:gd name="T2" fmla="*/ 0 w 11"/>
                    <a:gd name="T3" fmla="*/ 5 h 7"/>
                    <a:gd name="T4" fmla="*/ 2 w 11"/>
                    <a:gd name="T5" fmla="*/ 4 h 7"/>
                    <a:gd name="T6" fmla="*/ 1 w 11"/>
                    <a:gd name="T7" fmla="*/ 2 h 7"/>
                    <a:gd name="T8" fmla="*/ 3 w 11"/>
                    <a:gd name="T9" fmla="*/ 1 h 7"/>
                    <a:gd name="T10" fmla="*/ 4 w 11"/>
                    <a:gd name="T11" fmla="*/ 2 h 7"/>
                    <a:gd name="T12" fmla="*/ 4 w 11"/>
                    <a:gd name="T13" fmla="*/ 3 h 7"/>
                    <a:gd name="T14" fmla="*/ 5 w 11"/>
                    <a:gd name="T15" fmla="*/ 4 h 7"/>
                    <a:gd name="T16" fmla="*/ 9 w 11"/>
                    <a:gd name="T17" fmla="*/ 0 h 7"/>
                    <a:gd name="T18" fmla="*/ 11 w 11"/>
                    <a:gd name="T19" fmla="*/ 1 h 7"/>
                    <a:gd name="T20" fmla="*/ 7 w 11"/>
                    <a:gd name="T21" fmla="*/ 4 h 7"/>
                    <a:gd name="T22" fmla="*/ 3 w 11"/>
                    <a:gd name="T23" fmla="*/ 7 h 7"/>
                    <a:gd name="T24" fmla="*/ 0 w 11"/>
                    <a:gd name="T25" fmla="*/ 6 h 7"/>
                    <a:gd name="T26" fmla="*/ 0 w 11"/>
                    <a:gd name="T27" fmla="*/ 6 h 7"/>
                    <a:gd name="T28" fmla="*/ 0 w 11"/>
                    <a:gd name="T2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7">
                      <a:moveTo>
                        <a:pt x="0" y="6"/>
                      </a:moveTo>
                      <a:cubicBezTo>
                        <a:pt x="0" y="6"/>
                        <a:pt x="0" y="5"/>
                        <a:pt x="0" y="5"/>
                      </a:cubicBezTo>
                      <a:cubicBezTo>
                        <a:pt x="0" y="4"/>
                        <a:pt x="2" y="4"/>
                        <a:pt x="2" y="4"/>
                      </a:cubicBezTo>
                      <a:cubicBezTo>
                        <a:pt x="2" y="3"/>
                        <a:pt x="1" y="2"/>
                        <a:pt x="1" y="2"/>
                      </a:cubicBezTo>
                      <a:cubicBezTo>
                        <a:pt x="1" y="2"/>
                        <a:pt x="3" y="1"/>
                        <a:pt x="3" y="1"/>
                      </a:cubicBezTo>
                      <a:cubicBezTo>
                        <a:pt x="3" y="1"/>
                        <a:pt x="4" y="2"/>
                        <a:pt x="4" y="2"/>
                      </a:cubicBezTo>
                      <a:cubicBezTo>
                        <a:pt x="4" y="2"/>
                        <a:pt x="4" y="2"/>
                        <a:pt x="4" y="3"/>
                      </a:cubicBezTo>
                      <a:cubicBezTo>
                        <a:pt x="4" y="3"/>
                        <a:pt x="4" y="4"/>
                        <a:pt x="5" y="4"/>
                      </a:cubicBezTo>
                      <a:cubicBezTo>
                        <a:pt x="5" y="1"/>
                        <a:pt x="6" y="0"/>
                        <a:pt x="9" y="0"/>
                      </a:cubicBezTo>
                      <a:cubicBezTo>
                        <a:pt x="9" y="0"/>
                        <a:pt x="11" y="1"/>
                        <a:pt x="11" y="1"/>
                      </a:cubicBezTo>
                      <a:cubicBezTo>
                        <a:pt x="11" y="2"/>
                        <a:pt x="8" y="2"/>
                        <a:pt x="7" y="4"/>
                      </a:cubicBezTo>
                      <a:cubicBezTo>
                        <a:pt x="6" y="6"/>
                        <a:pt x="5" y="7"/>
                        <a:pt x="3" y="7"/>
                      </a:cubicBezTo>
                      <a:cubicBezTo>
                        <a:pt x="1" y="7"/>
                        <a:pt x="1" y="6"/>
                        <a:pt x="0" y="6"/>
                      </a:cubicBezTo>
                      <a:lnTo>
                        <a:pt x="0" y="6"/>
                      </a:lnTo>
                      <a:lnTo>
                        <a:pt x="0"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8" name="Freeform 98"/>
                <p:cNvSpPr>
                  <a:spLocks/>
                </p:cNvSpPr>
                <p:nvPr>
                  <p:custDataLst>
                    <p:tags r:id="rId84"/>
                  </p:custDataLst>
                </p:nvPr>
              </p:nvSpPr>
              <p:spPr bwMode="gray">
                <a:xfrm>
                  <a:off x="7041740" y="4892026"/>
                  <a:ext cx="40897" cy="31450"/>
                </a:xfrm>
                <a:custGeom>
                  <a:avLst/>
                  <a:gdLst>
                    <a:gd name="T0" fmla="*/ 0 w 4"/>
                    <a:gd name="T1" fmla="*/ 3 h 3"/>
                    <a:gd name="T2" fmla="*/ 4 w 4"/>
                    <a:gd name="T3" fmla="*/ 0 h 3"/>
                    <a:gd name="T4" fmla="*/ 4 w 4"/>
                    <a:gd name="T5" fmla="*/ 0 h 3"/>
                    <a:gd name="T6" fmla="*/ 4 w 4"/>
                    <a:gd name="T7" fmla="*/ 1 h 3"/>
                    <a:gd name="T8" fmla="*/ 4 w 4"/>
                    <a:gd name="T9" fmla="*/ 1 h 3"/>
                    <a:gd name="T10" fmla="*/ 1 w 4"/>
                    <a:gd name="T11" fmla="*/ 3 h 3"/>
                    <a:gd name="T12" fmla="*/ 1 w 4"/>
                    <a:gd name="T13" fmla="*/ 3 h 3"/>
                    <a:gd name="T14" fmla="*/ 0 w 4"/>
                    <a:gd name="T15" fmla="*/ 3 h 3"/>
                    <a:gd name="T16" fmla="*/ 0 w 4"/>
                    <a:gd name="T17" fmla="*/ 3 h 3"/>
                    <a:gd name="T18" fmla="*/ 0 w 4"/>
                    <a:gd name="T19" fmla="*/ 3 h 3"/>
                    <a:gd name="T20" fmla="*/ 0 w 4"/>
                    <a:gd name="T21" fmla="*/ 3 h 3"/>
                    <a:gd name="T22" fmla="*/ 0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0" y="3"/>
                      </a:moveTo>
                      <a:cubicBezTo>
                        <a:pt x="2" y="3"/>
                        <a:pt x="2" y="0"/>
                        <a:pt x="4" y="0"/>
                      </a:cubicBezTo>
                      <a:lnTo>
                        <a:pt x="4" y="0"/>
                      </a:lnTo>
                      <a:lnTo>
                        <a:pt x="4" y="1"/>
                      </a:lnTo>
                      <a:lnTo>
                        <a:pt x="4" y="1"/>
                      </a:lnTo>
                      <a:cubicBezTo>
                        <a:pt x="2" y="2"/>
                        <a:pt x="2" y="3"/>
                        <a:pt x="1" y="3"/>
                      </a:cubicBezTo>
                      <a:lnTo>
                        <a:pt x="1" y="3"/>
                      </a:lnTo>
                      <a:lnTo>
                        <a:pt x="0" y="3"/>
                      </a:lnTo>
                      <a:lnTo>
                        <a:pt x="0" y="3"/>
                      </a:lnTo>
                      <a:cubicBezTo>
                        <a:pt x="0" y="3"/>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69" name="Freeform 99"/>
                <p:cNvSpPr>
                  <a:spLocks/>
                </p:cNvSpPr>
                <p:nvPr>
                  <p:custDataLst>
                    <p:tags r:id="rId85"/>
                  </p:custDataLst>
                </p:nvPr>
              </p:nvSpPr>
              <p:spPr bwMode="gray">
                <a:xfrm>
                  <a:off x="7061484" y="4857432"/>
                  <a:ext cx="50769" cy="34595"/>
                </a:xfrm>
                <a:custGeom>
                  <a:avLst/>
                  <a:gdLst>
                    <a:gd name="T0" fmla="*/ 0 w 5"/>
                    <a:gd name="T1" fmla="*/ 2 h 3"/>
                    <a:gd name="T2" fmla="*/ 3 w 5"/>
                    <a:gd name="T3" fmla="*/ 0 h 3"/>
                    <a:gd name="T4" fmla="*/ 5 w 5"/>
                    <a:gd name="T5" fmla="*/ 0 h 3"/>
                    <a:gd name="T6" fmla="*/ 5 w 5"/>
                    <a:gd name="T7" fmla="*/ 1 h 3"/>
                    <a:gd name="T8" fmla="*/ 3 w 5"/>
                    <a:gd name="T9" fmla="*/ 3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2" y="0"/>
                        <a:pt x="2" y="0"/>
                        <a:pt x="3" y="0"/>
                      </a:cubicBezTo>
                      <a:cubicBezTo>
                        <a:pt x="4" y="0"/>
                        <a:pt x="5" y="0"/>
                        <a:pt x="5" y="0"/>
                      </a:cubicBezTo>
                      <a:cubicBezTo>
                        <a:pt x="5" y="1"/>
                        <a:pt x="5" y="1"/>
                        <a:pt x="5" y="1"/>
                      </a:cubicBezTo>
                      <a:cubicBezTo>
                        <a:pt x="5" y="2"/>
                        <a:pt x="4" y="3"/>
                        <a:pt x="3" y="3"/>
                      </a:cubicBezTo>
                      <a:cubicBezTo>
                        <a:pt x="2" y="3"/>
                        <a:pt x="1"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0" name="Freeform 100"/>
                <p:cNvSpPr>
                  <a:spLocks/>
                </p:cNvSpPr>
                <p:nvPr>
                  <p:custDataLst>
                    <p:tags r:id="rId86"/>
                  </p:custDataLst>
                </p:nvPr>
              </p:nvSpPr>
              <p:spPr bwMode="gray">
                <a:xfrm>
                  <a:off x="6549554" y="4835416"/>
                  <a:ext cx="521801" cy="157251"/>
                </a:xfrm>
                <a:custGeom>
                  <a:avLst/>
                  <a:gdLst>
                    <a:gd name="T0" fmla="*/ 11 w 52"/>
                    <a:gd name="T1" fmla="*/ 3 h 14"/>
                    <a:gd name="T2" fmla="*/ 16 w 52"/>
                    <a:gd name="T3" fmla="*/ 3 h 14"/>
                    <a:gd name="T4" fmla="*/ 16 w 52"/>
                    <a:gd name="T5" fmla="*/ 3 h 14"/>
                    <a:gd name="T6" fmla="*/ 19 w 52"/>
                    <a:gd name="T7" fmla="*/ 4 h 14"/>
                    <a:gd name="T8" fmla="*/ 27 w 52"/>
                    <a:gd name="T9" fmla="*/ 8 h 14"/>
                    <a:gd name="T10" fmla="*/ 30 w 52"/>
                    <a:gd name="T11" fmla="*/ 6 h 14"/>
                    <a:gd name="T12" fmla="*/ 30 w 52"/>
                    <a:gd name="T13" fmla="*/ 6 h 14"/>
                    <a:gd name="T14" fmla="*/ 34 w 52"/>
                    <a:gd name="T15" fmla="*/ 6 h 14"/>
                    <a:gd name="T16" fmla="*/ 34 w 52"/>
                    <a:gd name="T17" fmla="*/ 6 h 14"/>
                    <a:gd name="T18" fmla="*/ 35 w 52"/>
                    <a:gd name="T19" fmla="*/ 5 h 14"/>
                    <a:gd name="T20" fmla="*/ 40 w 52"/>
                    <a:gd name="T21" fmla="*/ 8 h 14"/>
                    <a:gd name="T22" fmla="*/ 45 w 52"/>
                    <a:gd name="T23" fmla="*/ 5 h 14"/>
                    <a:gd name="T24" fmla="*/ 49 w 52"/>
                    <a:gd name="T25" fmla="*/ 2 h 14"/>
                    <a:gd name="T26" fmla="*/ 49 w 52"/>
                    <a:gd name="T27" fmla="*/ 2 h 14"/>
                    <a:gd name="T28" fmla="*/ 49 w 52"/>
                    <a:gd name="T29" fmla="*/ 1 h 14"/>
                    <a:gd name="T30" fmla="*/ 49 w 52"/>
                    <a:gd name="T31" fmla="*/ 1 h 14"/>
                    <a:gd name="T32" fmla="*/ 48 w 52"/>
                    <a:gd name="T33" fmla="*/ 1 h 14"/>
                    <a:gd name="T34" fmla="*/ 47 w 52"/>
                    <a:gd name="T35" fmla="*/ 2 h 14"/>
                    <a:gd name="T36" fmla="*/ 47 w 52"/>
                    <a:gd name="T37" fmla="*/ 2 h 14"/>
                    <a:gd name="T38" fmla="*/ 49 w 52"/>
                    <a:gd name="T39" fmla="*/ 0 h 14"/>
                    <a:gd name="T40" fmla="*/ 52 w 52"/>
                    <a:gd name="T41" fmla="*/ 2 h 14"/>
                    <a:gd name="T42" fmla="*/ 48 w 52"/>
                    <a:gd name="T43" fmla="*/ 6 h 14"/>
                    <a:gd name="T44" fmla="*/ 49 w 52"/>
                    <a:gd name="T45" fmla="*/ 7 h 14"/>
                    <a:gd name="T46" fmla="*/ 42 w 52"/>
                    <a:gd name="T47" fmla="*/ 10 h 14"/>
                    <a:gd name="T48" fmla="*/ 42 w 52"/>
                    <a:gd name="T49" fmla="*/ 10 h 14"/>
                    <a:gd name="T50" fmla="*/ 39 w 52"/>
                    <a:gd name="T51" fmla="*/ 10 h 14"/>
                    <a:gd name="T52" fmla="*/ 39 w 52"/>
                    <a:gd name="T53" fmla="*/ 10 h 14"/>
                    <a:gd name="T54" fmla="*/ 32 w 52"/>
                    <a:gd name="T55" fmla="*/ 13 h 14"/>
                    <a:gd name="T56" fmla="*/ 28 w 52"/>
                    <a:gd name="T57" fmla="*/ 12 h 14"/>
                    <a:gd name="T58" fmla="*/ 24 w 52"/>
                    <a:gd name="T59" fmla="*/ 14 h 14"/>
                    <a:gd name="T60" fmla="*/ 20 w 52"/>
                    <a:gd name="T61" fmla="*/ 14 h 14"/>
                    <a:gd name="T62" fmla="*/ 17 w 52"/>
                    <a:gd name="T63" fmla="*/ 12 h 14"/>
                    <a:gd name="T64" fmla="*/ 10 w 52"/>
                    <a:gd name="T65" fmla="*/ 12 h 14"/>
                    <a:gd name="T66" fmla="*/ 6 w 52"/>
                    <a:gd name="T67" fmla="*/ 11 h 14"/>
                    <a:gd name="T68" fmla="*/ 3 w 52"/>
                    <a:gd name="T69" fmla="*/ 12 h 14"/>
                    <a:gd name="T70" fmla="*/ 0 w 52"/>
                    <a:gd name="T71" fmla="*/ 11 h 14"/>
                    <a:gd name="T72" fmla="*/ 5 w 52"/>
                    <a:gd name="T73" fmla="*/ 4 h 14"/>
                    <a:gd name="T74" fmla="*/ 10 w 52"/>
                    <a:gd name="T75" fmla="*/ 3 h 14"/>
                    <a:gd name="T76" fmla="*/ 10 w 52"/>
                    <a:gd name="T77" fmla="*/ 2 h 14"/>
                    <a:gd name="T78" fmla="*/ 11 w 52"/>
                    <a:gd name="T79" fmla="*/ 3 h 14"/>
                    <a:gd name="T80" fmla="*/ 11 w 52"/>
                    <a:gd name="T81" fmla="*/ 3 h 14"/>
                    <a:gd name="T82" fmla="*/ 11 w 52"/>
                    <a:gd name="T8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14">
                      <a:moveTo>
                        <a:pt x="11" y="3"/>
                      </a:moveTo>
                      <a:lnTo>
                        <a:pt x="16" y="3"/>
                      </a:lnTo>
                      <a:lnTo>
                        <a:pt x="16" y="3"/>
                      </a:lnTo>
                      <a:cubicBezTo>
                        <a:pt x="16" y="4"/>
                        <a:pt x="18" y="4"/>
                        <a:pt x="19" y="4"/>
                      </a:cubicBezTo>
                      <a:cubicBezTo>
                        <a:pt x="23" y="4"/>
                        <a:pt x="24" y="8"/>
                        <a:pt x="27" y="8"/>
                      </a:cubicBezTo>
                      <a:cubicBezTo>
                        <a:pt x="28" y="8"/>
                        <a:pt x="29" y="6"/>
                        <a:pt x="30" y="6"/>
                      </a:cubicBezTo>
                      <a:lnTo>
                        <a:pt x="30" y="6"/>
                      </a:lnTo>
                      <a:lnTo>
                        <a:pt x="34" y="6"/>
                      </a:lnTo>
                      <a:lnTo>
                        <a:pt x="34" y="6"/>
                      </a:lnTo>
                      <a:cubicBezTo>
                        <a:pt x="34" y="6"/>
                        <a:pt x="34" y="5"/>
                        <a:pt x="35" y="5"/>
                      </a:cubicBezTo>
                      <a:cubicBezTo>
                        <a:pt x="37" y="5"/>
                        <a:pt x="38" y="8"/>
                        <a:pt x="40" y="8"/>
                      </a:cubicBezTo>
                      <a:cubicBezTo>
                        <a:pt x="43" y="8"/>
                        <a:pt x="43" y="6"/>
                        <a:pt x="45" y="5"/>
                      </a:cubicBezTo>
                      <a:cubicBezTo>
                        <a:pt x="46" y="3"/>
                        <a:pt x="49" y="3"/>
                        <a:pt x="49" y="2"/>
                      </a:cubicBezTo>
                      <a:lnTo>
                        <a:pt x="49" y="2"/>
                      </a:lnTo>
                      <a:lnTo>
                        <a:pt x="49" y="1"/>
                      </a:lnTo>
                      <a:lnTo>
                        <a:pt x="49" y="1"/>
                      </a:lnTo>
                      <a:cubicBezTo>
                        <a:pt x="49" y="1"/>
                        <a:pt x="49" y="1"/>
                        <a:pt x="48" y="1"/>
                      </a:cubicBezTo>
                      <a:cubicBezTo>
                        <a:pt x="48" y="2"/>
                        <a:pt x="48" y="2"/>
                        <a:pt x="47" y="2"/>
                      </a:cubicBezTo>
                      <a:cubicBezTo>
                        <a:pt x="47" y="2"/>
                        <a:pt x="47" y="2"/>
                        <a:pt x="47" y="2"/>
                      </a:cubicBezTo>
                      <a:cubicBezTo>
                        <a:pt x="47" y="0"/>
                        <a:pt x="48" y="0"/>
                        <a:pt x="49" y="0"/>
                      </a:cubicBezTo>
                      <a:cubicBezTo>
                        <a:pt x="51" y="0"/>
                        <a:pt x="52" y="1"/>
                        <a:pt x="52" y="2"/>
                      </a:cubicBezTo>
                      <a:cubicBezTo>
                        <a:pt x="52" y="2"/>
                        <a:pt x="49" y="6"/>
                        <a:pt x="48" y="6"/>
                      </a:cubicBezTo>
                      <a:cubicBezTo>
                        <a:pt x="48" y="6"/>
                        <a:pt x="49" y="7"/>
                        <a:pt x="49" y="7"/>
                      </a:cubicBezTo>
                      <a:cubicBezTo>
                        <a:pt x="49" y="9"/>
                        <a:pt x="43" y="10"/>
                        <a:pt x="42" y="10"/>
                      </a:cubicBezTo>
                      <a:lnTo>
                        <a:pt x="42" y="10"/>
                      </a:lnTo>
                      <a:lnTo>
                        <a:pt x="39" y="10"/>
                      </a:lnTo>
                      <a:lnTo>
                        <a:pt x="39" y="10"/>
                      </a:lnTo>
                      <a:cubicBezTo>
                        <a:pt x="36" y="11"/>
                        <a:pt x="34" y="13"/>
                        <a:pt x="32" y="13"/>
                      </a:cubicBezTo>
                      <a:cubicBezTo>
                        <a:pt x="29" y="13"/>
                        <a:pt x="30" y="12"/>
                        <a:pt x="28" y="12"/>
                      </a:cubicBezTo>
                      <a:cubicBezTo>
                        <a:pt x="26" y="12"/>
                        <a:pt x="26" y="14"/>
                        <a:pt x="24" y="14"/>
                      </a:cubicBezTo>
                      <a:cubicBezTo>
                        <a:pt x="22" y="14"/>
                        <a:pt x="22" y="14"/>
                        <a:pt x="20" y="14"/>
                      </a:cubicBezTo>
                      <a:cubicBezTo>
                        <a:pt x="19" y="14"/>
                        <a:pt x="18" y="13"/>
                        <a:pt x="17" y="12"/>
                      </a:cubicBezTo>
                      <a:cubicBezTo>
                        <a:pt x="14" y="12"/>
                        <a:pt x="12" y="13"/>
                        <a:pt x="10" y="12"/>
                      </a:cubicBezTo>
                      <a:cubicBezTo>
                        <a:pt x="8" y="12"/>
                        <a:pt x="7" y="11"/>
                        <a:pt x="6" y="11"/>
                      </a:cubicBezTo>
                      <a:cubicBezTo>
                        <a:pt x="5" y="11"/>
                        <a:pt x="4" y="12"/>
                        <a:pt x="3" y="12"/>
                      </a:cubicBezTo>
                      <a:cubicBezTo>
                        <a:pt x="3" y="12"/>
                        <a:pt x="0" y="11"/>
                        <a:pt x="0" y="11"/>
                      </a:cubicBezTo>
                      <a:cubicBezTo>
                        <a:pt x="0" y="6"/>
                        <a:pt x="4" y="6"/>
                        <a:pt x="5" y="4"/>
                      </a:cubicBezTo>
                      <a:cubicBezTo>
                        <a:pt x="6" y="3"/>
                        <a:pt x="10" y="3"/>
                        <a:pt x="10" y="3"/>
                      </a:cubicBezTo>
                      <a:cubicBezTo>
                        <a:pt x="10" y="3"/>
                        <a:pt x="10" y="2"/>
                        <a:pt x="10" y="2"/>
                      </a:cubicBezTo>
                      <a:cubicBezTo>
                        <a:pt x="11" y="2"/>
                        <a:pt x="11" y="3"/>
                        <a:pt x="11" y="3"/>
                      </a:cubicBezTo>
                      <a:lnTo>
                        <a:pt x="11" y="3"/>
                      </a:lnTo>
                      <a:lnTo>
                        <a:pt x="1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1" name="Freeform 101"/>
                <p:cNvSpPr>
                  <a:spLocks/>
                </p:cNvSpPr>
                <p:nvPr>
                  <p:custDataLst>
                    <p:tags r:id="rId87"/>
                  </p:custDataLst>
                </p:nvPr>
              </p:nvSpPr>
              <p:spPr bwMode="gray">
                <a:xfrm>
                  <a:off x="6679300" y="4621554"/>
                  <a:ext cx="31026" cy="34595"/>
                </a:xfrm>
                <a:custGeom>
                  <a:avLst/>
                  <a:gdLst>
                    <a:gd name="T0" fmla="*/ 1 w 3"/>
                    <a:gd name="T1" fmla="*/ 3 h 3"/>
                    <a:gd name="T2" fmla="*/ 3 w 3"/>
                    <a:gd name="T3" fmla="*/ 2 h 3"/>
                    <a:gd name="T4" fmla="*/ 0 w 3"/>
                    <a:gd name="T5" fmla="*/ 0 h 3"/>
                    <a:gd name="T6" fmla="*/ 1 w 3"/>
                    <a:gd name="T7" fmla="*/ 3 h 3"/>
                    <a:gd name="T8" fmla="*/ 1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2" y="3"/>
                        <a:pt x="3" y="2"/>
                        <a:pt x="3" y="2"/>
                      </a:cubicBezTo>
                      <a:cubicBezTo>
                        <a:pt x="2" y="0"/>
                        <a:pt x="1" y="1"/>
                        <a:pt x="0" y="0"/>
                      </a:cubicBezTo>
                      <a:cubicBezTo>
                        <a:pt x="0"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2" name="Freeform 102"/>
                <p:cNvSpPr>
                  <a:spLocks/>
                </p:cNvSpPr>
                <p:nvPr>
                  <p:custDataLst>
                    <p:tags r:id="rId88"/>
                  </p:custDataLst>
                </p:nvPr>
              </p:nvSpPr>
              <p:spPr bwMode="gray">
                <a:xfrm>
                  <a:off x="6720197" y="4667157"/>
                  <a:ext cx="50769" cy="34595"/>
                </a:xfrm>
                <a:custGeom>
                  <a:avLst/>
                  <a:gdLst>
                    <a:gd name="T0" fmla="*/ 0 w 5"/>
                    <a:gd name="T1" fmla="*/ 2 h 3"/>
                    <a:gd name="T2" fmla="*/ 2 w 5"/>
                    <a:gd name="T3" fmla="*/ 2 h 3"/>
                    <a:gd name="T4" fmla="*/ 5 w 5"/>
                    <a:gd name="T5" fmla="*/ 3 h 3"/>
                    <a:gd name="T6" fmla="*/ 5 w 5"/>
                    <a:gd name="T7" fmla="*/ 2 h 3"/>
                    <a:gd name="T8" fmla="*/ 0 w 5"/>
                    <a:gd name="T9" fmla="*/ 0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1" y="2"/>
                        <a:pt x="1" y="2"/>
                        <a:pt x="2" y="2"/>
                      </a:cubicBezTo>
                      <a:cubicBezTo>
                        <a:pt x="3" y="2"/>
                        <a:pt x="4" y="3"/>
                        <a:pt x="5" y="3"/>
                      </a:cubicBezTo>
                      <a:cubicBezTo>
                        <a:pt x="5" y="3"/>
                        <a:pt x="5" y="2"/>
                        <a:pt x="5" y="2"/>
                      </a:cubicBezTo>
                      <a:cubicBezTo>
                        <a:pt x="5" y="0"/>
                        <a:pt x="1" y="0"/>
                        <a:pt x="0" y="0"/>
                      </a:cubicBezTo>
                      <a:cubicBezTo>
                        <a:pt x="0"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3" name="Freeform 103"/>
                <p:cNvSpPr>
                  <a:spLocks/>
                </p:cNvSpPr>
                <p:nvPr>
                  <p:custDataLst>
                    <p:tags r:id="rId89"/>
                  </p:custDataLst>
                </p:nvPr>
              </p:nvSpPr>
              <p:spPr bwMode="gray">
                <a:xfrm>
                  <a:off x="6518529" y="4936057"/>
                  <a:ext cx="31026" cy="22015"/>
                </a:xfrm>
                <a:custGeom>
                  <a:avLst/>
                  <a:gdLst>
                    <a:gd name="T0" fmla="*/ 1 w 3"/>
                    <a:gd name="T1" fmla="*/ 0 h 2"/>
                    <a:gd name="T2" fmla="*/ 1 w 3"/>
                    <a:gd name="T3" fmla="*/ 2 h 2"/>
                    <a:gd name="T4" fmla="*/ 3 w 3"/>
                    <a:gd name="T5" fmla="*/ 0 h 2"/>
                    <a:gd name="T6" fmla="*/ 1 w 3"/>
                    <a:gd name="T7" fmla="*/ 0 h 2"/>
                    <a:gd name="T8" fmla="*/ 1 w 3"/>
                    <a:gd name="T9" fmla="*/ 0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cubicBezTo>
                        <a:pt x="1" y="0"/>
                        <a:pt x="0" y="2"/>
                        <a:pt x="1" y="2"/>
                      </a:cubicBezTo>
                      <a:cubicBezTo>
                        <a:pt x="2" y="2"/>
                        <a:pt x="2" y="1"/>
                        <a:pt x="3" y="0"/>
                      </a:cubicBezTo>
                      <a:cubicBezTo>
                        <a:pt x="2" y="0"/>
                        <a:pt x="1" y="0"/>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4" name="Freeform 104"/>
                <p:cNvSpPr>
                  <a:spLocks/>
                </p:cNvSpPr>
                <p:nvPr>
                  <p:custDataLst>
                    <p:tags r:id="rId90"/>
                  </p:custDataLst>
                </p:nvPr>
              </p:nvSpPr>
              <p:spPr bwMode="gray">
                <a:xfrm>
                  <a:off x="6477631" y="4892026"/>
                  <a:ext cx="40897" cy="55038"/>
                </a:xfrm>
                <a:custGeom>
                  <a:avLst/>
                  <a:gdLst>
                    <a:gd name="T0" fmla="*/ 1 w 4"/>
                    <a:gd name="T1" fmla="*/ 5 h 5"/>
                    <a:gd name="T2" fmla="*/ 4 w 4"/>
                    <a:gd name="T3" fmla="*/ 1 h 5"/>
                    <a:gd name="T4" fmla="*/ 2 w 4"/>
                    <a:gd name="T5" fmla="*/ 0 h 5"/>
                    <a:gd name="T6" fmla="*/ 0 w 4"/>
                    <a:gd name="T7" fmla="*/ 0 h 5"/>
                    <a:gd name="T8" fmla="*/ 1 w 4"/>
                    <a:gd name="T9" fmla="*/ 5 h 5"/>
                    <a:gd name="T10" fmla="*/ 1 w 4"/>
                    <a:gd name="T11" fmla="*/ 5 h 5"/>
                    <a:gd name="T12" fmla="*/ 1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1" y="5"/>
                      </a:moveTo>
                      <a:cubicBezTo>
                        <a:pt x="2" y="4"/>
                        <a:pt x="4" y="3"/>
                        <a:pt x="4" y="1"/>
                      </a:cubicBezTo>
                      <a:cubicBezTo>
                        <a:pt x="4" y="1"/>
                        <a:pt x="2" y="0"/>
                        <a:pt x="2" y="0"/>
                      </a:cubicBezTo>
                      <a:cubicBezTo>
                        <a:pt x="1" y="0"/>
                        <a:pt x="1" y="0"/>
                        <a:pt x="0" y="0"/>
                      </a:cubicBezTo>
                      <a:cubicBezTo>
                        <a:pt x="0" y="2"/>
                        <a:pt x="1" y="4"/>
                        <a:pt x="1" y="5"/>
                      </a:cubicBezTo>
                      <a:lnTo>
                        <a:pt x="1" y="5"/>
                      </a:lnTo>
                      <a:lnTo>
                        <a:pt x="1"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5" name="Freeform 105"/>
                <p:cNvSpPr>
                  <a:spLocks/>
                </p:cNvSpPr>
                <p:nvPr>
                  <p:custDataLst>
                    <p:tags r:id="rId91"/>
                  </p:custDataLst>
                </p:nvPr>
              </p:nvSpPr>
              <p:spPr bwMode="gray">
                <a:xfrm>
                  <a:off x="6418400" y="5060284"/>
                  <a:ext cx="301798" cy="190275"/>
                </a:xfrm>
                <a:custGeom>
                  <a:avLst/>
                  <a:gdLst>
                    <a:gd name="T0" fmla="*/ 0 w 30"/>
                    <a:gd name="T1" fmla="*/ 5 h 17"/>
                    <a:gd name="T2" fmla="*/ 0 w 30"/>
                    <a:gd name="T3" fmla="*/ 3 h 17"/>
                    <a:gd name="T4" fmla="*/ 0 w 30"/>
                    <a:gd name="T5" fmla="*/ 3 h 17"/>
                    <a:gd name="T6" fmla="*/ 4 w 30"/>
                    <a:gd name="T7" fmla="*/ 1 h 17"/>
                    <a:gd name="T8" fmla="*/ 4 w 30"/>
                    <a:gd name="T9" fmla="*/ 1 h 17"/>
                    <a:gd name="T10" fmla="*/ 9 w 30"/>
                    <a:gd name="T11" fmla="*/ 1 h 17"/>
                    <a:gd name="T12" fmla="*/ 11 w 30"/>
                    <a:gd name="T13" fmla="*/ 0 h 17"/>
                    <a:gd name="T14" fmla="*/ 11 w 30"/>
                    <a:gd name="T15" fmla="*/ 0 h 17"/>
                    <a:gd name="T16" fmla="*/ 14 w 30"/>
                    <a:gd name="T17" fmla="*/ 1 h 17"/>
                    <a:gd name="T18" fmla="*/ 16 w 30"/>
                    <a:gd name="T19" fmla="*/ 1 h 17"/>
                    <a:gd name="T20" fmla="*/ 23 w 30"/>
                    <a:gd name="T21" fmla="*/ 6 h 17"/>
                    <a:gd name="T22" fmla="*/ 30 w 30"/>
                    <a:gd name="T23" fmla="*/ 13 h 17"/>
                    <a:gd name="T24" fmla="*/ 28 w 30"/>
                    <a:gd name="T25" fmla="*/ 16 h 17"/>
                    <a:gd name="T26" fmla="*/ 23 w 30"/>
                    <a:gd name="T27" fmla="*/ 17 h 17"/>
                    <a:gd name="T28" fmla="*/ 16 w 30"/>
                    <a:gd name="T29" fmla="*/ 12 h 17"/>
                    <a:gd name="T30" fmla="*/ 10 w 30"/>
                    <a:gd name="T31" fmla="*/ 8 h 17"/>
                    <a:gd name="T32" fmla="*/ 10 w 30"/>
                    <a:gd name="T33" fmla="*/ 8 h 17"/>
                    <a:gd name="T34" fmla="*/ 6 w 30"/>
                    <a:gd name="T35" fmla="*/ 8 h 17"/>
                    <a:gd name="T36" fmla="*/ 6 w 30"/>
                    <a:gd name="T37" fmla="*/ 8 h 17"/>
                    <a:gd name="T38" fmla="*/ 2 w 30"/>
                    <a:gd name="T39" fmla="*/ 7 h 17"/>
                    <a:gd name="T40" fmla="*/ 0 w 30"/>
                    <a:gd name="T41" fmla="*/ 5 h 17"/>
                    <a:gd name="T42" fmla="*/ 0 w 30"/>
                    <a:gd name="T43" fmla="*/ 5 h 17"/>
                    <a:gd name="T44" fmla="*/ 0 w 30"/>
                    <a:gd name="T4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7">
                      <a:moveTo>
                        <a:pt x="0" y="5"/>
                      </a:moveTo>
                      <a:lnTo>
                        <a:pt x="0" y="3"/>
                      </a:lnTo>
                      <a:lnTo>
                        <a:pt x="0" y="3"/>
                      </a:lnTo>
                      <a:cubicBezTo>
                        <a:pt x="1" y="2"/>
                        <a:pt x="2" y="2"/>
                        <a:pt x="4" y="1"/>
                      </a:cubicBezTo>
                      <a:lnTo>
                        <a:pt x="4" y="1"/>
                      </a:lnTo>
                      <a:lnTo>
                        <a:pt x="9" y="1"/>
                      </a:lnTo>
                      <a:lnTo>
                        <a:pt x="11" y="0"/>
                      </a:lnTo>
                      <a:lnTo>
                        <a:pt x="11" y="0"/>
                      </a:lnTo>
                      <a:cubicBezTo>
                        <a:pt x="12" y="1"/>
                        <a:pt x="13" y="1"/>
                        <a:pt x="14" y="1"/>
                      </a:cubicBezTo>
                      <a:cubicBezTo>
                        <a:pt x="14" y="1"/>
                        <a:pt x="15" y="1"/>
                        <a:pt x="16" y="1"/>
                      </a:cubicBezTo>
                      <a:cubicBezTo>
                        <a:pt x="19" y="1"/>
                        <a:pt x="19" y="6"/>
                        <a:pt x="23" y="6"/>
                      </a:cubicBezTo>
                      <a:cubicBezTo>
                        <a:pt x="26" y="6"/>
                        <a:pt x="29" y="10"/>
                        <a:pt x="30" y="13"/>
                      </a:cubicBezTo>
                      <a:cubicBezTo>
                        <a:pt x="29" y="14"/>
                        <a:pt x="29" y="15"/>
                        <a:pt x="28" y="16"/>
                      </a:cubicBezTo>
                      <a:cubicBezTo>
                        <a:pt x="27" y="17"/>
                        <a:pt x="25" y="17"/>
                        <a:pt x="23" y="17"/>
                      </a:cubicBezTo>
                      <a:cubicBezTo>
                        <a:pt x="18" y="17"/>
                        <a:pt x="18" y="14"/>
                        <a:pt x="16" y="12"/>
                      </a:cubicBezTo>
                      <a:cubicBezTo>
                        <a:pt x="15" y="11"/>
                        <a:pt x="11" y="10"/>
                        <a:pt x="10" y="8"/>
                      </a:cubicBezTo>
                      <a:lnTo>
                        <a:pt x="10" y="8"/>
                      </a:lnTo>
                      <a:lnTo>
                        <a:pt x="6" y="8"/>
                      </a:lnTo>
                      <a:lnTo>
                        <a:pt x="6" y="8"/>
                      </a:lnTo>
                      <a:cubicBezTo>
                        <a:pt x="5" y="8"/>
                        <a:pt x="3" y="8"/>
                        <a:pt x="2" y="7"/>
                      </a:cubicBezTo>
                      <a:cubicBezTo>
                        <a:pt x="2" y="7"/>
                        <a:pt x="0"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6" name="Freeform 106"/>
                <p:cNvSpPr>
                  <a:spLocks/>
                </p:cNvSpPr>
                <p:nvPr>
                  <p:custDataLst>
                    <p:tags r:id="rId92"/>
                  </p:custDataLst>
                </p:nvPr>
              </p:nvSpPr>
              <p:spPr bwMode="gray">
                <a:xfrm>
                  <a:off x="6649685" y="4398257"/>
                  <a:ext cx="29615" cy="124227"/>
                </a:xfrm>
                <a:custGeom>
                  <a:avLst/>
                  <a:gdLst>
                    <a:gd name="T0" fmla="*/ 2 w 3"/>
                    <a:gd name="T1" fmla="*/ 6 h 11"/>
                    <a:gd name="T2" fmla="*/ 1 w 3"/>
                    <a:gd name="T3" fmla="*/ 11 h 11"/>
                    <a:gd name="T4" fmla="*/ 0 w 3"/>
                    <a:gd name="T5" fmla="*/ 6 h 11"/>
                    <a:gd name="T6" fmla="*/ 1 w 3"/>
                    <a:gd name="T7" fmla="*/ 0 h 11"/>
                    <a:gd name="T8" fmla="*/ 2 w 3"/>
                    <a:gd name="T9" fmla="*/ 6 h 11"/>
                    <a:gd name="T10" fmla="*/ 2 w 3"/>
                    <a:gd name="T11" fmla="*/ 6 h 11"/>
                    <a:gd name="T12" fmla="*/ 2 w 3"/>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2" y="6"/>
                      </a:moveTo>
                      <a:cubicBezTo>
                        <a:pt x="2" y="8"/>
                        <a:pt x="3" y="10"/>
                        <a:pt x="1" y="11"/>
                      </a:cubicBezTo>
                      <a:cubicBezTo>
                        <a:pt x="0" y="9"/>
                        <a:pt x="0" y="8"/>
                        <a:pt x="0" y="6"/>
                      </a:cubicBezTo>
                      <a:cubicBezTo>
                        <a:pt x="0" y="5"/>
                        <a:pt x="1" y="0"/>
                        <a:pt x="1" y="0"/>
                      </a:cubicBezTo>
                      <a:cubicBezTo>
                        <a:pt x="2" y="1"/>
                        <a:pt x="2" y="3"/>
                        <a:pt x="2" y="6"/>
                      </a:cubicBezTo>
                      <a:lnTo>
                        <a:pt x="2" y="6"/>
                      </a:lnTo>
                      <a:lnTo>
                        <a:pt x="2"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7" name="Freeform 107"/>
                <p:cNvSpPr>
                  <a:spLocks/>
                </p:cNvSpPr>
                <p:nvPr>
                  <p:custDataLst>
                    <p:tags r:id="rId93"/>
                  </p:custDataLst>
                </p:nvPr>
              </p:nvSpPr>
              <p:spPr bwMode="gray">
                <a:xfrm>
                  <a:off x="6187116" y="4846423"/>
                  <a:ext cx="31026" cy="45603"/>
                </a:xfrm>
                <a:custGeom>
                  <a:avLst/>
                  <a:gdLst>
                    <a:gd name="T0" fmla="*/ 0 w 3"/>
                    <a:gd name="T1" fmla="*/ 1 h 4"/>
                    <a:gd name="T2" fmla="*/ 1 w 3"/>
                    <a:gd name="T3" fmla="*/ 0 h 4"/>
                    <a:gd name="T4" fmla="*/ 1 w 3"/>
                    <a:gd name="T5" fmla="*/ 0 h 4"/>
                    <a:gd name="T6" fmla="*/ 3 w 3"/>
                    <a:gd name="T7" fmla="*/ 0 h 4"/>
                    <a:gd name="T8" fmla="*/ 3 w 3"/>
                    <a:gd name="T9" fmla="*/ 0 h 4"/>
                    <a:gd name="T10" fmla="*/ 1 w 3"/>
                    <a:gd name="T11" fmla="*/ 4 h 4"/>
                    <a:gd name="T12" fmla="*/ 1 w 3"/>
                    <a:gd name="T13" fmla="*/ 4 h 4"/>
                    <a:gd name="T14" fmla="*/ 0 w 3"/>
                    <a:gd name="T15" fmla="*/ 1 h 4"/>
                    <a:gd name="T16" fmla="*/ 0 w 3"/>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1"/>
                      </a:moveTo>
                      <a:cubicBezTo>
                        <a:pt x="0" y="0"/>
                        <a:pt x="1" y="0"/>
                        <a:pt x="1" y="0"/>
                      </a:cubicBezTo>
                      <a:lnTo>
                        <a:pt x="1" y="0"/>
                      </a:lnTo>
                      <a:lnTo>
                        <a:pt x="3" y="0"/>
                      </a:lnTo>
                      <a:lnTo>
                        <a:pt x="3" y="0"/>
                      </a:lnTo>
                      <a:cubicBezTo>
                        <a:pt x="3" y="1"/>
                        <a:pt x="2" y="3"/>
                        <a:pt x="1" y="4"/>
                      </a:cubicBezTo>
                      <a:lnTo>
                        <a:pt x="1" y="4"/>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8" name="Freeform 108"/>
                <p:cNvSpPr>
                  <a:spLocks/>
                </p:cNvSpPr>
                <p:nvPr>
                  <p:custDataLst>
                    <p:tags r:id="rId94"/>
                  </p:custDataLst>
                </p:nvPr>
              </p:nvSpPr>
              <p:spPr bwMode="gray">
                <a:xfrm>
                  <a:off x="5824676" y="4588530"/>
                  <a:ext cx="71924" cy="33023"/>
                </a:xfrm>
                <a:custGeom>
                  <a:avLst/>
                  <a:gdLst>
                    <a:gd name="T0" fmla="*/ 3 w 7"/>
                    <a:gd name="T1" fmla="*/ 2 h 3"/>
                    <a:gd name="T2" fmla="*/ 2 w 7"/>
                    <a:gd name="T3" fmla="*/ 3 h 3"/>
                    <a:gd name="T4" fmla="*/ 0 w 7"/>
                    <a:gd name="T5" fmla="*/ 2 h 3"/>
                    <a:gd name="T6" fmla="*/ 2 w 7"/>
                    <a:gd name="T7" fmla="*/ 0 h 3"/>
                    <a:gd name="T8" fmla="*/ 7 w 7"/>
                    <a:gd name="T9" fmla="*/ 3 h 3"/>
                    <a:gd name="T10" fmla="*/ 7 w 7"/>
                    <a:gd name="T11" fmla="*/ 3 h 3"/>
                    <a:gd name="T12" fmla="*/ 6 w 7"/>
                    <a:gd name="T13" fmla="*/ 3 h 3"/>
                    <a:gd name="T14" fmla="*/ 6 w 7"/>
                    <a:gd name="T15" fmla="*/ 3 h 3"/>
                    <a:gd name="T16" fmla="*/ 3 w 7"/>
                    <a:gd name="T17" fmla="*/ 2 h 3"/>
                    <a:gd name="T18" fmla="*/ 3 w 7"/>
                    <a:gd name="T19" fmla="*/ 2 h 3"/>
                    <a:gd name="T20" fmla="*/ 3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2"/>
                      </a:moveTo>
                      <a:cubicBezTo>
                        <a:pt x="3" y="3"/>
                        <a:pt x="3" y="3"/>
                        <a:pt x="2" y="3"/>
                      </a:cubicBezTo>
                      <a:cubicBezTo>
                        <a:pt x="1" y="3"/>
                        <a:pt x="0" y="2"/>
                        <a:pt x="0" y="2"/>
                      </a:cubicBezTo>
                      <a:cubicBezTo>
                        <a:pt x="0" y="0"/>
                        <a:pt x="1" y="0"/>
                        <a:pt x="2" y="0"/>
                      </a:cubicBezTo>
                      <a:cubicBezTo>
                        <a:pt x="4" y="0"/>
                        <a:pt x="6" y="2"/>
                        <a:pt x="7" y="3"/>
                      </a:cubicBezTo>
                      <a:lnTo>
                        <a:pt x="7" y="3"/>
                      </a:lnTo>
                      <a:lnTo>
                        <a:pt x="6" y="3"/>
                      </a:lnTo>
                      <a:lnTo>
                        <a:pt x="6" y="3"/>
                      </a:lnTo>
                      <a:cubicBezTo>
                        <a:pt x="5" y="3"/>
                        <a:pt x="4" y="2"/>
                        <a:pt x="3" y="2"/>
                      </a:cubicBezTo>
                      <a:lnTo>
                        <a:pt x="3" y="2"/>
                      </a:lnTo>
                      <a:lnTo>
                        <a:pt x="3"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79" name="Freeform 109"/>
                <p:cNvSpPr>
                  <a:spLocks/>
                </p:cNvSpPr>
                <p:nvPr>
                  <p:custDataLst>
                    <p:tags r:id="rId95"/>
                  </p:custDataLst>
                </p:nvPr>
              </p:nvSpPr>
              <p:spPr bwMode="gray">
                <a:xfrm>
                  <a:off x="5916343" y="464514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1" y="0"/>
                        <a:pt x="1" y="0"/>
                      </a:cubicBezTo>
                      <a:cubicBezTo>
                        <a:pt x="1" y="0"/>
                        <a:pt x="1" y="1"/>
                        <a:pt x="1" y="1"/>
                      </a:cubicBezTo>
                      <a:cubicBezTo>
                        <a:pt x="1" y="1"/>
                        <a:pt x="1"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0" name="Freeform 110"/>
                <p:cNvSpPr>
                  <a:spLocks/>
                </p:cNvSpPr>
                <p:nvPr>
                  <p:custDataLst>
                    <p:tags r:id="rId96"/>
                  </p:custDataLst>
                </p:nvPr>
              </p:nvSpPr>
              <p:spPr bwMode="gray">
                <a:xfrm>
                  <a:off x="6136345" y="4723767"/>
                  <a:ext cx="9871" cy="11009"/>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1" name="Freeform 111"/>
                <p:cNvSpPr>
                  <a:spLocks/>
                </p:cNvSpPr>
                <p:nvPr>
                  <p:custDataLst>
                    <p:tags r:id="rId97"/>
                  </p:custDataLst>
                </p:nvPr>
              </p:nvSpPr>
              <p:spPr bwMode="gray">
                <a:xfrm>
                  <a:off x="5804932" y="4218991"/>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2" name="Freeform 112"/>
                <p:cNvSpPr>
                  <a:spLocks/>
                </p:cNvSpPr>
                <p:nvPr>
                  <p:custDataLst>
                    <p:tags r:id="rId98"/>
                  </p:custDataLst>
                </p:nvPr>
              </p:nvSpPr>
              <p:spPr bwMode="gray">
                <a:xfrm>
                  <a:off x="6046088" y="4241006"/>
                  <a:ext cx="11282" cy="11008"/>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3" name="Freeform 113"/>
                <p:cNvSpPr>
                  <a:spLocks/>
                </p:cNvSpPr>
                <p:nvPr>
                  <p:custDataLst>
                    <p:tags r:id="rId99"/>
                  </p:custDataLst>
                </p:nvPr>
              </p:nvSpPr>
              <p:spPr bwMode="gray">
                <a:xfrm>
                  <a:off x="6146217" y="4252013"/>
                  <a:ext cx="9872" cy="23588"/>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4" name="Freeform 114"/>
                <p:cNvSpPr>
                  <a:spLocks/>
                </p:cNvSpPr>
                <p:nvPr>
                  <p:custDataLst>
                    <p:tags r:id="rId100"/>
                  </p:custDataLst>
                </p:nvPr>
              </p:nvSpPr>
              <p:spPr bwMode="gray">
                <a:xfrm>
                  <a:off x="6196988" y="4297617"/>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0" y="0"/>
                        <a:pt x="1" y="0"/>
                        <a:pt x="1" y="1"/>
                      </a:cubicBezTo>
                      <a:cubicBezTo>
                        <a:pt x="1"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5" name="Freeform 115"/>
                <p:cNvSpPr>
                  <a:spLocks/>
                </p:cNvSpPr>
                <p:nvPr>
                  <p:custDataLst>
                    <p:tags r:id="rId101"/>
                  </p:custDataLst>
                </p:nvPr>
              </p:nvSpPr>
              <p:spPr bwMode="gray">
                <a:xfrm>
                  <a:off x="5875445" y="4947064"/>
                  <a:ext cx="21155"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6" name="Freeform 116"/>
                <p:cNvSpPr>
                  <a:spLocks/>
                </p:cNvSpPr>
                <p:nvPr>
                  <p:custDataLst>
                    <p:tags r:id="rId102"/>
                  </p:custDataLst>
                </p:nvPr>
              </p:nvSpPr>
              <p:spPr bwMode="gray">
                <a:xfrm>
                  <a:off x="5814804" y="4958073"/>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7" name="Freeform 117"/>
                <p:cNvSpPr>
                  <a:spLocks/>
                </p:cNvSpPr>
                <p:nvPr>
                  <p:custDataLst>
                    <p:tags r:id="rId103"/>
                  </p:custDataLst>
                </p:nvPr>
              </p:nvSpPr>
              <p:spPr bwMode="gray">
                <a:xfrm>
                  <a:off x="5926215" y="4846423"/>
                  <a:ext cx="150899" cy="133664"/>
                </a:xfrm>
                <a:custGeom>
                  <a:avLst/>
                  <a:gdLst>
                    <a:gd name="T0" fmla="*/ 4 w 15"/>
                    <a:gd name="T1" fmla="*/ 10 h 12"/>
                    <a:gd name="T2" fmla="*/ 4 w 15"/>
                    <a:gd name="T3" fmla="*/ 8 h 12"/>
                    <a:gd name="T4" fmla="*/ 4 w 15"/>
                    <a:gd name="T5" fmla="*/ 8 h 12"/>
                    <a:gd name="T6" fmla="*/ 3 w 15"/>
                    <a:gd name="T7" fmla="*/ 5 h 12"/>
                    <a:gd name="T8" fmla="*/ 12 w 15"/>
                    <a:gd name="T9" fmla="*/ 0 h 12"/>
                    <a:gd name="T10" fmla="*/ 15 w 15"/>
                    <a:gd name="T11" fmla="*/ 3 h 12"/>
                    <a:gd name="T12" fmla="*/ 12 w 15"/>
                    <a:gd name="T13" fmla="*/ 9 h 12"/>
                    <a:gd name="T14" fmla="*/ 11 w 15"/>
                    <a:gd name="T15" fmla="*/ 12 h 12"/>
                    <a:gd name="T16" fmla="*/ 10 w 15"/>
                    <a:gd name="T17" fmla="*/ 11 h 12"/>
                    <a:gd name="T18" fmla="*/ 10 w 15"/>
                    <a:gd name="T19" fmla="*/ 11 h 12"/>
                    <a:gd name="T20" fmla="*/ 9 w 15"/>
                    <a:gd name="T21" fmla="*/ 11 h 12"/>
                    <a:gd name="T22" fmla="*/ 9 w 15"/>
                    <a:gd name="T23" fmla="*/ 11 h 12"/>
                    <a:gd name="T24" fmla="*/ 9 w 15"/>
                    <a:gd name="T25" fmla="*/ 12 h 12"/>
                    <a:gd name="T26" fmla="*/ 7 w 15"/>
                    <a:gd name="T27" fmla="*/ 12 h 12"/>
                    <a:gd name="T28" fmla="*/ 2 w 15"/>
                    <a:gd name="T29" fmla="*/ 12 h 12"/>
                    <a:gd name="T30" fmla="*/ 0 w 15"/>
                    <a:gd name="T31" fmla="*/ 10 h 12"/>
                    <a:gd name="T32" fmla="*/ 4 w 15"/>
                    <a:gd name="T33" fmla="*/ 10 h 12"/>
                    <a:gd name="T34" fmla="*/ 4 w 15"/>
                    <a:gd name="T35" fmla="*/ 10 h 12"/>
                    <a:gd name="T36" fmla="*/ 4 w 15"/>
                    <a:gd name="T3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2">
                      <a:moveTo>
                        <a:pt x="4" y="10"/>
                      </a:moveTo>
                      <a:lnTo>
                        <a:pt x="4" y="8"/>
                      </a:lnTo>
                      <a:lnTo>
                        <a:pt x="4" y="8"/>
                      </a:lnTo>
                      <a:cubicBezTo>
                        <a:pt x="4" y="7"/>
                        <a:pt x="3" y="7"/>
                        <a:pt x="3" y="5"/>
                      </a:cubicBezTo>
                      <a:cubicBezTo>
                        <a:pt x="3" y="1"/>
                        <a:pt x="9" y="0"/>
                        <a:pt x="12" y="0"/>
                      </a:cubicBezTo>
                      <a:cubicBezTo>
                        <a:pt x="14" y="0"/>
                        <a:pt x="15" y="1"/>
                        <a:pt x="15" y="3"/>
                      </a:cubicBezTo>
                      <a:cubicBezTo>
                        <a:pt x="15" y="6"/>
                        <a:pt x="13" y="7"/>
                        <a:pt x="12" y="9"/>
                      </a:cubicBezTo>
                      <a:cubicBezTo>
                        <a:pt x="11" y="10"/>
                        <a:pt x="12" y="12"/>
                        <a:pt x="11" y="12"/>
                      </a:cubicBezTo>
                      <a:cubicBezTo>
                        <a:pt x="11" y="12"/>
                        <a:pt x="10" y="12"/>
                        <a:pt x="10" y="11"/>
                      </a:cubicBezTo>
                      <a:lnTo>
                        <a:pt x="10" y="11"/>
                      </a:lnTo>
                      <a:lnTo>
                        <a:pt x="9" y="11"/>
                      </a:lnTo>
                      <a:lnTo>
                        <a:pt x="9" y="11"/>
                      </a:lnTo>
                      <a:cubicBezTo>
                        <a:pt x="9" y="12"/>
                        <a:pt x="9" y="12"/>
                        <a:pt x="9" y="12"/>
                      </a:cubicBezTo>
                      <a:cubicBezTo>
                        <a:pt x="9" y="12"/>
                        <a:pt x="8" y="12"/>
                        <a:pt x="7" y="12"/>
                      </a:cubicBezTo>
                      <a:cubicBezTo>
                        <a:pt x="5" y="12"/>
                        <a:pt x="4" y="12"/>
                        <a:pt x="2" y="12"/>
                      </a:cubicBezTo>
                      <a:cubicBezTo>
                        <a:pt x="1" y="12"/>
                        <a:pt x="0" y="11"/>
                        <a:pt x="0" y="10"/>
                      </a:cubicBezTo>
                      <a:cubicBezTo>
                        <a:pt x="2" y="9"/>
                        <a:pt x="3" y="10"/>
                        <a:pt x="4" y="10"/>
                      </a:cubicBezTo>
                      <a:lnTo>
                        <a:pt x="4" y="10"/>
                      </a:lnTo>
                      <a:lnTo>
                        <a:pt x="4" y="1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8" name="Freeform 118"/>
                <p:cNvSpPr>
                  <a:spLocks/>
                </p:cNvSpPr>
                <p:nvPr>
                  <p:custDataLst>
                    <p:tags r:id="rId104"/>
                  </p:custDataLst>
                </p:nvPr>
              </p:nvSpPr>
              <p:spPr bwMode="gray">
                <a:xfrm>
                  <a:off x="6067242" y="4835416"/>
                  <a:ext cx="410389" cy="190274"/>
                </a:xfrm>
                <a:custGeom>
                  <a:avLst/>
                  <a:gdLst>
                    <a:gd name="T0" fmla="*/ 0 w 41"/>
                    <a:gd name="T1" fmla="*/ 15 h 17"/>
                    <a:gd name="T2" fmla="*/ 2 w 41"/>
                    <a:gd name="T3" fmla="*/ 12 h 17"/>
                    <a:gd name="T4" fmla="*/ 1 w 41"/>
                    <a:gd name="T5" fmla="*/ 10 h 17"/>
                    <a:gd name="T6" fmla="*/ 1 w 41"/>
                    <a:gd name="T7" fmla="*/ 8 h 17"/>
                    <a:gd name="T8" fmla="*/ 9 w 41"/>
                    <a:gd name="T9" fmla="*/ 4 h 17"/>
                    <a:gd name="T10" fmla="*/ 15 w 41"/>
                    <a:gd name="T11" fmla="*/ 6 h 17"/>
                    <a:gd name="T12" fmla="*/ 16 w 41"/>
                    <a:gd name="T13" fmla="*/ 6 h 17"/>
                    <a:gd name="T14" fmla="*/ 19 w 41"/>
                    <a:gd name="T15" fmla="*/ 10 h 17"/>
                    <a:gd name="T16" fmla="*/ 21 w 41"/>
                    <a:gd name="T17" fmla="*/ 10 h 17"/>
                    <a:gd name="T18" fmla="*/ 20 w 41"/>
                    <a:gd name="T19" fmla="*/ 9 h 17"/>
                    <a:gd name="T20" fmla="*/ 24 w 41"/>
                    <a:gd name="T21" fmla="*/ 8 h 17"/>
                    <a:gd name="T22" fmla="*/ 20 w 41"/>
                    <a:gd name="T23" fmla="*/ 6 h 17"/>
                    <a:gd name="T24" fmla="*/ 16 w 41"/>
                    <a:gd name="T25" fmla="*/ 2 h 17"/>
                    <a:gd name="T26" fmla="*/ 21 w 41"/>
                    <a:gd name="T27" fmla="*/ 0 h 17"/>
                    <a:gd name="T28" fmla="*/ 25 w 41"/>
                    <a:gd name="T29" fmla="*/ 4 h 17"/>
                    <a:gd name="T30" fmla="*/ 27 w 41"/>
                    <a:gd name="T31" fmla="*/ 2 h 17"/>
                    <a:gd name="T32" fmla="*/ 31 w 41"/>
                    <a:gd name="T33" fmla="*/ 2 h 17"/>
                    <a:gd name="T34" fmla="*/ 31 w 41"/>
                    <a:gd name="T35" fmla="*/ 6 h 17"/>
                    <a:gd name="T36" fmla="*/ 32 w 41"/>
                    <a:gd name="T37" fmla="*/ 4 h 17"/>
                    <a:gd name="T38" fmla="*/ 35 w 41"/>
                    <a:gd name="T39" fmla="*/ 3 h 17"/>
                    <a:gd name="T40" fmla="*/ 38 w 41"/>
                    <a:gd name="T41" fmla="*/ 9 h 17"/>
                    <a:gd name="T42" fmla="*/ 39 w 41"/>
                    <a:gd name="T43" fmla="*/ 8 h 17"/>
                    <a:gd name="T44" fmla="*/ 39 w 41"/>
                    <a:gd name="T45" fmla="*/ 8 h 17"/>
                    <a:gd name="T46" fmla="*/ 41 w 41"/>
                    <a:gd name="T47" fmla="*/ 8 h 17"/>
                    <a:gd name="T48" fmla="*/ 41 w 41"/>
                    <a:gd name="T49" fmla="*/ 8 h 17"/>
                    <a:gd name="T50" fmla="*/ 33 w 41"/>
                    <a:gd name="T51" fmla="*/ 13 h 17"/>
                    <a:gd name="T52" fmla="*/ 33 w 41"/>
                    <a:gd name="T53" fmla="*/ 13 h 17"/>
                    <a:gd name="T54" fmla="*/ 34 w 41"/>
                    <a:gd name="T55" fmla="*/ 11 h 17"/>
                    <a:gd name="T56" fmla="*/ 34 w 41"/>
                    <a:gd name="T57" fmla="*/ 10 h 17"/>
                    <a:gd name="T58" fmla="*/ 34 w 41"/>
                    <a:gd name="T59" fmla="*/ 10 h 17"/>
                    <a:gd name="T60" fmla="*/ 34 w 41"/>
                    <a:gd name="T61" fmla="*/ 10 h 17"/>
                    <a:gd name="T62" fmla="*/ 31 w 41"/>
                    <a:gd name="T63" fmla="*/ 12 h 17"/>
                    <a:gd name="T64" fmla="*/ 28 w 41"/>
                    <a:gd name="T65" fmla="*/ 13 h 17"/>
                    <a:gd name="T66" fmla="*/ 28 w 41"/>
                    <a:gd name="T67" fmla="*/ 13 h 17"/>
                    <a:gd name="T68" fmla="*/ 27 w 41"/>
                    <a:gd name="T69" fmla="*/ 13 h 17"/>
                    <a:gd name="T70" fmla="*/ 27 w 41"/>
                    <a:gd name="T71" fmla="*/ 13 h 17"/>
                    <a:gd name="T72" fmla="*/ 27 w 41"/>
                    <a:gd name="T73" fmla="*/ 12 h 17"/>
                    <a:gd name="T74" fmla="*/ 26 w 41"/>
                    <a:gd name="T75" fmla="*/ 9 h 17"/>
                    <a:gd name="T76" fmla="*/ 21 w 41"/>
                    <a:gd name="T77" fmla="*/ 12 h 17"/>
                    <a:gd name="T78" fmla="*/ 17 w 41"/>
                    <a:gd name="T79" fmla="*/ 15 h 17"/>
                    <a:gd name="T80" fmla="*/ 16 w 41"/>
                    <a:gd name="T81" fmla="*/ 14 h 17"/>
                    <a:gd name="T82" fmla="*/ 13 w 41"/>
                    <a:gd name="T83" fmla="*/ 15 h 17"/>
                    <a:gd name="T84" fmla="*/ 9 w 41"/>
                    <a:gd name="T85" fmla="*/ 15 h 17"/>
                    <a:gd name="T86" fmla="*/ 5 w 41"/>
                    <a:gd name="T87" fmla="*/ 17 h 17"/>
                    <a:gd name="T88" fmla="*/ 0 w 41"/>
                    <a:gd name="T89" fmla="*/ 15 h 17"/>
                    <a:gd name="T90" fmla="*/ 0 w 41"/>
                    <a:gd name="T91" fmla="*/ 15 h 17"/>
                    <a:gd name="T92" fmla="*/ 0 w 41"/>
                    <a:gd name="T9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 h="17">
                      <a:moveTo>
                        <a:pt x="0" y="15"/>
                      </a:moveTo>
                      <a:cubicBezTo>
                        <a:pt x="0" y="15"/>
                        <a:pt x="2" y="12"/>
                        <a:pt x="2" y="12"/>
                      </a:cubicBezTo>
                      <a:cubicBezTo>
                        <a:pt x="1" y="11"/>
                        <a:pt x="1" y="11"/>
                        <a:pt x="1" y="10"/>
                      </a:cubicBezTo>
                      <a:cubicBezTo>
                        <a:pt x="1" y="9"/>
                        <a:pt x="1" y="9"/>
                        <a:pt x="1" y="8"/>
                      </a:cubicBezTo>
                      <a:cubicBezTo>
                        <a:pt x="4" y="8"/>
                        <a:pt x="5" y="4"/>
                        <a:pt x="9" y="4"/>
                      </a:cubicBezTo>
                      <a:cubicBezTo>
                        <a:pt x="11" y="4"/>
                        <a:pt x="13" y="6"/>
                        <a:pt x="15" y="6"/>
                      </a:cubicBezTo>
                      <a:cubicBezTo>
                        <a:pt x="15" y="6"/>
                        <a:pt x="16" y="6"/>
                        <a:pt x="16" y="6"/>
                      </a:cubicBezTo>
                      <a:cubicBezTo>
                        <a:pt x="17" y="7"/>
                        <a:pt x="16" y="10"/>
                        <a:pt x="19" y="10"/>
                      </a:cubicBezTo>
                      <a:cubicBezTo>
                        <a:pt x="20" y="10"/>
                        <a:pt x="20" y="10"/>
                        <a:pt x="21" y="10"/>
                      </a:cubicBezTo>
                      <a:cubicBezTo>
                        <a:pt x="21" y="10"/>
                        <a:pt x="20" y="9"/>
                        <a:pt x="20" y="9"/>
                      </a:cubicBezTo>
                      <a:cubicBezTo>
                        <a:pt x="21" y="9"/>
                        <a:pt x="23" y="9"/>
                        <a:pt x="24" y="8"/>
                      </a:cubicBezTo>
                      <a:cubicBezTo>
                        <a:pt x="23" y="6"/>
                        <a:pt x="22" y="7"/>
                        <a:pt x="20" y="6"/>
                      </a:cubicBezTo>
                      <a:cubicBezTo>
                        <a:pt x="19" y="6"/>
                        <a:pt x="16" y="2"/>
                        <a:pt x="16" y="2"/>
                      </a:cubicBezTo>
                      <a:cubicBezTo>
                        <a:pt x="17" y="1"/>
                        <a:pt x="19" y="0"/>
                        <a:pt x="21" y="0"/>
                      </a:cubicBezTo>
                      <a:cubicBezTo>
                        <a:pt x="24" y="0"/>
                        <a:pt x="23" y="4"/>
                        <a:pt x="25" y="4"/>
                      </a:cubicBezTo>
                      <a:cubicBezTo>
                        <a:pt x="26" y="4"/>
                        <a:pt x="27" y="3"/>
                        <a:pt x="27" y="2"/>
                      </a:cubicBezTo>
                      <a:cubicBezTo>
                        <a:pt x="28" y="2"/>
                        <a:pt x="30" y="4"/>
                        <a:pt x="31" y="2"/>
                      </a:cubicBezTo>
                      <a:cubicBezTo>
                        <a:pt x="31" y="4"/>
                        <a:pt x="31" y="4"/>
                        <a:pt x="31" y="6"/>
                      </a:cubicBezTo>
                      <a:cubicBezTo>
                        <a:pt x="32" y="6"/>
                        <a:pt x="32" y="5"/>
                        <a:pt x="32" y="4"/>
                      </a:cubicBezTo>
                      <a:cubicBezTo>
                        <a:pt x="33" y="4"/>
                        <a:pt x="34" y="3"/>
                        <a:pt x="35" y="3"/>
                      </a:cubicBezTo>
                      <a:cubicBezTo>
                        <a:pt x="37" y="3"/>
                        <a:pt x="36" y="9"/>
                        <a:pt x="38" y="9"/>
                      </a:cubicBezTo>
                      <a:cubicBezTo>
                        <a:pt x="38" y="9"/>
                        <a:pt x="39" y="8"/>
                        <a:pt x="39" y="8"/>
                      </a:cubicBezTo>
                      <a:lnTo>
                        <a:pt x="39" y="8"/>
                      </a:lnTo>
                      <a:lnTo>
                        <a:pt x="41" y="8"/>
                      </a:lnTo>
                      <a:lnTo>
                        <a:pt x="41" y="8"/>
                      </a:lnTo>
                      <a:cubicBezTo>
                        <a:pt x="40" y="10"/>
                        <a:pt x="36" y="13"/>
                        <a:pt x="33" y="13"/>
                      </a:cubicBezTo>
                      <a:lnTo>
                        <a:pt x="33" y="13"/>
                      </a:lnTo>
                      <a:lnTo>
                        <a:pt x="34" y="11"/>
                      </a:lnTo>
                      <a:lnTo>
                        <a:pt x="34" y="10"/>
                      </a:lnTo>
                      <a:lnTo>
                        <a:pt x="34" y="10"/>
                      </a:lnTo>
                      <a:cubicBezTo>
                        <a:pt x="34" y="10"/>
                        <a:pt x="34" y="10"/>
                        <a:pt x="34" y="10"/>
                      </a:cubicBezTo>
                      <a:cubicBezTo>
                        <a:pt x="33" y="12"/>
                        <a:pt x="31" y="12"/>
                        <a:pt x="31" y="12"/>
                      </a:cubicBezTo>
                      <a:cubicBezTo>
                        <a:pt x="30" y="12"/>
                        <a:pt x="28" y="12"/>
                        <a:pt x="28" y="13"/>
                      </a:cubicBezTo>
                      <a:lnTo>
                        <a:pt x="28" y="13"/>
                      </a:lnTo>
                      <a:lnTo>
                        <a:pt x="27" y="13"/>
                      </a:lnTo>
                      <a:lnTo>
                        <a:pt x="27" y="13"/>
                      </a:lnTo>
                      <a:cubicBezTo>
                        <a:pt x="27" y="12"/>
                        <a:pt x="27" y="12"/>
                        <a:pt x="27" y="12"/>
                      </a:cubicBezTo>
                      <a:cubicBezTo>
                        <a:pt x="27" y="10"/>
                        <a:pt x="26" y="9"/>
                        <a:pt x="26" y="9"/>
                      </a:cubicBezTo>
                      <a:cubicBezTo>
                        <a:pt x="26" y="11"/>
                        <a:pt x="23" y="13"/>
                        <a:pt x="21" y="12"/>
                      </a:cubicBezTo>
                      <a:cubicBezTo>
                        <a:pt x="20" y="12"/>
                        <a:pt x="19" y="15"/>
                        <a:pt x="17" y="15"/>
                      </a:cubicBezTo>
                      <a:cubicBezTo>
                        <a:pt x="17" y="15"/>
                        <a:pt x="17" y="14"/>
                        <a:pt x="16" y="14"/>
                      </a:cubicBezTo>
                      <a:cubicBezTo>
                        <a:pt x="15" y="14"/>
                        <a:pt x="14" y="15"/>
                        <a:pt x="13" y="15"/>
                      </a:cubicBezTo>
                      <a:cubicBezTo>
                        <a:pt x="10" y="17"/>
                        <a:pt x="10" y="15"/>
                        <a:pt x="9" y="15"/>
                      </a:cubicBezTo>
                      <a:cubicBezTo>
                        <a:pt x="8" y="15"/>
                        <a:pt x="7" y="17"/>
                        <a:pt x="5" y="17"/>
                      </a:cubicBezTo>
                      <a:cubicBezTo>
                        <a:pt x="4" y="17"/>
                        <a:pt x="0" y="15"/>
                        <a:pt x="0" y="15"/>
                      </a:cubicBezTo>
                      <a:lnTo>
                        <a:pt x="0" y="15"/>
                      </a:lnTo>
                      <a:lnTo>
                        <a:pt x="0" y="1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89" name="Freeform 119"/>
                <p:cNvSpPr>
                  <a:spLocks/>
                </p:cNvSpPr>
                <p:nvPr>
                  <p:custDataLst>
                    <p:tags r:id="rId105"/>
                  </p:custDataLst>
                </p:nvPr>
              </p:nvSpPr>
              <p:spPr bwMode="gray">
                <a:xfrm>
                  <a:off x="6167372" y="4835415"/>
                  <a:ext cx="9871" cy="11008"/>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0" name="Freeform 120"/>
                <p:cNvSpPr>
                  <a:spLocks/>
                </p:cNvSpPr>
                <p:nvPr>
                  <p:custDataLst>
                    <p:tags r:id="rId106"/>
                  </p:custDataLst>
                </p:nvPr>
              </p:nvSpPr>
              <p:spPr bwMode="gray">
                <a:xfrm>
                  <a:off x="6096858" y="4892026"/>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1" name="Freeform 121"/>
                <p:cNvSpPr>
                  <a:spLocks/>
                </p:cNvSpPr>
                <p:nvPr>
                  <p:custDataLst>
                    <p:tags r:id="rId107"/>
                  </p:custDataLst>
                </p:nvPr>
              </p:nvSpPr>
              <p:spPr bwMode="gray">
                <a:xfrm>
                  <a:off x="6981098" y="4365235"/>
                  <a:ext cx="987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1" y="0"/>
                      </a:cubicBezTo>
                      <a:cubicBezTo>
                        <a:pt x="1" y="0"/>
                        <a:pt x="1" y="0"/>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2" name="Freeform 122"/>
                <p:cNvSpPr>
                  <a:spLocks/>
                </p:cNvSpPr>
                <p:nvPr>
                  <p:custDataLst>
                    <p:tags r:id="rId108"/>
                  </p:custDataLst>
                </p:nvPr>
              </p:nvSpPr>
              <p:spPr bwMode="gray">
                <a:xfrm>
                  <a:off x="7202511" y="4374670"/>
                  <a:ext cx="9871" cy="12580"/>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3" name="Freeform 123"/>
                <p:cNvSpPr>
                  <a:spLocks/>
                </p:cNvSpPr>
                <p:nvPr>
                  <p:custDataLst>
                    <p:tags r:id="rId109"/>
                  </p:custDataLst>
                </p:nvPr>
              </p:nvSpPr>
              <p:spPr bwMode="gray">
                <a:xfrm>
                  <a:off x="7253280" y="4174959"/>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4" name="Freeform 124"/>
                <p:cNvSpPr>
                  <a:spLocks/>
                </p:cNvSpPr>
                <p:nvPr>
                  <p:custDataLst>
                    <p:tags r:id="rId110"/>
                  </p:custDataLst>
                </p:nvPr>
              </p:nvSpPr>
              <p:spPr bwMode="gray">
                <a:xfrm>
                  <a:off x="7212383" y="3646595"/>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1" y="0"/>
                        <a:pt x="1" y="0"/>
                      </a:cubicBezTo>
                      <a:cubicBezTo>
                        <a:pt x="1" y="0"/>
                        <a:pt x="1" y="0"/>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5" name="Freeform 125"/>
                <p:cNvSpPr>
                  <a:spLocks/>
                </p:cNvSpPr>
                <p:nvPr>
                  <p:custDataLst>
                    <p:tags r:id="rId111"/>
                  </p:custDataLst>
                </p:nvPr>
              </p:nvSpPr>
              <p:spPr bwMode="gray">
                <a:xfrm>
                  <a:off x="7071355" y="3637161"/>
                  <a:ext cx="11282" cy="20442"/>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6" name="Freeform 126"/>
                <p:cNvSpPr>
                  <a:spLocks/>
                </p:cNvSpPr>
                <p:nvPr>
                  <p:custDataLst>
                    <p:tags r:id="rId112"/>
                  </p:custDataLst>
                </p:nvPr>
              </p:nvSpPr>
              <p:spPr bwMode="gray">
                <a:xfrm>
                  <a:off x="7212382" y="4409265"/>
                  <a:ext cx="19744" cy="22015"/>
                </a:xfrm>
                <a:custGeom>
                  <a:avLst/>
                  <a:gdLst>
                    <a:gd name="T0" fmla="*/ 1 w 2"/>
                    <a:gd name="T1" fmla="*/ 0 h 2"/>
                    <a:gd name="T2" fmla="*/ 2 w 2"/>
                    <a:gd name="T3" fmla="*/ 2 h 2"/>
                    <a:gd name="T4" fmla="*/ 0 w 2"/>
                    <a:gd name="T5" fmla="*/ 1 h 2"/>
                    <a:gd name="T6" fmla="*/ 0 w 2"/>
                    <a:gd name="T7" fmla="*/ 1 h 2"/>
                    <a:gd name="T8" fmla="*/ 1 w 2"/>
                    <a:gd name="T9" fmla="*/ 0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1"/>
                        <a:pt x="2" y="1"/>
                        <a:pt x="2" y="2"/>
                      </a:cubicBezTo>
                      <a:cubicBezTo>
                        <a:pt x="1" y="2"/>
                        <a:pt x="0" y="1"/>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7" name="Freeform 127"/>
                <p:cNvSpPr>
                  <a:spLocks/>
                </p:cNvSpPr>
                <p:nvPr>
                  <p:custDataLst>
                    <p:tags r:id="rId113"/>
                  </p:custDataLst>
                </p:nvPr>
              </p:nvSpPr>
              <p:spPr bwMode="gray">
                <a:xfrm>
                  <a:off x="7171485" y="4332212"/>
                  <a:ext cx="2115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1"/>
                        <a:pt x="1" y="1"/>
                        <a:pt x="0" y="0"/>
                      </a:cubicBezTo>
                      <a:cubicBezTo>
                        <a:pt x="0" y="1"/>
                        <a:pt x="1" y="2"/>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8" name="Freeform 128"/>
                <p:cNvSpPr>
                  <a:spLocks/>
                </p:cNvSpPr>
                <p:nvPr>
                  <p:custDataLst>
                    <p:tags r:id="rId114"/>
                  </p:custDataLst>
                </p:nvPr>
              </p:nvSpPr>
              <p:spPr bwMode="gray">
                <a:xfrm>
                  <a:off x="7141869" y="4286609"/>
                  <a:ext cx="19744" cy="33023"/>
                </a:xfrm>
                <a:custGeom>
                  <a:avLst/>
                  <a:gdLst>
                    <a:gd name="T0" fmla="*/ 0 w 2"/>
                    <a:gd name="T1" fmla="*/ 0 h 3"/>
                    <a:gd name="T2" fmla="*/ 0 w 2"/>
                    <a:gd name="T3" fmla="*/ 2 h 3"/>
                    <a:gd name="T4" fmla="*/ 2 w 2"/>
                    <a:gd name="T5" fmla="*/ 3 h 3"/>
                    <a:gd name="T6" fmla="*/ 0 w 2"/>
                    <a:gd name="T7" fmla="*/ 0 h 3"/>
                    <a:gd name="T8" fmla="*/ 0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0" y="2"/>
                        <a:pt x="0" y="2"/>
                      </a:cubicBezTo>
                      <a:cubicBezTo>
                        <a:pt x="0" y="2"/>
                        <a:pt x="1" y="3"/>
                        <a:pt x="2" y="3"/>
                      </a:cubicBezTo>
                      <a:cubicBezTo>
                        <a:pt x="2"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999" name="Freeform 129"/>
                <p:cNvSpPr>
                  <a:spLocks/>
                </p:cNvSpPr>
                <p:nvPr>
                  <p:custDataLst>
                    <p:tags r:id="rId115"/>
                  </p:custDataLst>
                </p:nvPr>
              </p:nvSpPr>
              <p:spPr bwMode="gray">
                <a:xfrm>
                  <a:off x="7061484" y="4050731"/>
                  <a:ext cx="40897" cy="56611"/>
                </a:xfrm>
                <a:custGeom>
                  <a:avLst/>
                  <a:gdLst>
                    <a:gd name="T0" fmla="*/ 0 w 4"/>
                    <a:gd name="T1" fmla="*/ 1 h 5"/>
                    <a:gd name="T2" fmla="*/ 2 w 4"/>
                    <a:gd name="T3" fmla="*/ 5 h 5"/>
                    <a:gd name="T4" fmla="*/ 4 w 4"/>
                    <a:gd name="T5" fmla="*/ 2 h 5"/>
                    <a:gd name="T6" fmla="*/ 1 w 4"/>
                    <a:gd name="T7" fmla="*/ 0 h 5"/>
                    <a:gd name="T8" fmla="*/ 1 w 4"/>
                    <a:gd name="T9" fmla="*/ 0 h 5"/>
                    <a:gd name="T10" fmla="*/ 0 w 4"/>
                    <a:gd name="T11" fmla="*/ 1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3"/>
                        <a:pt x="0" y="5"/>
                        <a:pt x="2" y="5"/>
                      </a:cubicBezTo>
                      <a:cubicBezTo>
                        <a:pt x="4" y="5"/>
                        <a:pt x="4" y="4"/>
                        <a:pt x="4" y="2"/>
                      </a:cubicBezTo>
                      <a:cubicBezTo>
                        <a:pt x="4" y="0"/>
                        <a:pt x="1" y="0"/>
                        <a:pt x="1" y="0"/>
                      </a:cubicBez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0" name="Freeform 130"/>
                <p:cNvSpPr>
                  <a:spLocks/>
                </p:cNvSpPr>
                <p:nvPr>
                  <p:custDataLst>
                    <p:tags r:id="rId116"/>
                  </p:custDataLst>
                </p:nvPr>
              </p:nvSpPr>
              <p:spPr bwMode="gray">
                <a:xfrm>
                  <a:off x="7071355" y="3973678"/>
                  <a:ext cx="11282" cy="11008"/>
                </a:xfrm>
                <a:custGeom>
                  <a:avLst/>
                  <a:gdLst>
                    <a:gd name="T0" fmla="*/ 0 w 1"/>
                    <a:gd name="T1" fmla="*/ 0 h 1"/>
                    <a:gd name="T2" fmla="*/ 0 w 1"/>
                    <a:gd name="T3" fmla="*/ 1 h 1"/>
                    <a:gd name="T4" fmla="*/ 0 w 1"/>
                    <a:gd name="T5" fmla="*/ 1 h 1"/>
                    <a:gd name="T6" fmla="*/ 0 w 1"/>
                    <a:gd name="T7" fmla="*/ 1 h 1"/>
                    <a:gd name="T8" fmla="*/ 1 w 1"/>
                    <a:gd name="T9" fmla="*/ 0 h 1"/>
                    <a:gd name="T10" fmla="*/ 0 w 1"/>
                    <a:gd name="T11" fmla="*/ 0 h 1"/>
                    <a:gd name="T12" fmla="*/ 0 w 1"/>
                    <a:gd name="T13" fmla="*/ 0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lnTo>
                        <a:pt x="0" y="1"/>
                      </a:lnTo>
                      <a:lnTo>
                        <a:pt x="0" y="1"/>
                      </a:lnTo>
                      <a:cubicBezTo>
                        <a:pt x="0" y="1"/>
                        <a:pt x="0" y="1"/>
                        <a:pt x="0" y="1"/>
                      </a:cubicBezTo>
                      <a:cubicBezTo>
                        <a:pt x="1" y="1"/>
                        <a:pt x="1" y="1"/>
                        <a:pt x="1" y="0"/>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1" name="Freeform 131"/>
                <p:cNvSpPr>
                  <a:spLocks/>
                </p:cNvSpPr>
                <p:nvPr>
                  <p:custDataLst>
                    <p:tags r:id="rId117"/>
                  </p:custDataLst>
                </p:nvPr>
              </p:nvSpPr>
              <p:spPr bwMode="gray">
                <a:xfrm>
                  <a:off x="7112253" y="3626154"/>
                  <a:ext cx="9871" cy="11009"/>
                </a:xfrm>
                <a:custGeom>
                  <a:avLst/>
                  <a:gdLst>
                    <a:gd name="T0" fmla="*/ 0 w 1"/>
                    <a:gd name="T1" fmla="*/ 0 h 1"/>
                    <a:gd name="T2" fmla="*/ 0 w 1"/>
                    <a:gd name="T3" fmla="*/ 1 h 1"/>
                    <a:gd name="T4" fmla="*/ 0 w 1"/>
                    <a:gd name="T5" fmla="*/ 1 h 1"/>
                    <a:gd name="T6" fmla="*/ 1 w 1"/>
                    <a:gd name="T7" fmla="*/ 0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lnTo>
                        <a:pt x="0" y="1"/>
                      </a:lnTo>
                      <a:lnTo>
                        <a:pt x="0" y="1"/>
                      </a:lnTo>
                      <a:cubicBezTo>
                        <a:pt x="0" y="1"/>
                        <a:pt x="1" y="0"/>
                        <a:pt x="1" y="0"/>
                      </a:cubicBezTo>
                      <a:cubicBezTo>
                        <a:pt x="0" y="0"/>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2" name="Freeform 132"/>
                <p:cNvSpPr>
                  <a:spLocks/>
                </p:cNvSpPr>
                <p:nvPr>
                  <p:custDataLst>
                    <p:tags r:id="rId118"/>
                  </p:custDataLst>
                </p:nvPr>
              </p:nvSpPr>
              <p:spPr bwMode="gray">
                <a:xfrm>
                  <a:off x="7182767" y="3657604"/>
                  <a:ext cx="19744" cy="34595"/>
                </a:xfrm>
                <a:custGeom>
                  <a:avLst/>
                  <a:gdLst>
                    <a:gd name="T0" fmla="*/ 2 w 2"/>
                    <a:gd name="T1" fmla="*/ 3 h 3"/>
                    <a:gd name="T2" fmla="*/ 2 w 2"/>
                    <a:gd name="T3" fmla="*/ 3 h 3"/>
                    <a:gd name="T4" fmla="*/ 0 w 2"/>
                    <a:gd name="T5" fmla="*/ 0 h 3"/>
                    <a:gd name="T6" fmla="*/ 2 w 2"/>
                    <a:gd name="T7" fmla="*/ 3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2"/>
                        <a:pt x="1" y="1"/>
                        <a:pt x="0" y="0"/>
                      </a:cubicBezTo>
                      <a:cubicBezTo>
                        <a:pt x="0" y="2"/>
                        <a:pt x="1" y="3"/>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3" name="Freeform 133"/>
                <p:cNvSpPr>
                  <a:spLocks/>
                </p:cNvSpPr>
                <p:nvPr>
                  <p:custDataLst>
                    <p:tags r:id="rId119"/>
                  </p:custDataLst>
                </p:nvPr>
              </p:nvSpPr>
              <p:spPr bwMode="gray">
                <a:xfrm>
                  <a:off x="7514180" y="3670183"/>
                  <a:ext cx="39488" cy="100641"/>
                </a:xfrm>
                <a:custGeom>
                  <a:avLst/>
                  <a:gdLst>
                    <a:gd name="T0" fmla="*/ 0 w 4"/>
                    <a:gd name="T1" fmla="*/ 3 h 9"/>
                    <a:gd name="T2" fmla="*/ 3 w 4"/>
                    <a:gd name="T3" fmla="*/ 9 h 9"/>
                    <a:gd name="T4" fmla="*/ 4 w 4"/>
                    <a:gd name="T5" fmla="*/ 7 h 9"/>
                    <a:gd name="T6" fmla="*/ 3 w 4"/>
                    <a:gd name="T7" fmla="*/ 6 h 9"/>
                    <a:gd name="T8" fmla="*/ 1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5"/>
                        <a:pt x="3" y="9"/>
                        <a:pt x="3" y="9"/>
                      </a:cubicBezTo>
                      <a:cubicBezTo>
                        <a:pt x="3" y="9"/>
                        <a:pt x="4" y="8"/>
                        <a:pt x="4" y="7"/>
                      </a:cubicBezTo>
                      <a:cubicBezTo>
                        <a:pt x="4" y="6"/>
                        <a:pt x="3" y="6"/>
                        <a:pt x="3" y="6"/>
                      </a:cubicBezTo>
                      <a:cubicBezTo>
                        <a:pt x="2" y="4"/>
                        <a:pt x="2" y="2"/>
                        <a:pt x="1" y="0"/>
                      </a:cubicBezTo>
                      <a:cubicBezTo>
                        <a:pt x="0" y="1"/>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4" name="Freeform 134"/>
                <p:cNvSpPr>
                  <a:spLocks/>
                </p:cNvSpPr>
                <p:nvPr>
                  <p:custDataLst>
                    <p:tags r:id="rId120"/>
                  </p:custDataLst>
                </p:nvPr>
              </p:nvSpPr>
              <p:spPr bwMode="gray">
                <a:xfrm>
                  <a:off x="7433796" y="3637161"/>
                  <a:ext cx="170642" cy="33022"/>
                </a:xfrm>
                <a:custGeom>
                  <a:avLst/>
                  <a:gdLst>
                    <a:gd name="T0" fmla="*/ 0 w 17"/>
                    <a:gd name="T1" fmla="*/ 1 h 3"/>
                    <a:gd name="T2" fmla="*/ 3 w 17"/>
                    <a:gd name="T3" fmla="*/ 3 h 3"/>
                    <a:gd name="T4" fmla="*/ 4 w 17"/>
                    <a:gd name="T5" fmla="*/ 2 h 3"/>
                    <a:gd name="T6" fmla="*/ 4 w 17"/>
                    <a:gd name="T7" fmla="*/ 2 h 3"/>
                    <a:gd name="T8" fmla="*/ 8 w 17"/>
                    <a:gd name="T9" fmla="*/ 2 h 3"/>
                    <a:gd name="T10" fmla="*/ 8 w 17"/>
                    <a:gd name="T11" fmla="*/ 2 h 3"/>
                    <a:gd name="T12" fmla="*/ 17 w 17"/>
                    <a:gd name="T13" fmla="*/ 0 h 3"/>
                    <a:gd name="T14" fmla="*/ 17 w 17"/>
                    <a:gd name="T15" fmla="*/ 0 h 3"/>
                    <a:gd name="T16" fmla="*/ 9 w 17"/>
                    <a:gd name="T17" fmla="*/ 0 h 3"/>
                    <a:gd name="T18" fmla="*/ 9 w 17"/>
                    <a:gd name="T19" fmla="*/ 0 h 3"/>
                    <a:gd name="T20" fmla="*/ 0 w 17"/>
                    <a:gd name="T21" fmla="*/ 1 h 3"/>
                    <a:gd name="T22" fmla="*/ 0 w 17"/>
                    <a:gd name="T23" fmla="*/ 1 h 3"/>
                    <a:gd name="T24" fmla="*/ 0 w 17"/>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
                      <a:moveTo>
                        <a:pt x="0" y="1"/>
                      </a:moveTo>
                      <a:cubicBezTo>
                        <a:pt x="1" y="2"/>
                        <a:pt x="1" y="3"/>
                        <a:pt x="3" y="3"/>
                      </a:cubicBezTo>
                      <a:cubicBezTo>
                        <a:pt x="4" y="3"/>
                        <a:pt x="4" y="2"/>
                        <a:pt x="4" y="2"/>
                      </a:cubicBezTo>
                      <a:lnTo>
                        <a:pt x="4" y="2"/>
                      </a:lnTo>
                      <a:lnTo>
                        <a:pt x="8" y="2"/>
                      </a:lnTo>
                      <a:lnTo>
                        <a:pt x="8" y="2"/>
                      </a:lnTo>
                      <a:cubicBezTo>
                        <a:pt x="11" y="1"/>
                        <a:pt x="15" y="3"/>
                        <a:pt x="17" y="0"/>
                      </a:cubicBezTo>
                      <a:lnTo>
                        <a:pt x="17" y="0"/>
                      </a:lnTo>
                      <a:lnTo>
                        <a:pt x="9" y="0"/>
                      </a:lnTo>
                      <a:lnTo>
                        <a:pt x="9" y="0"/>
                      </a:lnTo>
                      <a:cubicBezTo>
                        <a:pt x="5" y="1"/>
                        <a:pt x="3"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5" name="Freeform 135"/>
                <p:cNvSpPr>
                  <a:spLocks/>
                </p:cNvSpPr>
                <p:nvPr>
                  <p:custDataLst>
                    <p:tags r:id="rId121"/>
                  </p:custDataLst>
                </p:nvPr>
              </p:nvSpPr>
              <p:spPr bwMode="gray">
                <a:xfrm>
                  <a:off x="7273024" y="3602566"/>
                  <a:ext cx="150898" cy="78626"/>
                </a:xfrm>
                <a:custGeom>
                  <a:avLst/>
                  <a:gdLst>
                    <a:gd name="T0" fmla="*/ 12 w 15"/>
                    <a:gd name="T1" fmla="*/ 3 h 7"/>
                    <a:gd name="T2" fmla="*/ 13 w 15"/>
                    <a:gd name="T3" fmla="*/ 2 h 7"/>
                    <a:gd name="T4" fmla="*/ 15 w 15"/>
                    <a:gd name="T5" fmla="*/ 3 h 7"/>
                    <a:gd name="T6" fmla="*/ 9 w 15"/>
                    <a:gd name="T7" fmla="*/ 5 h 7"/>
                    <a:gd name="T8" fmla="*/ 3 w 15"/>
                    <a:gd name="T9" fmla="*/ 7 h 7"/>
                    <a:gd name="T10" fmla="*/ 0 w 15"/>
                    <a:gd name="T11" fmla="*/ 2 h 7"/>
                    <a:gd name="T12" fmla="*/ 5 w 15"/>
                    <a:gd name="T13" fmla="*/ 0 h 7"/>
                    <a:gd name="T14" fmla="*/ 5 w 15"/>
                    <a:gd name="T15" fmla="*/ 0 h 7"/>
                    <a:gd name="T16" fmla="*/ 12 w 15"/>
                    <a:gd name="T17" fmla="*/ 3 h 7"/>
                    <a:gd name="T18" fmla="*/ 12 w 15"/>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7">
                      <a:moveTo>
                        <a:pt x="12" y="3"/>
                      </a:moveTo>
                      <a:cubicBezTo>
                        <a:pt x="12" y="3"/>
                        <a:pt x="13" y="2"/>
                        <a:pt x="13" y="2"/>
                      </a:cubicBezTo>
                      <a:cubicBezTo>
                        <a:pt x="14" y="3"/>
                        <a:pt x="15" y="2"/>
                        <a:pt x="15" y="3"/>
                      </a:cubicBezTo>
                      <a:cubicBezTo>
                        <a:pt x="15" y="5"/>
                        <a:pt x="11" y="5"/>
                        <a:pt x="9" y="5"/>
                      </a:cubicBezTo>
                      <a:cubicBezTo>
                        <a:pt x="6" y="5"/>
                        <a:pt x="5" y="7"/>
                        <a:pt x="3" y="7"/>
                      </a:cubicBezTo>
                      <a:cubicBezTo>
                        <a:pt x="1" y="7"/>
                        <a:pt x="0" y="4"/>
                        <a:pt x="0" y="2"/>
                      </a:cubicBezTo>
                      <a:cubicBezTo>
                        <a:pt x="0" y="2"/>
                        <a:pt x="4" y="0"/>
                        <a:pt x="5" y="0"/>
                      </a:cubicBezTo>
                      <a:lnTo>
                        <a:pt x="5" y="0"/>
                      </a:lnTo>
                      <a:lnTo>
                        <a:pt x="12" y="3"/>
                      </a:lnTo>
                      <a:lnTo>
                        <a:pt x="1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6" name="Freeform 136"/>
                <p:cNvSpPr>
                  <a:spLocks/>
                </p:cNvSpPr>
                <p:nvPr>
                  <p:custDataLst>
                    <p:tags r:id="rId122"/>
                  </p:custDataLst>
                </p:nvPr>
              </p:nvSpPr>
              <p:spPr bwMode="gray">
                <a:xfrm>
                  <a:off x="7253280" y="3670185"/>
                  <a:ext cx="1974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0"/>
                        <a:pt x="1" y="0"/>
                        <a:pt x="0" y="0"/>
                      </a:cubicBezTo>
                      <a:cubicBezTo>
                        <a:pt x="1" y="0"/>
                        <a:pt x="1" y="1"/>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7" name="Freeform 137"/>
                <p:cNvSpPr>
                  <a:spLocks/>
                </p:cNvSpPr>
                <p:nvPr>
                  <p:custDataLst>
                    <p:tags r:id="rId123"/>
                  </p:custDataLst>
                </p:nvPr>
              </p:nvSpPr>
              <p:spPr bwMode="gray">
                <a:xfrm>
                  <a:off x="6871096" y="4252013"/>
                  <a:ext cx="39488" cy="80199"/>
                </a:xfrm>
                <a:custGeom>
                  <a:avLst/>
                  <a:gdLst>
                    <a:gd name="T0" fmla="*/ 2 w 4"/>
                    <a:gd name="T1" fmla="*/ 0 h 7"/>
                    <a:gd name="T2" fmla="*/ 0 w 4"/>
                    <a:gd name="T3" fmla="*/ 3 h 7"/>
                    <a:gd name="T4" fmla="*/ 4 w 4"/>
                    <a:gd name="T5" fmla="*/ 7 h 7"/>
                    <a:gd name="T6" fmla="*/ 4 w 4"/>
                    <a:gd name="T7" fmla="*/ 7 h 7"/>
                    <a:gd name="T8" fmla="*/ 4 w 4"/>
                    <a:gd name="T9" fmla="*/ 4 h 7"/>
                    <a:gd name="T10" fmla="*/ 4 w 4"/>
                    <a:gd name="T11" fmla="*/ 4 h 7"/>
                    <a:gd name="T12" fmla="*/ 2 w 4"/>
                    <a:gd name="T13" fmla="*/ 0 h 7"/>
                    <a:gd name="T14" fmla="*/ 2 w 4"/>
                    <a:gd name="T15" fmla="*/ 0 h 7"/>
                    <a:gd name="T16" fmla="*/ 2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2" y="0"/>
                      </a:moveTo>
                      <a:cubicBezTo>
                        <a:pt x="1" y="1"/>
                        <a:pt x="0" y="2"/>
                        <a:pt x="0" y="3"/>
                      </a:cubicBezTo>
                      <a:cubicBezTo>
                        <a:pt x="0" y="5"/>
                        <a:pt x="2" y="7"/>
                        <a:pt x="4" y="7"/>
                      </a:cubicBezTo>
                      <a:lnTo>
                        <a:pt x="4" y="7"/>
                      </a:lnTo>
                      <a:lnTo>
                        <a:pt x="4" y="4"/>
                      </a:lnTo>
                      <a:lnTo>
                        <a:pt x="4" y="4"/>
                      </a:lnTo>
                      <a:cubicBezTo>
                        <a:pt x="4" y="2"/>
                        <a:pt x="3"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8" name="Freeform 138"/>
                <p:cNvSpPr>
                  <a:spLocks/>
                </p:cNvSpPr>
                <p:nvPr>
                  <p:custDataLst>
                    <p:tags r:id="rId124"/>
                  </p:custDataLst>
                </p:nvPr>
              </p:nvSpPr>
              <p:spPr bwMode="gray">
                <a:xfrm>
                  <a:off x="6941610" y="4163953"/>
                  <a:ext cx="90258" cy="155679"/>
                </a:xfrm>
                <a:custGeom>
                  <a:avLst/>
                  <a:gdLst>
                    <a:gd name="T0" fmla="*/ 7 w 9"/>
                    <a:gd name="T1" fmla="*/ 0 h 14"/>
                    <a:gd name="T2" fmla="*/ 9 w 9"/>
                    <a:gd name="T3" fmla="*/ 6 h 14"/>
                    <a:gd name="T4" fmla="*/ 6 w 9"/>
                    <a:gd name="T5" fmla="*/ 14 h 14"/>
                    <a:gd name="T6" fmla="*/ 4 w 9"/>
                    <a:gd name="T7" fmla="*/ 13 h 14"/>
                    <a:gd name="T8" fmla="*/ 3 w 9"/>
                    <a:gd name="T9" fmla="*/ 13 h 14"/>
                    <a:gd name="T10" fmla="*/ 2 w 9"/>
                    <a:gd name="T11" fmla="*/ 13 h 14"/>
                    <a:gd name="T12" fmla="*/ 1 w 9"/>
                    <a:gd name="T13" fmla="*/ 14 h 14"/>
                    <a:gd name="T14" fmla="*/ 0 w 9"/>
                    <a:gd name="T15" fmla="*/ 13 h 14"/>
                    <a:gd name="T16" fmla="*/ 2 w 9"/>
                    <a:gd name="T17" fmla="*/ 8 h 14"/>
                    <a:gd name="T18" fmla="*/ 2 w 9"/>
                    <a:gd name="T19" fmla="*/ 4 h 14"/>
                    <a:gd name="T20" fmla="*/ 4 w 9"/>
                    <a:gd name="T21" fmla="*/ 3 h 14"/>
                    <a:gd name="T22" fmla="*/ 7 w 9"/>
                    <a:gd name="T23" fmla="*/ 0 h 14"/>
                    <a:gd name="T24" fmla="*/ 7 w 9"/>
                    <a:gd name="T25" fmla="*/ 0 h 14"/>
                    <a:gd name="T26" fmla="*/ 7 w 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4">
                      <a:moveTo>
                        <a:pt x="7" y="0"/>
                      </a:moveTo>
                      <a:cubicBezTo>
                        <a:pt x="8" y="2"/>
                        <a:pt x="9" y="4"/>
                        <a:pt x="9" y="6"/>
                      </a:cubicBezTo>
                      <a:cubicBezTo>
                        <a:pt x="9" y="10"/>
                        <a:pt x="6" y="11"/>
                        <a:pt x="6" y="14"/>
                      </a:cubicBezTo>
                      <a:cubicBezTo>
                        <a:pt x="5" y="14"/>
                        <a:pt x="4" y="13"/>
                        <a:pt x="4" y="13"/>
                      </a:cubicBezTo>
                      <a:cubicBezTo>
                        <a:pt x="3" y="13"/>
                        <a:pt x="3" y="13"/>
                        <a:pt x="3" y="13"/>
                      </a:cubicBezTo>
                      <a:cubicBezTo>
                        <a:pt x="3" y="13"/>
                        <a:pt x="2" y="13"/>
                        <a:pt x="2" y="13"/>
                      </a:cubicBezTo>
                      <a:cubicBezTo>
                        <a:pt x="2" y="13"/>
                        <a:pt x="1" y="14"/>
                        <a:pt x="1" y="14"/>
                      </a:cubicBezTo>
                      <a:cubicBezTo>
                        <a:pt x="0" y="14"/>
                        <a:pt x="0" y="13"/>
                        <a:pt x="0" y="13"/>
                      </a:cubicBezTo>
                      <a:cubicBezTo>
                        <a:pt x="0" y="11"/>
                        <a:pt x="2" y="9"/>
                        <a:pt x="2" y="8"/>
                      </a:cubicBezTo>
                      <a:cubicBezTo>
                        <a:pt x="2" y="6"/>
                        <a:pt x="1" y="5"/>
                        <a:pt x="2" y="4"/>
                      </a:cubicBezTo>
                      <a:cubicBezTo>
                        <a:pt x="2" y="3"/>
                        <a:pt x="3" y="3"/>
                        <a:pt x="4" y="3"/>
                      </a:cubicBezTo>
                      <a:cubicBezTo>
                        <a:pt x="6" y="2"/>
                        <a:pt x="6" y="1"/>
                        <a:pt x="7" y="0"/>
                      </a:cubicBezTo>
                      <a:lnTo>
                        <a:pt x="7" y="0"/>
                      </a:lnTo>
                      <a:lnTo>
                        <a:pt x="7"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09" name="Freeform 139"/>
                <p:cNvSpPr>
                  <a:spLocks/>
                </p:cNvSpPr>
                <p:nvPr>
                  <p:custDataLst>
                    <p:tags r:id="rId125"/>
                  </p:custDataLst>
                </p:nvPr>
              </p:nvSpPr>
              <p:spPr bwMode="gray">
                <a:xfrm>
                  <a:off x="7000842" y="4129357"/>
                  <a:ext cx="101540" cy="268900"/>
                </a:xfrm>
                <a:custGeom>
                  <a:avLst/>
                  <a:gdLst>
                    <a:gd name="T0" fmla="*/ 1 w 10"/>
                    <a:gd name="T1" fmla="*/ 22 h 24"/>
                    <a:gd name="T2" fmla="*/ 0 w 10"/>
                    <a:gd name="T3" fmla="*/ 20 h 24"/>
                    <a:gd name="T4" fmla="*/ 3 w 10"/>
                    <a:gd name="T5" fmla="*/ 10 h 24"/>
                    <a:gd name="T6" fmla="*/ 6 w 10"/>
                    <a:gd name="T7" fmla="*/ 0 h 24"/>
                    <a:gd name="T8" fmla="*/ 9 w 10"/>
                    <a:gd name="T9" fmla="*/ 1 h 24"/>
                    <a:gd name="T10" fmla="*/ 9 w 10"/>
                    <a:gd name="T11" fmla="*/ 4 h 24"/>
                    <a:gd name="T12" fmla="*/ 6 w 10"/>
                    <a:gd name="T13" fmla="*/ 9 h 24"/>
                    <a:gd name="T14" fmla="*/ 10 w 10"/>
                    <a:gd name="T15" fmla="*/ 14 h 24"/>
                    <a:gd name="T16" fmla="*/ 7 w 10"/>
                    <a:gd name="T17" fmla="*/ 17 h 24"/>
                    <a:gd name="T18" fmla="*/ 6 w 10"/>
                    <a:gd name="T19" fmla="*/ 17 h 24"/>
                    <a:gd name="T20" fmla="*/ 1 w 10"/>
                    <a:gd name="T21" fmla="*/ 22 h 24"/>
                    <a:gd name="T22" fmla="*/ 1 w 10"/>
                    <a:gd name="T23" fmla="*/ 22 h 24"/>
                    <a:gd name="T24" fmla="*/ 1 w 10"/>
                    <a:gd name="T2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 y="22"/>
                      </a:moveTo>
                      <a:cubicBezTo>
                        <a:pt x="0" y="22"/>
                        <a:pt x="0" y="21"/>
                        <a:pt x="0" y="20"/>
                      </a:cubicBezTo>
                      <a:cubicBezTo>
                        <a:pt x="0" y="15"/>
                        <a:pt x="3" y="15"/>
                        <a:pt x="3" y="10"/>
                      </a:cubicBezTo>
                      <a:cubicBezTo>
                        <a:pt x="3" y="8"/>
                        <a:pt x="5" y="0"/>
                        <a:pt x="6" y="0"/>
                      </a:cubicBezTo>
                      <a:cubicBezTo>
                        <a:pt x="8" y="0"/>
                        <a:pt x="9" y="1"/>
                        <a:pt x="9" y="1"/>
                      </a:cubicBezTo>
                      <a:cubicBezTo>
                        <a:pt x="9" y="3"/>
                        <a:pt x="9" y="3"/>
                        <a:pt x="9" y="4"/>
                      </a:cubicBezTo>
                      <a:cubicBezTo>
                        <a:pt x="9" y="7"/>
                        <a:pt x="6" y="6"/>
                        <a:pt x="6" y="9"/>
                      </a:cubicBezTo>
                      <a:cubicBezTo>
                        <a:pt x="6" y="11"/>
                        <a:pt x="10" y="12"/>
                        <a:pt x="10" y="14"/>
                      </a:cubicBezTo>
                      <a:cubicBezTo>
                        <a:pt x="10" y="16"/>
                        <a:pt x="8" y="17"/>
                        <a:pt x="7" y="17"/>
                      </a:cubicBezTo>
                      <a:cubicBezTo>
                        <a:pt x="7" y="17"/>
                        <a:pt x="6" y="17"/>
                        <a:pt x="6" y="17"/>
                      </a:cubicBezTo>
                      <a:cubicBezTo>
                        <a:pt x="4" y="18"/>
                        <a:pt x="5" y="24"/>
                        <a:pt x="1" y="22"/>
                      </a:cubicBezTo>
                      <a:lnTo>
                        <a:pt x="1" y="22"/>
                      </a:lnTo>
                      <a:lnTo>
                        <a:pt x="1" y="2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0" name="Freeform 140"/>
                <p:cNvSpPr>
                  <a:spLocks/>
                </p:cNvSpPr>
                <p:nvPr>
                  <p:custDataLst>
                    <p:tags r:id="rId126"/>
                  </p:custDataLst>
                </p:nvPr>
              </p:nvSpPr>
              <p:spPr bwMode="gray">
                <a:xfrm>
                  <a:off x="7031867" y="3512931"/>
                  <a:ext cx="119874" cy="102214"/>
                </a:xfrm>
                <a:custGeom>
                  <a:avLst/>
                  <a:gdLst>
                    <a:gd name="T0" fmla="*/ 2 w 12"/>
                    <a:gd name="T1" fmla="*/ 7 h 9"/>
                    <a:gd name="T2" fmla="*/ 0 w 12"/>
                    <a:gd name="T3" fmla="*/ 5 h 9"/>
                    <a:gd name="T4" fmla="*/ 6 w 12"/>
                    <a:gd name="T5" fmla="*/ 0 h 9"/>
                    <a:gd name="T6" fmla="*/ 6 w 12"/>
                    <a:gd name="T7" fmla="*/ 4 h 9"/>
                    <a:gd name="T8" fmla="*/ 8 w 12"/>
                    <a:gd name="T9" fmla="*/ 3 h 9"/>
                    <a:gd name="T10" fmla="*/ 7 w 12"/>
                    <a:gd name="T11" fmla="*/ 1 h 9"/>
                    <a:gd name="T12" fmla="*/ 8 w 12"/>
                    <a:gd name="T13" fmla="*/ 1 h 9"/>
                    <a:gd name="T14" fmla="*/ 12 w 12"/>
                    <a:gd name="T15" fmla="*/ 4 h 9"/>
                    <a:gd name="T16" fmla="*/ 9 w 12"/>
                    <a:gd name="T17" fmla="*/ 6 h 9"/>
                    <a:gd name="T18" fmla="*/ 8 w 12"/>
                    <a:gd name="T19" fmla="*/ 6 h 9"/>
                    <a:gd name="T20" fmla="*/ 6 w 12"/>
                    <a:gd name="T21" fmla="*/ 9 h 9"/>
                    <a:gd name="T22" fmla="*/ 5 w 12"/>
                    <a:gd name="T23" fmla="*/ 5 h 9"/>
                    <a:gd name="T24" fmla="*/ 6 w 12"/>
                    <a:gd name="T25" fmla="*/ 3 h 9"/>
                    <a:gd name="T26" fmla="*/ 2 w 12"/>
                    <a:gd name="T27" fmla="*/ 7 h 9"/>
                    <a:gd name="T28" fmla="*/ 2 w 12"/>
                    <a:gd name="T29" fmla="*/ 7 h 9"/>
                    <a:gd name="T30" fmla="*/ 2 w 12"/>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2" y="7"/>
                      </a:moveTo>
                      <a:cubicBezTo>
                        <a:pt x="0" y="7"/>
                        <a:pt x="0" y="6"/>
                        <a:pt x="0" y="5"/>
                      </a:cubicBezTo>
                      <a:cubicBezTo>
                        <a:pt x="0" y="1"/>
                        <a:pt x="3" y="0"/>
                        <a:pt x="6" y="0"/>
                      </a:cubicBezTo>
                      <a:cubicBezTo>
                        <a:pt x="7" y="0"/>
                        <a:pt x="6" y="4"/>
                        <a:pt x="6" y="4"/>
                      </a:cubicBezTo>
                      <a:cubicBezTo>
                        <a:pt x="7" y="4"/>
                        <a:pt x="8" y="3"/>
                        <a:pt x="8" y="3"/>
                      </a:cubicBezTo>
                      <a:cubicBezTo>
                        <a:pt x="8" y="2"/>
                        <a:pt x="7" y="2"/>
                        <a:pt x="7" y="1"/>
                      </a:cubicBezTo>
                      <a:cubicBezTo>
                        <a:pt x="8" y="1"/>
                        <a:pt x="8" y="1"/>
                        <a:pt x="8" y="1"/>
                      </a:cubicBezTo>
                      <a:cubicBezTo>
                        <a:pt x="10" y="1"/>
                        <a:pt x="11" y="3"/>
                        <a:pt x="12" y="4"/>
                      </a:cubicBezTo>
                      <a:cubicBezTo>
                        <a:pt x="12" y="5"/>
                        <a:pt x="11" y="6"/>
                        <a:pt x="9" y="6"/>
                      </a:cubicBezTo>
                      <a:cubicBezTo>
                        <a:pt x="8" y="6"/>
                        <a:pt x="8" y="6"/>
                        <a:pt x="8" y="6"/>
                      </a:cubicBezTo>
                      <a:cubicBezTo>
                        <a:pt x="6" y="6"/>
                        <a:pt x="7" y="8"/>
                        <a:pt x="6" y="9"/>
                      </a:cubicBezTo>
                      <a:cubicBezTo>
                        <a:pt x="5" y="8"/>
                        <a:pt x="5" y="6"/>
                        <a:pt x="5" y="5"/>
                      </a:cubicBezTo>
                      <a:cubicBezTo>
                        <a:pt x="5" y="4"/>
                        <a:pt x="6" y="3"/>
                        <a:pt x="6" y="3"/>
                      </a:cubicBezTo>
                      <a:cubicBezTo>
                        <a:pt x="4" y="4"/>
                        <a:pt x="4"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1" name="Freeform 141"/>
                <p:cNvSpPr>
                  <a:spLocks/>
                </p:cNvSpPr>
                <p:nvPr>
                  <p:custDataLst>
                    <p:tags r:id="rId127"/>
                  </p:custDataLst>
                </p:nvPr>
              </p:nvSpPr>
              <p:spPr bwMode="gray">
                <a:xfrm>
                  <a:off x="6830199" y="3333666"/>
                  <a:ext cx="19744" cy="11009"/>
                </a:xfrm>
                <a:custGeom>
                  <a:avLst/>
                  <a:gdLst>
                    <a:gd name="T0" fmla="*/ 0 w 2"/>
                    <a:gd name="T1" fmla="*/ 1 h 1"/>
                    <a:gd name="T2" fmla="*/ 2 w 2"/>
                    <a:gd name="T3" fmla="*/ 0 h 1"/>
                    <a:gd name="T4" fmla="*/ 0 w 2"/>
                    <a:gd name="T5" fmla="*/ 1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1" y="1"/>
                        <a:pt x="2" y="0"/>
                        <a:pt x="2" y="0"/>
                      </a:cubicBez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2" name="Freeform 142"/>
                <p:cNvSpPr>
                  <a:spLocks/>
                </p:cNvSpPr>
                <p:nvPr>
                  <p:custDataLst>
                    <p:tags r:id="rId128"/>
                  </p:custDataLst>
                </p:nvPr>
              </p:nvSpPr>
              <p:spPr bwMode="gray">
                <a:xfrm>
                  <a:off x="6990971" y="3390277"/>
                  <a:ext cx="9871"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3" name="Freeform 143"/>
                <p:cNvSpPr>
                  <a:spLocks/>
                </p:cNvSpPr>
                <p:nvPr>
                  <p:custDataLst>
                    <p:tags r:id="rId129"/>
                  </p:custDataLst>
                </p:nvPr>
              </p:nvSpPr>
              <p:spPr bwMode="gray">
                <a:xfrm>
                  <a:off x="6849943" y="3390277"/>
                  <a:ext cx="31026" cy="11009"/>
                </a:xfrm>
                <a:custGeom>
                  <a:avLst/>
                  <a:gdLst>
                    <a:gd name="T0" fmla="*/ 0 w 3"/>
                    <a:gd name="T1" fmla="*/ 1 h 1"/>
                    <a:gd name="T2" fmla="*/ 2 w 3"/>
                    <a:gd name="T3" fmla="*/ 0 h 1"/>
                    <a:gd name="T4" fmla="*/ 3 w 3"/>
                    <a:gd name="T5" fmla="*/ 0 h 1"/>
                    <a:gd name="T6" fmla="*/ 3 w 3"/>
                    <a:gd name="T7" fmla="*/ 1 h 1"/>
                    <a:gd name="T8" fmla="*/ 0 w 3"/>
                    <a:gd name="T9" fmla="*/ 1 h 1"/>
                    <a:gd name="T10" fmla="*/ 0 w 3"/>
                    <a:gd name="T11" fmla="*/ 1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0" y="0"/>
                        <a:pt x="1" y="0"/>
                        <a:pt x="2" y="0"/>
                      </a:cubicBezTo>
                      <a:cubicBezTo>
                        <a:pt x="3" y="0"/>
                        <a:pt x="3" y="0"/>
                        <a:pt x="3" y="0"/>
                      </a:cubicBezTo>
                      <a:cubicBezTo>
                        <a:pt x="3" y="0"/>
                        <a:pt x="3" y="1"/>
                        <a:pt x="3" y="1"/>
                      </a:cubicBezTo>
                      <a:cubicBezTo>
                        <a:pt x="2" y="1"/>
                        <a:pt x="1"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4" name="Freeform 144"/>
                <p:cNvSpPr>
                  <a:spLocks/>
                </p:cNvSpPr>
                <p:nvPr>
                  <p:custDataLst>
                    <p:tags r:id="rId130"/>
                  </p:custDataLst>
                </p:nvPr>
              </p:nvSpPr>
              <p:spPr bwMode="gray">
                <a:xfrm>
                  <a:off x="6880969" y="3368261"/>
                  <a:ext cx="40897" cy="11009"/>
                </a:xfrm>
                <a:custGeom>
                  <a:avLst/>
                  <a:gdLst>
                    <a:gd name="T0" fmla="*/ 2 w 4"/>
                    <a:gd name="T1" fmla="*/ 0 h 1"/>
                    <a:gd name="T2" fmla="*/ 4 w 4"/>
                    <a:gd name="T3" fmla="*/ 0 h 1"/>
                    <a:gd name="T4" fmla="*/ 4 w 4"/>
                    <a:gd name="T5" fmla="*/ 1 h 1"/>
                    <a:gd name="T6" fmla="*/ 0 w 4"/>
                    <a:gd name="T7" fmla="*/ 1 h 1"/>
                    <a:gd name="T8" fmla="*/ 2 w 4"/>
                    <a:gd name="T9" fmla="*/ 0 h 1"/>
                    <a:gd name="T10" fmla="*/ 2 w 4"/>
                    <a:gd name="T11" fmla="*/ 0 h 1"/>
                    <a:gd name="T12" fmla="*/ 2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2" y="0"/>
                      </a:moveTo>
                      <a:cubicBezTo>
                        <a:pt x="3" y="0"/>
                        <a:pt x="3" y="0"/>
                        <a:pt x="4" y="0"/>
                      </a:cubicBezTo>
                      <a:cubicBezTo>
                        <a:pt x="4" y="1"/>
                        <a:pt x="4" y="1"/>
                        <a:pt x="4" y="1"/>
                      </a:cubicBezTo>
                      <a:cubicBezTo>
                        <a:pt x="2" y="1"/>
                        <a:pt x="1" y="1"/>
                        <a:pt x="0" y="1"/>
                      </a:cubicBezTo>
                      <a:cubicBezTo>
                        <a:pt x="0" y="0"/>
                        <a:pt x="1"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5" name="Freeform 145"/>
                <p:cNvSpPr>
                  <a:spLocks/>
                </p:cNvSpPr>
                <p:nvPr>
                  <p:custDataLst>
                    <p:tags r:id="rId131"/>
                  </p:custDataLst>
                </p:nvPr>
              </p:nvSpPr>
              <p:spPr bwMode="gray">
                <a:xfrm>
                  <a:off x="6910584" y="3344673"/>
                  <a:ext cx="1128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6" name="Freeform 146"/>
                <p:cNvSpPr>
                  <a:spLocks/>
                </p:cNvSpPr>
                <p:nvPr>
                  <p:custDataLst>
                    <p:tags r:id="rId132"/>
                  </p:custDataLst>
                </p:nvPr>
              </p:nvSpPr>
              <p:spPr bwMode="gray">
                <a:xfrm>
                  <a:off x="6951484" y="3344673"/>
                  <a:ext cx="8461" cy="23588"/>
                </a:xfrm>
                <a:custGeom>
                  <a:avLst/>
                  <a:gdLst>
                    <a:gd name="T0" fmla="*/ 0 w 1"/>
                    <a:gd name="T1" fmla="*/ 0 h 2"/>
                    <a:gd name="T2" fmla="*/ 1 w 1"/>
                    <a:gd name="T3" fmla="*/ 2 h 2"/>
                    <a:gd name="T4" fmla="*/ 1 w 1"/>
                    <a:gd name="T5" fmla="*/ 0 h 2"/>
                    <a:gd name="T6" fmla="*/ 0 w 1"/>
                    <a:gd name="T7" fmla="*/ 0 h 2"/>
                    <a:gd name="T8" fmla="*/ 0 w 1"/>
                    <a:gd name="T9" fmla="*/ 0 h 2"/>
                    <a:gd name="T10" fmla="*/ 0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1"/>
                        <a:pt x="0" y="1"/>
                        <a:pt x="1" y="2"/>
                      </a:cubicBezTo>
                      <a:cubicBezTo>
                        <a:pt x="1" y="1"/>
                        <a:pt x="1" y="1"/>
                        <a:pt x="1" y="0"/>
                      </a:cubicBezTo>
                      <a:cubicBezTo>
                        <a:pt x="1" y="0"/>
                        <a:pt x="0" y="0"/>
                        <a:pt x="0" y="0"/>
                      </a:cubicBezTo>
                      <a:lnTo>
                        <a:pt x="0"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7" name="Freeform 147"/>
                <p:cNvSpPr>
                  <a:spLocks/>
                </p:cNvSpPr>
                <p:nvPr>
                  <p:custDataLst>
                    <p:tags r:id="rId133"/>
                  </p:custDataLst>
                </p:nvPr>
              </p:nvSpPr>
              <p:spPr bwMode="gray">
                <a:xfrm>
                  <a:off x="6077114" y="3794412"/>
                  <a:ext cx="9871"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8" name="Freeform 148"/>
                <p:cNvSpPr>
                  <a:spLocks/>
                </p:cNvSpPr>
                <p:nvPr>
                  <p:custDataLst>
                    <p:tags r:id="rId134"/>
                  </p:custDataLst>
                </p:nvPr>
              </p:nvSpPr>
              <p:spPr bwMode="gray">
                <a:xfrm>
                  <a:off x="6228013" y="3390277"/>
                  <a:ext cx="1410" cy="22015"/>
                </a:xfrm>
                <a:custGeom>
                  <a:avLst/>
                  <a:gdLst>
                    <a:gd name="T0" fmla="*/ 1 h 2"/>
                    <a:gd name="T1" fmla="*/ 0 h 2"/>
                    <a:gd name="T2" fmla="*/ 1 h 2"/>
                    <a:gd name="T3" fmla="*/ 2 h 2"/>
                    <a:gd name="T4" fmla="*/ 1 h 2"/>
                    <a:gd name="T5" fmla="*/ 1 h 2"/>
                    <a:gd name="T6" fmla="*/ 1 h 2"/>
                  </a:gdLst>
                  <a:ahLst/>
                  <a:cxnLst>
                    <a:cxn ang="0">
                      <a:pos x="0" y="T0"/>
                    </a:cxn>
                    <a:cxn ang="0">
                      <a:pos x="0" y="T1"/>
                    </a:cxn>
                    <a:cxn ang="0">
                      <a:pos x="0" y="T2"/>
                    </a:cxn>
                    <a:cxn ang="0">
                      <a:pos x="0" y="T3"/>
                    </a:cxn>
                    <a:cxn ang="0">
                      <a:pos x="0" y="T4"/>
                    </a:cxn>
                    <a:cxn ang="0">
                      <a:pos x="0" y="T5"/>
                    </a:cxn>
                    <a:cxn ang="0">
                      <a:pos x="0" y="T6"/>
                    </a:cxn>
                  </a:cxnLst>
                  <a:rect l="0" t="0" r="r" b="b"/>
                  <a:pathLst>
                    <a:path h="2">
                      <a:moveTo>
                        <a:pt x="0" y="1"/>
                      </a:moveTo>
                      <a:cubicBezTo>
                        <a:pt x="0" y="0"/>
                        <a:pt x="0" y="0"/>
                        <a:pt x="0" y="0"/>
                      </a:cubicBezTo>
                      <a:cubicBezTo>
                        <a:pt x="0" y="0"/>
                        <a:pt x="0" y="0"/>
                        <a:pt x="0" y="1"/>
                      </a:cubicBezTo>
                      <a:cubicBezTo>
                        <a:pt x="0"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19" name="Freeform 149"/>
                <p:cNvSpPr>
                  <a:spLocks/>
                </p:cNvSpPr>
                <p:nvPr>
                  <p:custDataLst>
                    <p:tags r:id="rId135"/>
                  </p:custDataLst>
                </p:nvPr>
              </p:nvSpPr>
              <p:spPr bwMode="gray">
                <a:xfrm>
                  <a:off x="6347887" y="2863486"/>
                  <a:ext cx="19744" cy="34595"/>
                </a:xfrm>
                <a:custGeom>
                  <a:avLst/>
                  <a:gdLst>
                    <a:gd name="T0" fmla="*/ 0 w 2"/>
                    <a:gd name="T1" fmla="*/ 2 h 3"/>
                    <a:gd name="T2" fmla="*/ 2 w 2"/>
                    <a:gd name="T3" fmla="*/ 0 h 3"/>
                    <a:gd name="T4" fmla="*/ 2 w 2"/>
                    <a:gd name="T5" fmla="*/ 3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1"/>
                        <a:pt x="2" y="0"/>
                      </a:cubicBezTo>
                      <a:cubicBezTo>
                        <a:pt x="2" y="2"/>
                        <a:pt x="2" y="2"/>
                        <a:pt x="2" y="3"/>
                      </a:cubicBezTo>
                      <a:cubicBezTo>
                        <a:pt x="1"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0" name="Freeform 150"/>
                <p:cNvSpPr>
                  <a:spLocks/>
                </p:cNvSpPr>
                <p:nvPr>
                  <p:custDataLst>
                    <p:tags r:id="rId136"/>
                  </p:custDataLst>
                </p:nvPr>
              </p:nvSpPr>
              <p:spPr bwMode="gray">
                <a:xfrm>
                  <a:off x="6388785" y="2953117"/>
                  <a:ext cx="1035139" cy="1421551"/>
                </a:xfrm>
                <a:custGeom>
                  <a:avLst/>
                  <a:gdLst>
                    <a:gd name="T0" fmla="*/ 26 w 103"/>
                    <a:gd name="T1" fmla="*/ 17 h 127"/>
                    <a:gd name="T2" fmla="*/ 32 w 103"/>
                    <a:gd name="T3" fmla="*/ 14 h 127"/>
                    <a:gd name="T4" fmla="*/ 38 w 103"/>
                    <a:gd name="T5" fmla="*/ 9 h 127"/>
                    <a:gd name="T6" fmla="*/ 46 w 103"/>
                    <a:gd name="T7" fmla="*/ 13 h 127"/>
                    <a:gd name="T8" fmla="*/ 62 w 103"/>
                    <a:gd name="T9" fmla="*/ 15 h 127"/>
                    <a:gd name="T10" fmla="*/ 72 w 103"/>
                    <a:gd name="T11" fmla="*/ 16 h 127"/>
                    <a:gd name="T12" fmla="*/ 81 w 103"/>
                    <a:gd name="T13" fmla="*/ 17 h 127"/>
                    <a:gd name="T14" fmla="*/ 92 w 103"/>
                    <a:gd name="T15" fmla="*/ 12 h 127"/>
                    <a:gd name="T16" fmla="*/ 94 w 103"/>
                    <a:gd name="T17" fmla="*/ 8 h 127"/>
                    <a:gd name="T18" fmla="*/ 101 w 103"/>
                    <a:gd name="T19" fmla="*/ 1 h 127"/>
                    <a:gd name="T20" fmla="*/ 100 w 103"/>
                    <a:gd name="T21" fmla="*/ 10 h 127"/>
                    <a:gd name="T22" fmla="*/ 91 w 103"/>
                    <a:gd name="T23" fmla="*/ 23 h 127"/>
                    <a:gd name="T24" fmla="*/ 68 w 103"/>
                    <a:gd name="T25" fmla="*/ 23 h 127"/>
                    <a:gd name="T26" fmla="*/ 47 w 103"/>
                    <a:gd name="T27" fmla="*/ 23 h 127"/>
                    <a:gd name="T28" fmla="*/ 28 w 103"/>
                    <a:gd name="T29" fmla="*/ 23 h 127"/>
                    <a:gd name="T30" fmla="*/ 21 w 103"/>
                    <a:gd name="T31" fmla="*/ 39 h 127"/>
                    <a:gd name="T32" fmla="*/ 30 w 103"/>
                    <a:gd name="T33" fmla="*/ 54 h 127"/>
                    <a:gd name="T34" fmla="*/ 42 w 103"/>
                    <a:gd name="T35" fmla="*/ 48 h 127"/>
                    <a:gd name="T36" fmla="*/ 53 w 103"/>
                    <a:gd name="T37" fmla="*/ 44 h 127"/>
                    <a:gd name="T38" fmla="*/ 66 w 103"/>
                    <a:gd name="T39" fmla="*/ 44 h 127"/>
                    <a:gd name="T40" fmla="*/ 69 w 103"/>
                    <a:gd name="T41" fmla="*/ 41 h 127"/>
                    <a:gd name="T42" fmla="*/ 70 w 103"/>
                    <a:gd name="T43" fmla="*/ 48 h 127"/>
                    <a:gd name="T44" fmla="*/ 62 w 103"/>
                    <a:gd name="T45" fmla="*/ 49 h 127"/>
                    <a:gd name="T46" fmla="*/ 47 w 103"/>
                    <a:gd name="T47" fmla="*/ 62 h 127"/>
                    <a:gd name="T48" fmla="*/ 41 w 103"/>
                    <a:gd name="T49" fmla="*/ 63 h 127"/>
                    <a:gd name="T50" fmla="*/ 51 w 103"/>
                    <a:gd name="T51" fmla="*/ 74 h 127"/>
                    <a:gd name="T52" fmla="*/ 56 w 103"/>
                    <a:gd name="T53" fmla="*/ 82 h 127"/>
                    <a:gd name="T54" fmla="*/ 58 w 103"/>
                    <a:gd name="T55" fmla="*/ 84 h 127"/>
                    <a:gd name="T56" fmla="*/ 56 w 103"/>
                    <a:gd name="T57" fmla="*/ 87 h 127"/>
                    <a:gd name="T58" fmla="*/ 59 w 103"/>
                    <a:gd name="T59" fmla="*/ 96 h 127"/>
                    <a:gd name="T60" fmla="*/ 65 w 103"/>
                    <a:gd name="T61" fmla="*/ 99 h 127"/>
                    <a:gd name="T62" fmla="*/ 65 w 103"/>
                    <a:gd name="T63" fmla="*/ 103 h 127"/>
                    <a:gd name="T64" fmla="*/ 63 w 103"/>
                    <a:gd name="T65" fmla="*/ 106 h 127"/>
                    <a:gd name="T66" fmla="*/ 52 w 103"/>
                    <a:gd name="T67" fmla="*/ 109 h 127"/>
                    <a:gd name="T68" fmla="*/ 48 w 103"/>
                    <a:gd name="T69" fmla="*/ 113 h 127"/>
                    <a:gd name="T70" fmla="*/ 45 w 103"/>
                    <a:gd name="T71" fmla="*/ 103 h 127"/>
                    <a:gd name="T72" fmla="*/ 36 w 103"/>
                    <a:gd name="T73" fmla="*/ 93 h 127"/>
                    <a:gd name="T74" fmla="*/ 37 w 103"/>
                    <a:gd name="T75" fmla="*/ 79 h 127"/>
                    <a:gd name="T76" fmla="*/ 35 w 103"/>
                    <a:gd name="T77" fmla="*/ 79 h 127"/>
                    <a:gd name="T78" fmla="*/ 35 w 103"/>
                    <a:gd name="T79" fmla="*/ 76 h 127"/>
                    <a:gd name="T80" fmla="*/ 30 w 103"/>
                    <a:gd name="T81" fmla="*/ 75 h 127"/>
                    <a:gd name="T82" fmla="*/ 23 w 103"/>
                    <a:gd name="T83" fmla="*/ 81 h 127"/>
                    <a:gd name="T84" fmla="*/ 27 w 103"/>
                    <a:gd name="T85" fmla="*/ 94 h 127"/>
                    <a:gd name="T86" fmla="*/ 26 w 103"/>
                    <a:gd name="T87" fmla="*/ 102 h 127"/>
                    <a:gd name="T88" fmla="*/ 27 w 103"/>
                    <a:gd name="T89" fmla="*/ 109 h 127"/>
                    <a:gd name="T90" fmla="*/ 27 w 103"/>
                    <a:gd name="T91" fmla="*/ 126 h 127"/>
                    <a:gd name="T92" fmla="*/ 17 w 103"/>
                    <a:gd name="T93" fmla="*/ 127 h 127"/>
                    <a:gd name="T94" fmla="*/ 10 w 103"/>
                    <a:gd name="T95" fmla="*/ 123 h 127"/>
                    <a:gd name="T96" fmla="*/ 11 w 103"/>
                    <a:gd name="T97" fmla="*/ 118 h 127"/>
                    <a:gd name="T98" fmla="*/ 14 w 103"/>
                    <a:gd name="T99" fmla="*/ 101 h 127"/>
                    <a:gd name="T100" fmla="*/ 11 w 103"/>
                    <a:gd name="T101" fmla="*/ 92 h 127"/>
                    <a:gd name="T102" fmla="*/ 8 w 103"/>
                    <a:gd name="T103" fmla="*/ 90 h 127"/>
                    <a:gd name="T104" fmla="*/ 3 w 103"/>
                    <a:gd name="T105" fmla="*/ 91 h 127"/>
                    <a:gd name="T106" fmla="*/ 0 w 103"/>
                    <a:gd name="T107" fmla="*/ 83 h 127"/>
                    <a:gd name="T108" fmla="*/ 3 w 103"/>
                    <a:gd name="T109" fmla="*/ 75 h 127"/>
                    <a:gd name="T110" fmla="*/ 10 w 103"/>
                    <a:gd name="T111" fmla="*/ 64 h 127"/>
                    <a:gd name="T112" fmla="*/ 12 w 103"/>
                    <a:gd name="T113" fmla="*/ 47 h 127"/>
                    <a:gd name="T114" fmla="*/ 17 w 103"/>
                    <a:gd name="T115" fmla="*/ 36 h 127"/>
                    <a:gd name="T116" fmla="*/ 17 w 103"/>
                    <a:gd name="T117" fmla="*/ 32 h 127"/>
                    <a:gd name="T118" fmla="*/ 18 w 103"/>
                    <a:gd name="T119" fmla="*/ 24 h 127"/>
                    <a:gd name="T120" fmla="*/ 23 w 103"/>
                    <a:gd name="T121" fmla="*/ 18 h 127"/>
                    <a:gd name="T122" fmla="*/ 23 w 103"/>
                    <a:gd name="T123" fmla="*/ 1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 h="127">
                      <a:moveTo>
                        <a:pt x="23" y="18"/>
                      </a:moveTo>
                      <a:cubicBezTo>
                        <a:pt x="23" y="12"/>
                        <a:pt x="26" y="14"/>
                        <a:pt x="26" y="17"/>
                      </a:cubicBezTo>
                      <a:cubicBezTo>
                        <a:pt x="30" y="19"/>
                        <a:pt x="30" y="16"/>
                        <a:pt x="30" y="16"/>
                      </a:cubicBezTo>
                      <a:cubicBezTo>
                        <a:pt x="29" y="14"/>
                        <a:pt x="32" y="14"/>
                        <a:pt x="32" y="14"/>
                      </a:cubicBezTo>
                      <a:cubicBezTo>
                        <a:pt x="33" y="14"/>
                        <a:pt x="32" y="10"/>
                        <a:pt x="32" y="10"/>
                      </a:cubicBezTo>
                      <a:cubicBezTo>
                        <a:pt x="33" y="7"/>
                        <a:pt x="38" y="9"/>
                        <a:pt x="38" y="9"/>
                      </a:cubicBezTo>
                      <a:cubicBezTo>
                        <a:pt x="38" y="10"/>
                        <a:pt x="42" y="11"/>
                        <a:pt x="42" y="11"/>
                      </a:cubicBezTo>
                      <a:cubicBezTo>
                        <a:pt x="43" y="13"/>
                        <a:pt x="46" y="13"/>
                        <a:pt x="46" y="13"/>
                      </a:cubicBezTo>
                      <a:cubicBezTo>
                        <a:pt x="50" y="12"/>
                        <a:pt x="51" y="14"/>
                        <a:pt x="54" y="14"/>
                      </a:cubicBezTo>
                      <a:cubicBezTo>
                        <a:pt x="55" y="15"/>
                        <a:pt x="62" y="15"/>
                        <a:pt x="62" y="15"/>
                      </a:cubicBezTo>
                      <a:cubicBezTo>
                        <a:pt x="65" y="17"/>
                        <a:pt x="67" y="15"/>
                        <a:pt x="67" y="15"/>
                      </a:cubicBezTo>
                      <a:cubicBezTo>
                        <a:pt x="69" y="14"/>
                        <a:pt x="72" y="16"/>
                        <a:pt x="72" y="16"/>
                      </a:cubicBezTo>
                      <a:cubicBezTo>
                        <a:pt x="73" y="14"/>
                        <a:pt x="76" y="16"/>
                        <a:pt x="76" y="16"/>
                      </a:cubicBezTo>
                      <a:cubicBezTo>
                        <a:pt x="79" y="16"/>
                        <a:pt x="81" y="17"/>
                        <a:pt x="81" y="17"/>
                      </a:cubicBezTo>
                      <a:cubicBezTo>
                        <a:pt x="82" y="15"/>
                        <a:pt x="87" y="14"/>
                        <a:pt x="87" y="14"/>
                      </a:cubicBezTo>
                      <a:cubicBezTo>
                        <a:pt x="88" y="10"/>
                        <a:pt x="92" y="12"/>
                        <a:pt x="92" y="12"/>
                      </a:cubicBezTo>
                      <a:cubicBezTo>
                        <a:pt x="94" y="11"/>
                        <a:pt x="91" y="10"/>
                        <a:pt x="91" y="10"/>
                      </a:cubicBezTo>
                      <a:cubicBezTo>
                        <a:pt x="90" y="8"/>
                        <a:pt x="94" y="8"/>
                        <a:pt x="94" y="8"/>
                      </a:cubicBezTo>
                      <a:cubicBezTo>
                        <a:pt x="95" y="5"/>
                        <a:pt x="97" y="4"/>
                        <a:pt x="97" y="4"/>
                      </a:cubicBezTo>
                      <a:cubicBezTo>
                        <a:pt x="99" y="0"/>
                        <a:pt x="101" y="1"/>
                        <a:pt x="101" y="1"/>
                      </a:cubicBezTo>
                      <a:cubicBezTo>
                        <a:pt x="100" y="5"/>
                        <a:pt x="103" y="7"/>
                        <a:pt x="103" y="7"/>
                      </a:cubicBezTo>
                      <a:cubicBezTo>
                        <a:pt x="100" y="7"/>
                        <a:pt x="100" y="10"/>
                        <a:pt x="100" y="10"/>
                      </a:cubicBezTo>
                      <a:cubicBezTo>
                        <a:pt x="98" y="14"/>
                        <a:pt x="95" y="17"/>
                        <a:pt x="95" y="17"/>
                      </a:cubicBezTo>
                      <a:cubicBezTo>
                        <a:pt x="92" y="20"/>
                        <a:pt x="91" y="23"/>
                        <a:pt x="91" y="23"/>
                      </a:cubicBezTo>
                      <a:cubicBezTo>
                        <a:pt x="84" y="27"/>
                        <a:pt x="77" y="26"/>
                        <a:pt x="77" y="26"/>
                      </a:cubicBezTo>
                      <a:cubicBezTo>
                        <a:pt x="71" y="28"/>
                        <a:pt x="68" y="23"/>
                        <a:pt x="68" y="23"/>
                      </a:cubicBezTo>
                      <a:cubicBezTo>
                        <a:pt x="64" y="25"/>
                        <a:pt x="59" y="22"/>
                        <a:pt x="59" y="22"/>
                      </a:cubicBezTo>
                      <a:cubicBezTo>
                        <a:pt x="50" y="25"/>
                        <a:pt x="48" y="25"/>
                        <a:pt x="47" y="23"/>
                      </a:cubicBezTo>
                      <a:cubicBezTo>
                        <a:pt x="41" y="23"/>
                        <a:pt x="36" y="24"/>
                        <a:pt x="36" y="24"/>
                      </a:cubicBezTo>
                      <a:cubicBezTo>
                        <a:pt x="31" y="22"/>
                        <a:pt x="28" y="23"/>
                        <a:pt x="28" y="23"/>
                      </a:cubicBezTo>
                      <a:cubicBezTo>
                        <a:pt x="22" y="24"/>
                        <a:pt x="21" y="31"/>
                        <a:pt x="21" y="31"/>
                      </a:cubicBezTo>
                      <a:cubicBezTo>
                        <a:pt x="20" y="32"/>
                        <a:pt x="21" y="39"/>
                        <a:pt x="21" y="39"/>
                      </a:cubicBezTo>
                      <a:cubicBezTo>
                        <a:pt x="21" y="47"/>
                        <a:pt x="26" y="46"/>
                        <a:pt x="26" y="46"/>
                      </a:cubicBezTo>
                      <a:cubicBezTo>
                        <a:pt x="29" y="48"/>
                        <a:pt x="30" y="54"/>
                        <a:pt x="30" y="54"/>
                      </a:cubicBezTo>
                      <a:cubicBezTo>
                        <a:pt x="30" y="55"/>
                        <a:pt x="37" y="55"/>
                        <a:pt x="37" y="55"/>
                      </a:cubicBezTo>
                      <a:cubicBezTo>
                        <a:pt x="39" y="50"/>
                        <a:pt x="42" y="48"/>
                        <a:pt x="42" y="48"/>
                      </a:cubicBezTo>
                      <a:cubicBezTo>
                        <a:pt x="45" y="43"/>
                        <a:pt x="47" y="47"/>
                        <a:pt x="47" y="47"/>
                      </a:cubicBezTo>
                      <a:cubicBezTo>
                        <a:pt x="54" y="48"/>
                        <a:pt x="53" y="44"/>
                        <a:pt x="53" y="44"/>
                      </a:cubicBezTo>
                      <a:cubicBezTo>
                        <a:pt x="55" y="42"/>
                        <a:pt x="58" y="44"/>
                        <a:pt x="58" y="44"/>
                      </a:cubicBezTo>
                      <a:cubicBezTo>
                        <a:pt x="60" y="47"/>
                        <a:pt x="62" y="44"/>
                        <a:pt x="66" y="44"/>
                      </a:cubicBezTo>
                      <a:cubicBezTo>
                        <a:pt x="66" y="42"/>
                        <a:pt x="63" y="42"/>
                        <a:pt x="63" y="42"/>
                      </a:cubicBezTo>
                      <a:cubicBezTo>
                        <a:pt x="63" y="39"/>
                        <a:pt x="65" y="43"/>
                        <a:pt x="69" y="41"/>
                      </a:cubicBezTo>
                      <a:cubicBezTo>
                        <a:pt x="72" y="40"/>
                        <a:pt x="74" y="44"/>
                        <a:pt x="74" y="44"/>
                      </a:cubicBezTo>
                      <a:cubicBezTo>
                        <a:pt x="73" y="52"/>
                        <a:pt x="70" y="48"/>
                        <a:pt x="70" y="48"/>
                      </a:cubicBezTo>
                      <a:cubicBezTo>
                        <a:pt x="69" y="44"/>
                        <a:pt x="68" y="46"/>
                        <a:pt x="68" y="46"/>
                      </a:cubicBezTo>
                      <a:cubicBezTo>
                        <a:pt x="63" y="45"/>
                        <a:pt x="62" y="49"/>
                        <a:pt x="62" y="49"/>
                      </a:cubicBezTo>
                      <a:cubicBezTo>
                        <a:pt x="59" y="56"/>
                        <a:pt x="53" y="59"/>
                        <a:pt x="53" y="59"/>
                      </a:cubicBezTo>
                      <a:cubicBezTo>
                        <a:pt x="47" y="59"/>
                        <a:pt x="47" y="62"/>
                        <a:pt x="47" y="62"/>
                      </a:cubicBezTo>
                      <a:cubicBezTo>
                        <a:pt x="46" y="65"/>
                        <a:pt x="43" y="62"/>
                        <a:pt x="43" y="62"/>
                      </a:cubicBezTo>
                      <a:cubicBezTo>
                        <a:pt x="40" y="59"/>
                        <a:pt x="41" y="63"/>
                        <a:pt x="41" y="63"/>
                      </a:cubicBezTo>
                      <a:cubicBezTo>
                        <a:pt x="43" y="64"/>
                        <a:pt x="44" y="67"/>
                        <a:pt x="44" y="67"/>
                      </a:cubicBezTo>
                      <a:cubicBezTo>
                        <a:pt x="50" y="69"/>
                        <a:pt x="51" y="74"/>
                        <a:pt x="51" y="74"/>
                      </a:cubicBezTo>
                      <a:cubicBezTo>
                        <a:pt x="51" y="77"/>
                        <a:pt x="53" y="78"/>
                        <a:pt x="53" y="78"/>
                      </a:cubicBezTo>
                      <a:cubicBezTo>
                        <a:pt x="57" y="80"/>
                        <a:pt x="56" y="82"/>
                        <a:pt x="56" y="82"/>
                      </a:cubicBezTo>
                      <a:lnTo>
                        <a:pt x="56" y="82"/>
                      </a:lnTo>
                      <a:lnTo>
                        <a:pt x="58" y="84"/>
                      </a:lnTo>
                      <a:lnTo>
                        <a:pt x="58" y="84"/>
                      </a:lnTo>
                      <a:cubicBezTo>
                        <a:pt x="59" y="86"/>
                        <a:pt x="56" y="87"/>
                        <a:pt x="56" y="87"/>
                      </a:cubicBezTo>
                      <a:cubicBezTo>
                        <a:pt x="57" y="93"/>
                        <a:pt x="55" y="91"/>
                        <a:pt x="55" y="91"/>
                      </a:cubicBezTo>
                      <a:cubicBezTo>
                        <a:pt x="55" y="94"/>
                        <a:pt x="59" y="94"/>
                        <a:pt x="59" y="96"/>
                      </a:cubicBezTo>
                      <a:cubicBezTo>
                        <a:pt x="63" y="96"/>
                        <a:pt x="62" y="100"/>
                        <a:pt x="62" y="100"/>
                      </a:cubicBezTo>
                      <a:cubicBezTo>
                        <a:pt x="63" y="102"/>
                        <a:pt x="65" y="99"/>
                        <a:pt x="65" y="99"/>
                      </a:cubicBezTo>
                      <a:lnTo>
                        <a:pt x="65" y="99"/>
                      </a:lnTo>
                      <a:lnTo>
                        <a:pt x="65" y="103"/>
                      </a:lnTo>
                      <a:lnTo>
                        <a:pt x="65" y="103"/>
                      </a:lnTo>
                      <a:cubicBezTo>
                        <a:pt x="66" y="105"/>
                        <a:pt x="63" y="106"/>
                        <a:pt x="63" y="106"/>
                      </a:cubicBezTo>
                      <a:cubicBezTo>
                        <a:pt x="60" y="105"/>
                        <a:pt x="59" y="106"/>
                        <a:pt x="59" y="106"/>
                      </a:cubicBezTo>
                      <a:cubicBezTo>
                        <a:pt x="53" y="106"/>
                        <a:pt x="52" y="109"/>
                        <a:pt x="52" y="109"/>
                      </a:cubicBezTo>
                      <a:cubicBezTo>
                        <a:pt x="51" y="111"/>
                        <a:pt x="53" y="111"/>
                        <a:pt x="53" y="111"/>
                      </a:cubicBezTo>
                      <a:cubicBezTo>
                        <a:pt x="52" y="113"/>
                        <a:pt x="48" y="113"/>
                        <a:pt x="48" y="113"/>
                      </a:cubicBezTo>
                      <a:cubicBezTo>
                        <a:pt x="44" y="112"/>
                        <a:pt x="43" y="109"/>
                        <a:pt x="43" y="109"/>
                      </a:cubicBezTo>
                      <a:cubicBezTo>
                        <a:pt x="43" y="101"/>
                        <a:pt x="45" y="103"/>
                        <a:pt x="45" y="103"/>
                      </a:cubicBezTo>
                      <a:cubicBezTo>
                        <a:pt x="46" y="97"/>
                        <a:pt x="42" y="99"/>
                        <a:pt x="42" y="99"/>
                      </a:cubicBezTo>
                      <a:cubicBezTo>
                        <a:pt x="40" y="97"/>
                        <a:pt x="36" y="93"/>
                        <a:pt x="36" y="93"/>
                      </a:cubicBezTo>
                      <a:cubicBezTo>
                        <a:pt x="32" y="91"/>
                        <a:pt x="35" y="87"/>
                        <a:pt x="35" y="87"/>
                      </a:cubicBezTo>
                      <a:cubicBezTo>
                        <a:pt x="37" y="85"/>
                        <a:pt x="37" y="79"/>
                        <a:pt x="37" y="79"/>
                      </a:cubicBezTo>
                      <a:lnTo>
                        <a:pt x="37" y="79"/>
                      </a:lnTo>
                      <a:lnTo>
                        <a:pt x="35" y="79"/>
                      </a:lnTo>
                      <a:lnTo>
                        <a:pt x="35" y="79"/>
                      </a:lnTo>
                      <a:cubicBezTo>
                        <a:pt x="38" y="77"/>
                        <a:pt x="35" y="76"/>
                        <a:pt x="35" y="76"/>
                      </a:cubicBezTo>
                      <a:lnTo>
                        <a:pt x="35" y="76"/>
                      </a:lnTo>
                      <a:lnTo>
                        <a:pt x="30" y="75"/>
                      </a:lnTo>
                      <a:lnTo>
                        <a:pt x="30" y="75"/>
                      </a:lnTo>
                      <a:cubicBezTo>
                        <a:pt x="30" y="77"/>
                        <a:pt x="23" y="81"/>
                        <a:pt x="23" y="81"/>
                      </a:cubicBezTo>
                      <a:cubicBezTo>
                        <a:pt x="23" y="84"/>
                        <a:pt x="26" y="86"/>
                        <a:pt x="26" y="86"/>
                      </a:cubicBezTo>
                      <a:cubicBezTo>
                        <a:pt x="26" y="92"/>
                        <a:pt x="27" y="94"/>
                        <a:pt x="27" y="94"/>
                      </a:cubicBezTo>
                      <a:cubicBezTo>
                        <a:pt x="25" y="96"/>
                        <a:pt x="26" y="102"/>
                        <a:pt x="26" y="102"/>
                      </a:cubicBezTo>
                      <a:lnTo>
                        <a:pt x="26" y="102"/>
                      </a:lnTo>
                      <a:lnTo>
                        <a:pt x="27" y="109"/>
                      </a:lnTo>
                      <a:lnTo>
                        <a:pt x="27" y="109"/>
                      </a:lnTo>
                      <a:cubicBezTo>
                        <a:pt x="27" y="109"/>
                        <a:pt x="24" y="113"/>
                        <a:pt x="24" y="117"/>
                      </a:cubicBezTo>
                      <a:cubicBezTo>
                        <a:pt x="24" y="120"/>
                        <a:pt x="26" y="119"/>
                        <a:pt x="27" y="126"/>
                      </a:cubicBezTo>
                      <a:cubicBezTo>
                        <a:pt x="24" y="123"/>
                        <a:pt x="22" y="126"/>
                        <a:pt x="22" y="126"/>
                      </a:cubicBezTo>
                      <a:cubicBezTo>
                        <a:pt x="18" y="124"/>
                        <a:pt x="17" y="127"/>
                        <a:pt x="17" y="127"/>
                      </a:cubicBezTo>
                      <a:cubicBezTo>
                        <a:pt x="14" y="127"/>
                        <a:pt x="10" y="123"/>
                        <a:pt x="10" y="123"/>
                      </a:cubicBezTo>
                      <a:lnTo>
                        <a:pt x="10" y="123"/>
                      </a:lnTo>
                      <a:lnTo>
                        <a:pt x="11" y="118"/>
                      </a:lnTo>
                      <a:lnTo>
                        <a:pt x="11" y="118"/>
                      </a:lnTo>
                      <a:cubicBezTo>
                        <a:pt x="12" y="116"/>
                        <a:pt x="12" y="111"/>
                        <a:pt x="12" y="111"/>
                      </a:cubicBezTo>
                      <a:cubicBezTo>
                        <a:pt x="15" y="107"/>
                        <a:pt x="14" y="101"/>
                        <a:pt x="14" y="101"/>
                      </a:cubicBezTo>
                      <a:lnTo>
                        <a:pt x="14" y="101"/>
                      </a:lnTo>
                      <a:lnTo>
                        <a:pt x="11" y="92"/>
                      </a:lnTo>
                      <a:lnTo>
                        <a:pt x="11" y="92"/>
                      </a:lnTo>
                      <a:cubicBezTo>
                        <a:pt x="14" y="88"/>
                        <a:pt x="8" y="90"/>
                        <a:pt x="8" y="90"/>
                      </a:cubicBezTo>
                      <a:lnTo>
                        <a:pt x="8" y="90"/>
                      </a:lnTo>
                      <a:lnTo>
                        <a:pt x="3" y="91"/>
                      </a:lnTo>
                      <a:lnTo>
                        <a:pt x="3" y="91"/>
                      </a:lnTo>
                      <a:cubicBezTo>
                        <a:pt x="1" y="90"/>
                        <a:pt x="2" y="86"/>
                        <a:pt x="0" y="83"/>
                      </a:cubicBezTo>
                      <a:cubicBezTo>
                        <a:pt x="2" y="83"/>
                        <a:pt x="2" y="78"/>
                        <a:pt x="0" y="79"/>
                      </a:cubicBezTo>
                      <a:cubicBezTo>
                        <a:pt x="0" y="74"/>
                        <a:pt x="3" y="75"/>
                        <a:pt x="3" y="75"/>
                      </a:cubicBezTo>
                      <a:cubicBezTo>
                        <a:pt x="7" y="72"/>
                        <a:pt x="6" y="69"/>
                        <a:pt x="6" y="69"/>
                      </a:cubicBezTo>
                      <a:cubicBezTo>
                        <a:pt x="7" y="64"/>
                        <a:pt x="10" y="64"/>
                        <a:pt x="10" y="64"/>
                      </a:cubicBezTo>
                      <a:cubicBezTo>
                        <a:pt x="9" y="60"/>
                        <a:pt x="9" y="53"/>
                        <a:pt x="9" y="53"/>
                      </a:cubicBezTo>
                      <a:cubicBezTo>
                        <a:pt x="9" y="50"/>
                        <a:pt x="11" y="51"/>
                        <a:pt x="12" y="47"/>
                      </a:cubicBezTo>
                      <a:cubicBezTo>
                        <a:pt x="15" y="41"/>
                        <a:pt x="17" y="43"/>
                        <a:pt x="17" y="43"/>
                      </a:cubicBezTo>
                      <a:cubicBezTo>
                        <a:pt x="15" y="39"/>
                        <a:pt x="17" y="36"/>
                        <a:pt x="17" y="36"/>
                      </a:cubicBezTo>
                      <a:cubicBezTo>
                        <a:pt x="17" y="32"/>
                        <a:pt x="14" y="34"/>
                        <a:pt x="14" y="33"/>
                      </a:cubicBezTo>
                      <a:cubicBezTo>
                        <a:pt x="14" y="29"/>
                        <a:pt x="17" y="32"/>
                        <a:pt x="17" y="32"/>
                      </a:cubicBezTo>
                      <a:cubicBezTo>
                        <a:pt x="20" y="30"/>
                        <a:pt x="16" y="28"/>
                        <a:pt x="16" y="28"/>
                      </a:cubicBezTo>
                      <a:cubicBezTo>
                        <a:pt x="16" y="26"/>
                        <a:pt x="18" y="28"/>
                        <a:pt x="18" y="24"/>
                      </a:cubicBezTo>
                      <a:cubicBezTo>
                        <a:pt x="21" y="22"/>
                        <a:pt x="20" y="20"/>
                        <a:pt x="20" y="20"/>
                      </a:cubicBezTo>
                      <a:cubicBezTo>
                        <a:pt x="20" y="18"/>
                        <a:pt x="23" y="18"/>
                        <a:pt x="23" y="18"/>
                      </a:cubicBezTo>
                      <a:lnTo>
                        <a:pt x="23" y="18"/>
                      </a:lnTo>
                      <a:lnTo>
                        <a:pt x="23" y="1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1" name="Freeform 151"/>
                <p:cNvSpPr>
                  <a:spLocks/>
                </p:cNvSpPr>
                <p:nvPr>
                  <p:custDataLst>
                    <p:tags r:id="rId137"/>
                  </p:custDataLst>
                </p:nvPr>
              </p:nvSpPr>
              <p:spPr bwMode="gray">
                <a:xfrm>
                  <a:off x="7865338" y="2806875"/>
                  <a:ext cx="101540" cy="122656"/>
                </a:xfrm>
                <a:custGeom>
                  <a:avLst/>
                  <a:gdLst>
                    <a:gd name="T0" fmla="*/ 3 w 10"/>
                    <a:gd name="T1" fmla="*/ 11 h 11"/>
                    <a:gd name="T2" fmla="*/ 3 w 10"/>
                    <a:gd name="T3" fmla="*/ 8 h 11"/>
                    <a:gd name="T4" fmla="*/ 0 w 10"/>
                    <a:gd name="T5" fmla="*/ 5 h 11"/>
                    <a:gd name="T6" fmla="*/ 1 w 10"/>
                    <a:gd name="T7" fmla="*/ 5 h 11"/>
                    <a:gd name="T8" fmla="*/ 2 w 10"/>
                    <a:gd name="T9" fmla="*/ 6 h 11"/>
                    <a:gd name="T10" fmla="*/ 4 w 10"/>
                    <a:gd name="T11" fmla="*/ 4 h 11"/>
                    <a:gd name="T12" fmla="*/ 8 w 10"/>
                    <a:gd name="T13" fmla="*/ 0 h 11"/>
                    <a:gd name="T14" fmla="*/ 10 w 10"/>
                    <a:gd name="T15" fmla="*/ 4 h 11"/>
                    <a:gd name="T16" fmla="*/ 9 w 10"/>
                    <a:gd name="T17" fmla="*/ 5 h 11"/>
                    <a:gd name="T18" fmla="*/ 9 w 10"/>
                    <a:gd name="T19" fmla="*/ 7 h 11"/>
                    <a:gd name="T20" fmla="*/ 3 w 10"/>
                    <a:gd name="T21" fmla="*/ 11 h 11"/>
                    <a:gd name="T22" fmla="*/ 3 w 10"/>
                    <a:gd name="T23" fmla="*/ 11 h 11"/>
                    <a:gd name="T24" fmla="*/ 3 w 10"/>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3" y="11"/>
                      </a:moveTo>
                      <a:cubicBezTo>
                        <a:pt x="3" y="10"/>
                        <a:pt x="3" y="9"/>
                        <a:pt x="3" y="8"/>
                      </a:cubicBezTo>
                      <a:cubicBezTo>
                        <a:pt x="3" y="6"/>
                        <a:pt x="1" y="7"/>
                        <a:pt x="0" y="5"/>
                      </a:cubicBezTo>
                      <a:cubicBezTo>
                        <a:pt x="0" y="5"/>
                        <a:pt x="1" y="5"/>
                        <a:pt x="1" y="5"/>
                      </a:cubicBezTo>
                      <a:cubicBezTo>
                        <a:pt x="1" y="5"/>
                        <a:pt x="2" y="6"/>
                        <a:pt x="2" y="6"/>
                      </a:cubicBezTo>
                      <a:cubicBezTo>
                        <a:pt x="3" y="6"/>
                        <a:pt x="4" y="4"/>
                        <a:pt x="4" y="4"/>
                      </a:cubicBezTo>
                      <a:cubicBezTo>
                        <a:pt x="4" y="2"/>
                        <a:pt x="6" y="0"/>
                        <a:pt x="8" y="0"/>
                      </a:cubicBezTo>
                      <a:cubicBezTo>
                        <a:pt x="8" y="0"/>
                        <a:pt x="10" y="4"/>
                        <a:pt x="10" y="4"/>
                      </a:cubicBezTo>
                      <a:cubicBezTo>
                        <a:pt x="10" y="5"/>
                        <a:pt x="9" y="5"/>
                        <a:pt x="9" y="5"/>
                      </a:cubicBezTo>
                      <a:cubicBezTo>
                        <a:pt x="8" y="6"/>
                        <a:pt x="9" y="7"/>
                        <a:pt x="9" y="7"/>
                      </a:cubicBezTo>
                      <a:cubicBezTo>
                        <a:pt x="8" y="10"/>
                        <a:pt x="5" y="11"/>
                        <a:pt x="3" y="11"/>
                      </a:cubicBezTo>
                      <a:lnTo>
                        <a:pt x="3" y="11"/>
                      </a:lnTo>
                      <a:lnTo>
                        <a:pt x="3"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2" name="Freeform 152"/>
                <p:cNvSpPr>
                  <a:spLocks/>
                </p:cNvSpPr>
                <p:nvPr>
                  <p:custDataLst>
                    <p:tags r:id="rId138"/>
                  </p:custDataLst>
                </p:nvPr>
              </p:nvSpPr>
              <p:spPr bwMode="gray">
                <a:xfrm>
                  <a:off x="7814568" y="2887072"/>
                  <a:ext cx="11282"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3" name="Freeform 153"/>
                <p:cNvSpPr>
                  <a:spLocks/>
                </p:cNvSpPr>
                <p:nvPr>
                  <p:custDataLst>
                    <p:tags r:id="rId139"/>
                  </p:custDataLst>
                </p:nvPr>
              </p:nvSpPr>
              <p:spPr bwMode="gray">
                <a:xfrm>
                  <a:off x="7755337" y="3278628"/>
                  <a:ext cx="9871" cy="33022"/>
                </a:xfrm>
                <a:custGeom>
                  <a:avLst/>
                  <a:gdLst>
                    <a:gd name="T0" fmla="*/ 0 w 1"/>
                    <a:gd name="T1" fmla="*/ 3 h 3"/>
                    <a:gd name="T2" fmla="*/ 0 w 1"/>
                    <a:gd name="T3" fmla="*/ 0 h 3"/>
                    <a:gd name="T4" fmla="*/ 1 w 1"/>
                    <a:gd name="T5" fmla="*/ 0 h 3"/>
                    <a:gd name="T6" fmla="*/ 1 w 1"/>
                    <a:gd name="T7" fmla="*/ 3 h 3"/>
                    <a:gd name="T8" fmla="*/ 0 w 1"/>
                    <a:gd name="T9" fmla="*/ 3 h 3"/>
                    <a:gd name="T10" fmla="*/ 0 w 1"/>
                    <a:gd name="T11" fmla="*/ 3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cubicBezTo>
                        <a:pt x="0" y="3"/>
                        <a:pt x="0" y="1"/>
                        <a:pt x="0" y="0"/>
                      </a:cubicBezTo>
                      <a:cubicBezTo>
                        <a:pt x="1" y="0"/>
                        <a:pt x="1" y="0"/>
                        <a:pt x="1" y="0"/>
                      </a:cubicBezTo>
                      <a:cubicBezTo>
                        <a:pt x="1" y="2"/>
                        <a:pt x="1" y="3"/>
                        <a:pt x="1" y="3"/>
                      </a:cubicBezTo>
                      <a:cubicBezTo>
                        <a:pt x="1" y="3"/>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4" name="Freeform 154"/>
                <p:cNvSpPr>
                  <a:spLocks/>
                </p:cNvSpPr>
                <p:nvPr>
                  <p:custDataLst>
                    <p:tags r:id="rId140"/>
                  </p:custDataLst>
                </p:nvPr>
              </p:nvSpPr>
              <p:spPr bwMode="gray">
                <a:xfrm>
                  <a:off x="7714439" y="3423299"/>
                  <a:ext cx="21155" cy="34595"/>
                </a:xfrm>
                <a:custGeom>
                  <a:avLst/>
                  <a:gdLst>
                    <a:gd name="T0" fmla="*/ 0 w 2"/>
                    <a:gd name="T1" fmla="*/ 2 h 3"/>
                    <a:gd name="T2" fmla="*/ 1 w 2"/>
                    <a:gd name="T3" fmla="*/ 0 h 3"/>
                    <a:gd name="T4" fmla="*/ 2 w 2"/>
                    <a:gd name="T5" fmla="*/ 2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0"/>
                        <a:pt x="1" y="0"/>
                      </a:cubicBezTo>
                      <a:cubicBezTo>
                        <a:pt x="1" y="1"/>
                        <a:pt x="1" y="1"/>
                        <a:pt x="2" y="2"/>
                      </a:cubicBezTo>
                      <a:cubicBezTo>
                        <a:pt x="1" y="3"/>
                        <a:pt x="0"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5" name="Freeform 155"/>
                <p:cNvSpPr>
                  <a:spLocks/>
                </p:cNvSpPr>
                <p:nvPr>
                  <p:custDataLst>
                    <p:tags r:id="rId141"/>
                  </p:custDataLst>
                </p:nvPr>
              </p:nvSpPr>
              <p:spPr bwMode="gray">
                <a:xfrm>
                  <a:off x="7714439" y="3344673"/>
                  <a:ext cx="21155" cy="56611"/>
                </a:xfrm>
                <a:custGeom>
                  <a:avLst/>
                  <a:gdLst>
                    <a:gd name="T0" fmla="*/ 0 w 2"/>
                    <a:gd name="T1" fmla="*/ 5 h 5"/>
                    <a:gd name="T2" fmla="*/ 0 w 2"/>
                    <a:gd name="T3" fmla="*/ 3 h 5"/>
                    <a:gd name="T4" fmla="*/ 1 w 2"/>
                    <a:gd name="T5" fmla="*/ 0 h 5"/>
                    <a:gd name="T6" fmla="*/ 2 w 2"/>
                    <a:gd name="T7" fmla="*/ 1 h 5"/>
                    <a:gd name="T8" fmla="*/ 2 w 2"/>
                    <a:gd name="T9" fmla="*/ 3 h 5"/>
                    <a:gd name="T10" fmla="*/ 0 w 2"/>
                    <a:gd name="T11" fmla="*/ 5 h 5"/>
                    <a:gd name="T12" fmla="*/ 0 w 2"/>
                    <a:gd name="T13" fmla="*/ 5 h 5"/>
                    <a:gd name="T14" fmla="*/ 0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5"/>
                      </a:moveTo>
                      <a:cubicBezTo>
                        <a:pt x="0" y="4"/>
                        <a:pt x="0" y="4"/>
                        <a:pt x="0" y="3"/>
                      </a:cubicBezTo>
                      <a:cubicBezTo>
                        <a:pt x="0" y="2"/>
                        <a:pt x="0" y="0"/>
                        <a:pt x="1" y="0"/>
                      </a:cubicBezTo>
                      <a:cubicBezTo>
                        <a:pt x="1" y="0"/>
                        <a:pt x="1" y="1"/>
                        <a:pt x="2" y="1"/>
                      </a:cubicBezTo>
                      <a:cubicBezTo>
                        <a:pt x="2" y="2"/>
                        <a:pt x="2" y="2"/>
                        <a:pt x="2" y="3"/>
                      </a:cubicBezTo>
                      <a:cubicBezTo>
                        <a:pt x="2" y="4"/>
                        <a:pt x="1" y="4"/>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6" name="Freeform 156"/>
                <p:cNvSpPr>
                  <a:spLocks/>
                </p:cNvSpPr>
                <p:nvPr>
                  <p:custDataLst>
                    <p:tags r:id="rId142"/>
                  </p:custDataLst>
                </p:nvPr>
              </p:nvSpPr>
              <p:spPr bwMode="gray">
                <a:xfrm>
                  <a:off x="7745465" y="3368262"/>
                  <a:ext cx="90258" cy="99068"/>
                </a:xfrm>
                <a:custGeom>
                  <a:avLst/>
                  <a:gdLst>
                    <a:gd name="T0" fmla="*/ 5 w 9"/>
                    <a:gd name="T1" fmla="*/ 7 h 9"/>
                    <a:gd name="T2" fmla="*/ 3 w 9"/>
                    <a:gd name="T3" fmla="*/ 7 h 9"/>
                    <a:gd name="T4" fmla="*/ 1 w 9"/>
                    <a:gd name="T5" fmla="*/ 4 h 9"/>
                    <a:gd name="T6" fmla="*/ 0 w 9"/>
                    <a:gd name="T7" fmla="*/ 2 h 9"/>
                    <a:gd name="T8" fmla="*/ 1 w 9"/>
                    <a:gd name="T9" fmla="*/ 0 h 9"/>
                    <a:gd name="T10" fmla="*/ 2 w 9"/>
                    <a:gd name="T11" fmla="*/ 1 h 9"/>
                    <a:gd name="T12" fmla="*/ 4 w 9"/>
                    <a:gd name="T13" fmla="*/ 0 h 9"/>
                    <a:gd name="T14" fmla="*/ 6 w 9"/>
                    <a:gd name="T15" fmla="*/ 2 h 9"/>
                    <a:gd name="T16" fmla="*/ 5 w 9"/>
                    <a:gd name="T17" fmla="*/ 5 h 9"/>
                    <a:gd name="T18" fmla="*/ 9 w 9"/>
                    <a:gd name="T19" fmla="*/ 7 h 9"/>
                    <a:gd name="T20" fmla="*/ 7 w 9"/>
                    <a:gd name="T21" fmla="*/ 9 h 9"/>
                    <a:gd name="T22" fmla="*/ 5 w 9"/>
                    <a:gd name="T23" fmla="*/ 7 h 9"/>
                    <a:gd name="T24" fmla="*/ 5 w 9"/>
                    <a:gd name="T25" fmla="*/ 7 h 9"/>
                    <a:gd name="T26" fmla="*/ 5 w 9"/>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5" y="7"/>
                      </a:moveTo>
                      <a:cubicBezTo>
                        <a:pt x="4" y="8"/>
                        <a:pt x="4" y="7"/>
                        <a:pt x="3" y="7"/>
                      </a:cubicBezTo>
                      <a:cubicBezTo>
                        <a:pt x="2" y="7"/>
                        <a:pt x="1" y="5"/>
                        <a:pt x="1" y="4"/>
                      </a:cubicBezTo>
                      <a:cubicBezTo>
                        <a:pt x="0" y="3"/>
                        <a:pt x="0" y="3"/>
                        <a:pt x="0" y="2"/>
                      </a:cubicBezTo>
                      <a:cubicBezTo>
                        <a:pt x="0" y="2"/>
                        <a:pt x="1" y="0"/>
                        <a:pt x="1" y="0"/>
                      </a:cubicBezTo>
                      <a:cubicBezTo>
                        <a:pt x="2" y="0"/>
                        <a:pt x="2" y="1"/>
                        <a:pt x="2" y="1"/>
                      </a:cubicBezTo>
                      <a:cubicBezTo>
                        <a:pt x="3" y="0"/>
                        <a:pt x="4" y="0"/>
                        <a:pt x="4" y="0"/>
                      </a:cubicBezTo>
                      <a:cubicBezTo>
                        <a:pt x="5" y="0"/>
                        <a:pt x="6" y="2"/>
                        <a:pt x="6" y="2"/>
                      </a:cubicBezTo>
                      <a:cubicBezTo>
                        <a:pt x="6" y="4"/>
                        <a:pt x="5" y="3"/>
                        <a:pt x="5" y="5"/>
                      </a:cubicBezTo>
                      <a:cubicBezTo>
                        <a:pt x="5" y="7"/>
                        <a:pt x="9" y="5"/>
                        <a:pt x="9" y="7"/>
                      </a:cubicBezTo>
                      <a:cubicBezTo>
                        <a:pt x="9" y="8"/>
                        <a:pt x="8" y="9"/>
                        <a:pt x="7" y="9"/>
                      </a:cubicBezTo>
                      <a:cubicBezTo>
                        <a:pt x="6" y="9"/>
                        <a:pt x="5" y="8"/>
                        <a:pt x="5" y="7"/>
                      </a:cubicBezTo>
                      <a:lnTo>
                        <a:pt x="5" y="7"/>
                      </a:lnTo>
                      <a:lnTo>
                        <a:pt x="5"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7" name="Freeform 157"/>
                <p:cNvSpPr>
                  <a:spLocks/>
                </p:cNvSpPr>
                <p:nvPr>
                  <p:custDataLst>
                    <p:tags r:id="rId143"/>
                  </p:custDataLst>
                </p:nvPr>
              </p:nvSpPr>
              <p:spPr bwMode="gray">
                <a:xfrm>
                  <a:off x="7694696" y="2402738"/>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8" name="Freeform 158"/>
                <p:cNvSpPr>
                  <a:spLocks/>
                </p:cNvSpPr>
                <p:nvPr>
                  <p:custDataLst>
                    <p:tags r:id="rId144"/>
                  </p:custDataLst>
                </p:nvPr>
              </p:nvSpPr>
              <p:spPr bwMode="gray">
                <a:xfrm>
                  <a:off x="7725722" y="2437334"/>
                  <a:ext cx="987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29" name="Freeform 159"/>
                <p:cNvSpPr>
                  <a:spLocks/>
                </p:cNvSpPr>
                <p:nvPr>
                  <p:custDataLst>
                    <p:tags r:id="rId145"/>
                  </p:custDataLst>
                </p:nvPr>
              </p:nvSpPr>
              <p:spPr bwMode="gray">
                <a:xfrm>
                  <a:off x="7433796" y="2459348"/>
                  <a:ext cx="9871" cy="12580"/>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0" name="Freeform 160"/>
                <p:cNvSpPr>
                  <a:spLocks/>
                </p:cNvSpPr>
                <p:nvPr>
                  <p:custDataLst>
                    <p:tags r:id="rId146"/>
                  </p:custDataLst>
                </p:nvPr>
              </p:nvSpPr>
              <p:spPr bwMode="gray">
                <a:xfrm>
                  <a:off x="7433796" y="2863484"/>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1" name="Freeform 161"/>
                <p:cNvSpPr>
                  <a:spLocks/>
                </p:cNvSpPr>
                <p:nvPr>
                  <p:custDataLst>
                    <p:tags r:id="rId147"/>
                  </p:custDataLst>
                </p:nvPr>
              </p:nvSpPr>
              <p:spPr bwMode="gray">
                <a:xfrm>
                  <a:off x="7433796" y="2909087"/>
                  <a:ext cx="9871" cy="9435"/>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2" name="Freeform 162"/>
                <p:cNvSpPr>
                  <a:spLocks/>
                </p:cNvSpPr>
                <p:nvPr>
                  <p:custDataLst>
                    <p:tags r:id="rId148"/>
                  </p:custDataLst>
                </p:nvPr>
              </p:nvSpPr>
              <p:spPr bwMode="gray">
                <a:xfrm>
                  <a:off x="7665080" y="2773852"/>
                  <a:ext cx="9871"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3" name="Freeform 163"/>
                <p:cNvSpPr>
                  <a:spLocks/>
                </p:cNvSpPr>
                <p:nvPr>
                  <p:custDataLst>
                    <p:tags r:id="rId149"/>
                  </p:custDataLst>
                </p:nvPr>
              </p:nvSpPr>
              <p:spPr bwMode="gray">
                <a:xfrm>
                  <a:off x="7643926" y="2684217"/>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4" name="Freeform 164"/>
                <p:cNvSpPr>
                  <a:spLocks/>
                </p:cNvSpPr>
                <p:nvPr>
                  <p:custDataLst>
                    <p:tags r:id="rId150"/>
                  </p:custDataLst>
                </p:nvPr>
              </p:nvSpPr>
              <p:spPr bwMode="gray">
                <a:xfrm>
                  <a:off x="7916108" y="3501925"/>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0" y="0"/>
                        <a:pt x="1" y="1"/>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5" name="Freeform 165"/>
                <p:cNvSpPr>
                  <a:spLocks/>
                </p:cNvSpPr>
                <p:nvPr>
                  <p:custDataLst>
                    <p:tags r:id="rId151"/>
                  </p:custDataLst>
                </p:nvPr>
              </p:nvSpPr>
              <p:spPr bwMode="gray">
                <a:xfrm>
                  <a:off x="7896364" y="3478337"/>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1"/>
                        <a:pt x="2"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6" name="Freeform 166"/>
                <p:cNvSpPr>
                  <a:spLocks/>
                </p:cNvSpPr>
                <p:nvPr>
                  <p:custDataLst>
                    <p:tags r:id="rId152"/>
                  </p:custDataLst>
                </p:nvPr>
              </p:nvSpPr>
              <p:spPr bwMode="gray">
                <a:xfrm>
                  <a:off x="7735593" y="3143392"/>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7" name="Freeform 167"/>
                <p:cNvSpPr>
                  <a:spLocks/>
                </p:cNvSpPr>
                <p:nvPr>
                  <p:custDataLst>
                    <p:tags r:id="rId153"/>
                  </p:custDataLst>
                </p:nvPr>
              </p:nvSpPr>
              <p:spPr bwMode="gray">
                <a:xfrm>
                  <a:off x="7755337" y="3165406"/>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8" name="Freeform 168"/>
                <p:cNvSpPr>
                  <a:spLocks/>
                </p:cNvSpPr>
                <p:nvPr>
                  <p:custDataLst>
                    <p:tags r:id="rId154"/>
                  </p:custDataLst>
                </p:nvPr>
              </p:nvSpPr>
              <p:spPr bwMode="gray">
                <a:xfrm>
                  <a:off x="7745465" y="3233025"/>
                  <a:ext cx="9872" cy="23588"/>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39" name="Freeform 169"/>
                <p:cNvSpPr>
                  <a:spLocks/>
                </p:cNvSpPr>
                <p:nvPr>
                  <p:custDataLst>
                    <p:tags r:id="rId155"/>
                  </p:custDataLst>
                </p:nvPr>
              </p:nvSpPr>
              <p:spPr bwMode="gray">
                <a:xfrm>
                  <a:off x="7694696" y="3344673"/>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0" name="Freeform 170"/>
                <p:cNvSpPr>
                  <a:spLocks/>
                </p:cNvSpPr>
                <p:nvPr>
                  <p:custDataLst>
                    <p:tags r:id="rId156"/>
                  </p:custDataLst>
                </p:nvPr>
              </p:nvSpPr>
              <p:spPr bwMode="gray">
                <a:xfrm>
                  <a:off x="7714439" y="3322658"/>
                  <a:ext cx="21155" cy="11008"/>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1" y="0"/>
                        <a:pt x="1" y="0"/>
                      </a:cubicBezTo>
                      <a:cubicBezTo>
                        <a:pt x="2" y="0"/>
                        <a:pt x="2" y="0"/>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1" name="Freeform 171"/>
                <p:cNvSpPr>
                  <a:spLocks/>
                </p:cNvSpPr>
                <p:nvPr>
                  <p:custDataLst>
                    <p:tags r:id="rId157"/>
                  </p:custDataLst>
                </p:nvPr>
              </p:nvSpPr>
              <p:spPr bwMode="gray">
                <a:xfrm>
                  <a:off x="7765208" y="2898080"/>
                  <a:ext cx="231285" cy="569250"/>
                </a:xfrm>
                <a:custGeom>
                  <a:avLst/>
                  <a:gdLst>
                    <a:gd name="T0" fmla="*/ 12 w 23"/>
                    <a:gd name="T1" fmla="*/ 49 h 51"/>
                    <a:gd name="T2" fmla="*/ 7 w 23"/>
                    <a:gd name="T3" fmla="*/ 43 h 51"/>
                    <a:gd name="T4" fmla="*/ 3 w 23"/>
                    <a:gd name="T5" fmla="*/ 35 h 51"/>
                    <a:gd name="T6" fmla="*/ 4 w 23"/>
                    <a:gd name="T7" fmla="*/ 31 h 51"/>
                    <a:gd name="T8" fmla="*/ 3 w 23"/>
                    <a:gd name="T9" fmla="*/ 30 h 51"/>
                    <a:gd name="T10" fmla="*/ 1 w 23"/>
                    <a:gd name="T11" fmla="*/ 25 h 51"/>
                    <a:gd name="T12" fmla="*/ 3 w 23"/>
                    <a:gd name="T13" fmla="*/ 23 h 51"/>
                    <a:gd name="T14" fmla="*/ 0 w 23"/>
                    <a:gd name="T15" fmla="*/ 17 h 51"/>
                    <a:gd name="T16" fmla="*/ 1 w 23"/>
                    <a:gd name="T17" fmla="*/ 13 h 51"/>
                    <a:gd name="T18" fmla="*/ 5 w 23"/>
                    <a:gd name="T19" fmla="*/ 4 h 51"/>
                    <a:gd name="T20" fmla="*/ 9 w 23"/>
                    <a:gd name="T21" fmla="*/ 0 h 51"/>
                    <a:gd name="T22" fmla="*/ 9 w 23"/>
                    <a:gd name="T23" fmla="*/ 0 h 51"/>
                    <a:gd name="T24" fmla="*/ 10 w 23"/>
                    <a:gd name="T25" fmla="*/ 0 h 51"/>
                    <a:gd name="T26" fmla="*/ 10 w 23"/>
                    <a:gd name="T27" fmla="*/ 0 h 51"/>
                    <a:gd name="T28" fmla="*/ 7 w 23"/>
                    <a:gd name="T29" fmla="*/ 5 h 51"/>
                    <a:gd name="T30" fmla="*/ 8 w 23"/>
                    <a:gd name="T31" fmla="*/ 7 h 51"/>
                    <a:gd name="T32" fmla="*/ 10 w 23"/>
                    <a:gd name="T33" fmla="*/ 11 h 51"/>
                    <a:gd name="T34" fmla="*/ 3 w 23"/>
                    <a:gd name="T35" fmla="*/ 21 h 51"/>
                    <a:gd name="T36" fmla="*/ 6 w 23"/>
                    <a:gd name="T37" fmla="*/ 22 h 51"/>
                    <a:gd name="T38" fmla="*/ 8 w 23"/>
                    <a:gd name="T39" fmla="*/ 21 h 51"/>
                    <a:gd name="T40" fmla="*/ 8 w 23"/>
                    <a:gd name="T41" fmla="*/ 19 h 51"/>
                    <a:gd name="T42" fmla="*/ 9 w 23"/>
                    <a:gd name="T43" fmla="*/ 17 h 51"/>
                    <a:gd name="T44" fmla="*/ 12 w 23"/>
                    <a:gd name="T45" fmla="*/ 17 h 51"/>
                    <a:gd name="T46" fmla="*/ 10 w 23"/>
                    <a:gd name="T47" fmla="*/ 15 h 51"/>
                    <a:gd name="T48" fmla="*/ 12 w 23"/>
                    <a:gd name="T49" fmla="*/ 13 h 51"/>
                    <a:gd name="T50" fmla="*/ 18 w 23"/>
                    <a:gd name="T51" fmla="*/ 10 h 51"/>
                    <a:gd name="T52" fmla="*/ 21 w 23"/>
                    <a:gd name="T53" fmla="*/ 14 h 51"/>
                    <a:gd name="T54" fmla="*/ 16 w 23"/>
                    <a:gd name="T55" fmla="*/ 21 h 51"/>
                    <a:gd name="T56" fmla="*/ 13 w 23"/>
                    <a:gd name="T57" fmla="*/ 24 h 51"/>
                    <a:gd name="T58" fmla="*/ 20 w 23"/>
                    <a:gd name="T59" fmla="*/ 29 h 51"/>
                    <a:gd name="T60" fmla="*/ 23 w 23"/>
                    <a:gd name="T61" fmla="*/ 32 h 51"/>
                    <a:gd name="T62" fmla="*/ 22 w 23"/>
                    <a:gd name="T63" fmla="*/ 32 h 51"/>
                    <a:gd name="T64" fmla="*/ 20 w 23"/>
                    <a:gd name="T65" fmla="*/ 31 h 51"/>
                    <a:gd name="T66" fmla="*/ 18 w 23"/>
                    <a:gd name="T67" fmla="*/ 31 h 51"/>
                    <a:gd name="T68" fmla="*/ 17 w 23"/>
                    <a:gd name="T69" fmla="*/ 30 h 51"/>
                    <a:gd name="T70" fmla="*/ 9 w 23"/>
                    <a:gd name="T71" fmla="*/ 28 h 51"/>
                    <a:gd name="T72" fmla="*/ 7 w 23"/>
                    <a:gd name="T73" fmla="*/ 30 h 51"/>
                    <a:gd name="T74" fmla="*/ 7 w 23"/>
                    <a:gd name="T75" fmla="*/ 30 h 51"/>
                    <a:gd name="T76" fmla="*/ 8 w 23"/>
                    <a:gd name="T77" fmla="*/ 33 h 51"/>
                    <a:gd name="T78" fmla="*/ 8 w 23"/>
                    <a:gd name="T79" fmla="*/ 33 h 51"/>
                    <a:gd name="T80" fmla="*/ 8 w 23"/>
                    <a:gd name="T81" fmla="*/ 35 h 51"/>
                    <a:gd name="T82" fmla="*/ 15 w 23"/>
                    <a:gd name="T83" fmla="*/ 51 h 51"/>
                    <a:gd name="T84" fmla="*/ 12 w 23"/>
                    <a:gd name="T85" fmla="*/ 49 h 51"/>
                    <a:gd name="T86" fmla="*/ 12 w 23"/>
                    <a:gd name="T87" fmla="*/ 49 h 51"/>
                    <a:gd name="T88" fmla="*/ 12 w 23"/>
                    <a:gd name="T8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51">
                      <a:moveTo>
                        <a:pt x="12" y="49"/>
                      </a:moveTo>
                      <a:cubicBezTo>
                        <a:pt x="9" y="49"/>
                        <a:pt x="7" y="46"/>
                        <a:pt x="7" y="43"/>
                      </a:cubicBezTo>
                      <a:cubicBezTo>
                        <a:pt x="4" y="42"/>
                        <a:pt x="3" y="38"/>
                        <a:pt x="3" y="35"/>
                      </a:cubicBezTo>
                      <a:cubicBezTo>
                        <a:pt x="3" y="33"/>
                        <a:pt x="4" y="32"/>
                        <a:pt x="4" y="31"/>
                      </a:cubicBezTo>
                      <a:cubicBezTo>
                        <a:pt x="4" y="31"/>
                        <a:pt x="3" y="30"/>
                        <a:pt x="3" y="30"/>
                      </a:cubicBezTo>
                      <a:cubicBezTo>
                        <a:pt x="2" y="29"/>
                        <a:pt x="1" y="26"/>
                        <a:pt x="1" y="25"/>
                      </a:cubicBezTo>
                      <a:cubicBezTo>
                        <a:pt x="1" y="24"/>
                        <a:pt x="2" y="24"/>
                        <a:pt x="3" y="23"/>
                      </a:cubicBezTo>
                      <a:cubicBezTo>
                        <a:pt x="1" y="22"/>
                        <a:pt x="0" y="19"/>
                        <a:pt x="0" y="17"/>
                      </a:cubicBezTo>
                      <a:cubicBezTo>
                        <a:pt x="0" y="15"/>
                        <a:pt x="0" y="14"/>
                        <a:pt x="1" y="13"/>
                      </a:cubicBezTo>
                      <a:cubicBezTo>
                        <a:pt x="2" y="9"/>
                        <a:pt x="2" y="6"/>
                        <a:pt x="5" y="4"/>
                      </a:cubicBezTo>
                      <a:cubicBezTo>
                        <a:pt x="6" y="2"/>
                        <a:pt x="7" y="1"/>
                        <a:pt x="9" y="0"/>
                      </a:cubicBezTo>
                      <a:lnTo>
                        <a:pt x="9" y="0"/>
                      </a:lnTo>
                      <a:lnTo>
                        <a:pt x="10" y="0"/>
                      </a:lnTo>
                      <a:lnTo>
                        <a:pt x="10" y="0"/>
                      </a:lnTo>
                      <a:cubicBezTo>
                        <a:pt x="10" y="2"/>
                        <a:pt x="7" y="3"/>
                        <a:pt x="7" y="5"/>
                      </a:cubicBezTo>
                      <a:cubicBezTo>
                        <a:pt x="7" y="6"/>
                        <a:pt x="8" y="7"/>
                        <a:pt x="8" y="7"/>
                      </a:cubicBezTo>
                      <a:cubicBezTo>
                        <a:pt x="9" y="7"/>
                        <a:pt x="10" y="10"/>
                        <a:pt x="10" y="11"/>
                      </a:cubicBezTo>
                      <a:cubicBezTo>
                        <a:pt x="10" y="17"/>
                        <a:pt x="3" y="16"/>
                        <a:pt x="3" y="21"/>
                      </a:cubicBezTo>
                      <a:cubicBezTo>
                        <a:pt x="3" y="22"/>
                        <a:pt x="5" y="22"/>
                        <a:pt x="6" y="22"/>
                      </a:cubicBezTo>
                      <a:cubicBezTo>
                        <a:pt x="7" y="22"/>
                        <a:pt x="8" y="22"/>
                        <a:pt x="8" y="21"/>
                      </a:cubicBezTo>
                      <a:cubicBezTo>
                        <a:pt x="8" y="20"/>
                        <a:pt x="8" y="19"/>
                        <a:pt x="8" y="19"/>
                      </a:cubicBezTo>
                      <a:cubicBezTo>
                        <a:pt x="8" y="19"/>
                        <a:pt x="8" y="18"/>
                        <a:pt x="9" y="17"/>
                      </a:cubicBezTo>
                      <a:cubicBezTo>
                        <a:pt x="10" y="17"/>
                        <a:pt x="12" y="18"/>
                        <a:pt x="12" y="17"/>
                      </a:cubicBezTo>
                      <a:cubicBezTo>
                        <a:pt x="12" y="15"/>
                        <a:pt x="10" y="15"/>
                        <a:pt x="10" y="15"/>
                      </a:cubicBezTo>
                      <a:cubicBezTo>
                        <a:pt x="10" y="14"/>
                        <a:pt x="11" y="14"/>
                        <a:pt x="12" y="13"/>
                      </a:cubicBezTo>
                      <a:cubicBezTo>
                        <a:pt x="14" y="12"/>
                        <a:pt x="15" y="10"/>
                        <a:pt x="18" y="10"/>
                      </a:cubicBezTo>
                      <a:cubicBezTo>
                        <a:pt x="21" y="10"/>
                        <a:pt x="21" y="12"/>
                        <a:pt x="21" y="14"/>
                      </a:cubicBezTo>
                      <a:cubicBezTo>
                        <a:pt x="21" y="17"/>
                        <a:pt x="18" y="19"/>
                        <a:pt x="16" y="21"/>
                      </a:cubicBezTo>
                      <a:cubicBezTo>
                        <a:pt x="14" y="21"/>
                        <a:pt x="13" y="22"/>
                        <a:pt x="13" y="24"/>
                      </a:cubicBezTo>
                      <a:cubicBezTo>
                        <a:pt x="13" y="27"/>
                        <a:pt x="20" y="25"/>
                        <a:pt x="20" y="29"/>
                      </a:cubicBezTo>
                      <a:cubicBezTo>
                        <a:pt x="20" y="31"/>
                        <a:pt x="22" y="31"/>
                        <a:pt x="23" y="32"/>
                      </a:cubicBezTo>
                      <a:cubicBezTo>
                        <a:pt x="23" y="32"/>
                        <a:pt x="22" y="32"/>
                        <a:pt x="22" y="32"/>
                      </a:cubicBezTo>
                      <a:cubicBezTo>
                        <a:pt x="21" y="32"/>
                        <a:pt x="21" y="32"/>
                        <a:pt x="20" y="31"/>
                      </a:cubicBezTo>
                      <a:cubicBezTo>
                        <a:pt x="20" y="31"/>
                        <a:pt x="19" y="31"/>
                        <a:pt x="18" y="31"/>
                      </a:cubicBezTo>
                      <a:cubicBezTo>
                        <a:pt x="18" y="31"/>
                        <a:pt x="17" y="30"/>
                        <a:pt x="17" y="30"/>
                      </a:cubicBezTo>
                      <a:cubicBezTo>
                        <a:pt x="16" y="29"/>
                        <a:pt x="9" y="28"/>
                        <a:pt x="9" y="28"/>
                      </a:cubicBezTo>
                      <a:cubicBezTo>
                        <a:pt x="8" y="28"/>
                        <a:pt x="7" y="29"/>
                        <a:pt x="7" y="30"/>
                      </a:cubicBezTo>
                      <a:lnTo>
                        <a:pt x="7" y="30"/>
                      </a:lnTo>
                      <a:lnTo>
                        <a:pt x="8" y="33"/>
                      </a:lnTo>
                      <a:lnTo>
                        <a:pt x="8" y="33"/>
                      </a:lnTo>
                      <a:cubicBezTo>
                        <a:pt x="8" y="33"/>
                        <a:pt x="8" y="34"/>
                        <a:pt x="8" y="35"/>
                      </a:cubicBezTo>
                      <a:cubicBezTo>
                        <a:pt x="8" y="42"/>
                        <a:pt x="13" y="47"/>
                        <a:pt x="15" y="51"/>
                      </a:cubicBezTo>
                      <a:cubicBezTo>
                        <a:pt x="14" y="50"/>
                        <a:pt x="12" y="51"/>
                        <a:pt x="12" y="49"/>
                      </a:cubicBezTo>
                      <a:lnTo>
                        <a:pt x="12" y="49"/>
                      </a:lnTo>
                      <a:lnTo>
                        <a:pt x="12" y="4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2" name="Freeform 172"/>
                <p:cNvSpPr>
                  <a:spLocks/>
                </p:cNvSpPr>
                <p:nvPr>
                  <p:custDataLst>
                    <p:tags r:id="rId158"/>
                  </p:custDataLst>
                </p:nvPr>
              </p:nvSpPr>
              <p:spPr bwMode="gray">
                <a:xfrm>
                  <a:off x="7643925" y="2448342"/>
                  <a:ext cx="40898" cy="102214"/>
                </a:xfrm>
                <a:custGeom>
                  <a:avLst/>
                  <a:gdLst>
                    <a:gd name="T0" fmla="*/ 1 w 4"/>
                    <a:gd name="T1" fmla="*/ 6 h 9"/>
                    <a:gd name="T2" fmla="*/ 0 w 4"/>
                    <a:gd name="T3" fmla="*/ 3 h 9"/>
                    <a:gd name="T4" fmla="*/ 0 w 4"/>
                    <a:gd name="T5" fmla="*/ 3 h 9"/>
                    <a:gd name="T6" fmla="*/ 1 w 4"/>
                    <a:gd name="T7" fmla="*/ 0 h 9"/>
                    <a:gd name="T8" fmla="*/ 2 w 4"/>
                    <a:gd name="T9" fmla="*/ 0 h 9"/>
                    <a:gd name="T10" fmla="*/ 2 w 4"/>
                    <a:gd name="T11" fmla="*/ 0 h 9"/>
                    <a:gd name="T12" fmla="*/ 4 w 4"/>
                    <a:gd name="T13" fmla="*/ 5 h 9"/>
                    <a:gd name="T14" fmla="*/ 3 w 4"/>
                    <a:gd name="T15" fmla="*/ 6 h 9"/>
                    <a:gd name="T16" fmla="*/ 3 w 4"/>
                    <a:gd name="T17" fmla="*/ 9 h 9"/>
                    <a:gd name="T18" fmla="*/ 1 w 4"/>
                    <a:gd name="T19" fmla="*/ 9 h 9"/>
                    <a:gd name="T20" fmla="*/ 1 w 4"/>
                    <a:gd name="T21" fmla="*/ 9 h 9"/>
                    <a:gd name="T22" fmla="*/ 0 w 4"/>
                    <a:gd name="T23" fmla="*/ 9 h 9"/>
                    <a:gd name="T24" fmla="*/ 0 w 4"/>
                    <a:gd name="T25" fmla="*/ 9 h 9"/>
                    <a:gd name="T26" fmla="*/ 1 w 4"/>
                    <a:gd name="T27" fmla="*/ 6 h 9"/>
                    <a:gd name="T28" fmla="*/ 1 w 4"/>
                    <a:gd name="T29" fmla="*/ 6 h 9"/>
                    <a:gd name="T30" fmla="*/ 1 w 4"/>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9">
                      <a:moveTo>
                        <a:pt x="1" y="6"/>
                      </a:moveTo>
                      <a:cubicBezTo>
                        <a:pt x="1" y="5"/>
                        <a:pt x="0" y="4"/>
                        <a:pt x="0" y="3"/>
                      </a:cubicBezTo>
                      <a:lnTo>
                        <a:pt x="0" y="3"/>
                      </a:lnTo>
                      <a:lnTo>
                        <a:pt x="1" y="0"/>
                      </a:lnTo>
                      <a:lnTo>
                        <a:pt x="2" y="0"/>
                      </a:lnTo>
                      <a:lnTo>
                        <a:pt x="2" y="0"/>
                      </a:lnTo>
                      <a:cubicBezTo>
                        <a:pt x="3" y="2"/>
                        <a:pt x="4" y="3"/>
                        <a:pt x="4" y="5"/>
                      </a:cubicBezTo>
                      <a:cubicBezTo>
                        <a:pt x="4" y="5"/>
                        <a:pt x="3" y="6"/>
                        <a:pt x="3" y="6"/>
                      </a:cubicBezTo>
                      <a:cubicBezTo>
                        <a:pt x="2" y="7"/>
                        <a:pt x="3" y="8"/>
                        <a:pt x="3" y="9"/>
                      </a:cubicBezTo>
                      <a:cubicBezTo>
                        <a:pt x="3" y="9"/>
                        <a:pt x="2" y="9"/>
                        <a:pt x="1" y="9"/>
                      </a:cubicBezTo>
                      <a:lnTo>
                        <a:pt x="1" y="9"/>
                      </a:lnTo>
                      <a:lnTo>
                        <a:pt x="0" y="9"/>
                      </a:lnTo>
                      <a:lnTo>
                        <a:pt x="0" y="9"/>
                      </a:lnTo>
                      <a:cubicBezTo>
                        <a:pt x="0" y="7"/>
                        <a:pt x="1" y="7"/>
                        <a:pt x="1" y="6"/>
                      </a:cubicBezTo>
                      <a:lnTo>
                        <a:pt x="1" y="6"/>
                      </a:lnTo>
                      <a:lnTo>
                        <a:pt x="1"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3" name="Freeform 173"/>
                <p:cNvSpPr>
                  <a:spLocks/>
                </p:cNvSpPr>
                <p:nvPr>
                  <p:custDataLst>
                    <p:tags r:id="rId159"/>
                  </p:custDataLst>
                </p:nvPr>
              </p:nvSpPr>
              <p:spPr bwMode="gray">
                <a:xfrm>
                  <a:off x="7635464" y="2426327"/>
                  <a:ext cx="8461" cy="22015"/>
                </a:xfrm>
                <a:custGeom>
                  <a:avLst/>
                  <a:gdLst>
                    <a:gd name="T0" fmla="*/ 0 w 7"/>
                    <a:gd name="T1" fmla="*/ 14 h 14"/>
                    <a:gd name="T2" fmla="*/ 7 w 7"/>
                    <a:gd name="T3" fmla="*/ 7 h 14"/>
                    <a:gd name="T4" fmla="*/ 7 w 7"/>
                    <a:gd name="T5" fmla="*/ 7 h 14"/>
                    <a:gd name="T6" fmla="*/ 0 w 7"/>
                    <a:gd name="T7" fmla="*/ 0 h 14"/>
                    <a:gd name="T8" fmla="*/ 0 w 7"/>
                    <a:gd name="T9" fmla="*/ 14 h 14"/>
                    <a:gd name="T10" fmla="*/ 0 w 7"/>
                    <a:gd name="T11" fmla="*/ 14 h 14"/>
                    <a:gd name="T12" fmla="*/ 0 w 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0" y="14"/>
                      </a:moveTo>
                      <a:cubicBezTo>
                        <a:pt x="7" y="14"/>
                        <a:pt x="7" y="7"/>
                        <a:pt x="7" y="7"/>
                      </a:cubicBezTo>
                      <a:lnTo>
                        <a:pt x="7" y="7"/>
                      </a:lnTo>
                      <a:lnTo>
                        <a:pt x="0" y="0"/>
                      </a:lnTo>
                      <a:cubicBezTo>
                        <a:pt x="7" y="7"/>
                        <a:pt x="0" y="7"/>
                        <a:pt x="0" y="14"/>
                      </a:cubicBezTo>
                      <a:lnTo>
                        <a:pt x="0" y="14"/>
                      </a:lnTo>
                      <a:lnTo>
                        <a:pt x="0" y="1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4" name="Freeform 174"/>
                <p:cNvSpPr>
                  <a:spLocks/>
                </p:cNvSpPr>
                <p:nvPr>
                  <p:custDataLst>
                    <p:tags r:id="rId160"/>
                  </p:custDataLst>
                </p:nvPr>
              </p:nvSpPr>
              <p:spPr bwMode="gray">
                <a:xfrm>
                  <a:off x="7665080" y="2582004"/>
                  <a:ext cx="9871" cy="23588"/>
                </a:xfrm>
                <a:custGeom>
                  <a:avLst/>
                  <a:gdLst>
                    <a:gd name="T0" fmla="*/ 1 w 1"/>
                    <a:gd name="T1" fmla="*/ 2 h 2"/>
                    <a:gd name="T2" fmla="*/ 1 w 1"/>
                    <a:gd name="T3" fmla="*/ 1 h 2"/>
                    <a:gd name="T4" fmla="*/ 1 w 1"/>
                    <a:gd name="T5" fmla="*/ 0 h 2"/>
                    <a:gd name="T6" fmla="*/ 0 w 1"/>
                    <a:gd name="T7" fmla="*/ 0 h 2"/>
                    <a:gd name="T8" fmla="*/ 1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cubicBezTo>
                        <a:pt x="1" y="2"/>
                        <a:pt x="1" y="1"/>
                        <a:pt x="1" y="1"/>
                      </a:cubicBezTo>
                      <a:cubicBezTo>
                        <a:pt x="1" y="1"/>
                        <a:pt x="1" y="0"/>
                        <a:pt x="1" y="0"/>
                      </a:cubicBezTo>
                      <a:cubicBezTo>
                        <a:pt x="0" y="0"/>
                        <a:pt x="0" y="0"/>
                        <a:pt x="0" y="0"/>
                      </a:cubicBezTo>
                      <a:cubicBezTo>
                        <a:pt x="0" y="1"/>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5" name="Freeform 175"/>
                <p:cNvSpPr>
                  <a:spLocks/>
                </p:cNvSpPr>
                <p:nvPr>
                  <p:custDataLst>
                    <p:tags r:id="rId161"/>
                  </p:custDataLst>
                </p:nvPr>
              </p:nvSpPr>
              <p:spPr bwMode="gray">
                <a:xfrm>
                  <a:off x="7635463" y="2550556"/>
                  <a:ext cx="18334" cy="20443"/>
                </a:xfrm>
                <a:custGeom>
                  <a:avLst/>
                  <a:gdLst>
                    <a:gd name="T0" fmla="*/ 1 w 2"/>
                    <a:gd name="T1" fmla="*/ 2 h 2"/>
                    <a:gd name="T2" fmla="*/ 2 w 2"/>
                    <a:gd name="T3" fmla="*/ 2 h 2"/>
                    <a:gd name="T4" fmla="*/ 2 w 2"/>
                    <a:gd name="T5" fmla="*/ 2 h 2"/>
                    <a:gd name="T6" fmla="*/ 0 w 2"/>
                    <a:gd name="T7" fmla="*/ 0 h 2"/>
                    <a:gd name="T8" fmla="*/ 1 w 2"/>
                    <a:gd name="T9" fmla="*/ 2 h 2"/>
                    <a:gd name="T10" fmla="*/ 1 w 2"/>
                    <a:gd name="T11" fmla="*/ 2 h 2"/>
                    <a:gd name="T12" fmla="*/ 1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1" y="2"/>
                      </a:moveTo>
                      <a:lnTo>
                        <a:pt x="2" y="2"/>
                      </a:lnTo>
                      <a:lnTo>
                        <a:pt x="2" y="2"/>
                      </a:lnTo>
                      <a:cubicBezTo>
                        <a:pt x="2" y="1"/>
                        <a:pt x="1" y="1"/>
                        <a:pt x="0" y="0"/>
                      </a:cubicBezTo>
                      <a:cubicBezTo>
                        <a:pt x="1"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6" name="Freeform 176"/>
                <p:cNvSpPr>
                  <a:spLocks/>
                </p:cNvSpPr>
                <p:nvPr>
                  <p:custDataLst>
                    <p:tags r:id="rId162"/>
                  </p:custDataLst>
                </p:nvPr>
              </p:nvSpPr>
              <p:spPr bwMode="gray">
                <a:xfrm>
                  <a:off x="7454948" y="2627607"/>
                  <a:ext cx="28206" cy="45602"/>
                </a:xfrm>
                <a:custGeom>
                  <a:avLst/>
                  <a:gdLst>
                    <a:gd name="T0" fmla="*/ 2 w 3"/>
                    <a:gd name="T1" fmla="*/ 4 h 4"/>
                    <a:gd name="T2" fmla="*/ 3 w 3"/>
                    <a:gd name="T3" fmla="*/ 3 h 4"/>
                    <a:gd name="T4" fmla="*/ 0 w 3"/>
                    <a:gd name="T5" fmla="*/ 0 h 4"/>
                    <a:gd name="T6" fmla="*/ 2 w 3"/>
                    <a:gd name="T7" fmla="*/ 4 h 4"/>
                    <a:gd name="T8" fmla="*/ 2 w 3"/>
                    <a:gd name="T9" fmla="*/ 4 h 4"/>
                    <a:gd name="T10" fmla="*/ 2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2" y="4"/>
                      </a:moveTo>
                      <a:cubicBezTo>
                        <a:pt x="2" y="4"/>
                        <a:pt x="2" y="3"/>
                        <a:pt x="3" y="3"/>
                      </a:cubicBezTo>
                      <a:cubicBezTo>
                        <a:pt x="2" y="2"/>
                        <a:pt x="2" y="1"/>
                        <a:pt x="0" y="0"/>
                      </a:cubicBezTo>
                      <a:cubicBezTo>
                        <a:pt x="0" y="1"/>
                        <a:pt x="1" y="4"/>
                        <a:pt x="2" y="4"/>
                      </a:cubicBezTo>
                      <a:lnTo>
                        <a:pt x="2" y="4"/>
                      </a:lnTo>
                      <a:lnTo>
                        <a:pt x="2"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7" name="Freeform 177"/>
                <p:cNvSpPr>
                  <a:spLocks/>
                </p:cNvSpPr>
                <p:nvPr>
                  <p:custDataLst>
                    <p:tags r:id="rId163"/>
                  </p:custDataLst>
                </p:nvPr>
              </p:nvSpPr>
              <p:spPr bwMode="gray">
                <a:xfrm>
                  <a:off x="5824676" y="2292663"/>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1" y="0"/>
                        <a:pt x="1" y="0"/>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8" name="Freeform 178"/>
                <p:cNvSpPr>
                  <a:spLocks/>
                </p:cNvSpPr>
                <p:nvPr>
                  <p:custDataLst>
                    <p:tags r:id="rId164"/>
                  </p:custDataLst>
                </p:nvPr>
              </p:nvSpPr>
              <p:spPr bwMode="gray">
                <a:xfrm>
                  <a:off x="4317095" y="2739257"/>
                  <a:ext cx="21154" cy="34595"/>
                </a:xfrm>
                <a:custGeom>
                  <a:avLst/>
                  <a:gdLst>
                    <a:gd name="T0" fmla="*/ 0 w 2"/>
                    <a:gd name="T1" fmla="*/ 3 h 3"/>
                    <a:gd name="T2" fmla="*/ 0 w 2"/>
                    <a:gd name="T3" fmla="*/ 0 h 3"/>
                    <a:gd name="T4" fmla="*/ 0 w 2"/>
                    <a:gd name="T5" fmla="*/ 0 h 3"/>
                    <a:gd name="T6" fmla="*/ 2 w 2"/>
                    <a:gd name="T7" fmla="*/ 0 h 3"/>
                    <a:gd name="T8" fmla="*/ 0 w 2"/>
                    <a:gd name="T9" fmla="*/ 3 h 3"/>
                    <a:gd name="T10" fmla="*/ 0 w 2"/>
                    <a:gd name="T11" fmla="*/ 3 h 3"/>
                    <a:gd name="T12" fmla="*/ 0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3"/>
                      </a:moveTo>
                      <a:lnTo>
                        <a:pt x="0" y="0"/>
                      </a:lnTo>
                      <a:lnTo>
                        <a:pt x="0" y="0"/>
                      </a:lnTo>
                      <a:cubicBezTo>
                        <a:pt x="1" y="0"/>
                        <a:pt x="2" y="0"/>
                        <a:pt x="2" y="0"/>
                      </a:cubicBezTo>
                      <a:cubicBezTo>
                        <a:pt x="2" y="1"/>
                        <a:pt x="2"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49" name="Freeform 179"/>
                <p:cNvSpPr>
                  <a:spLocks/>
                </p:cNvSpPr>
                <p:nvPr>
                  <p:custDataLst>
                    <p:tags r:id="rId165"/>
                  </p:custDataLst>
                </p:nvPr>
              </p:nvSpPr>
              <p:spPr bwMode="gray">
                <a:xfrm>
                  <a:off x="4418635" y="2662204"/>
                  <a:ext cx="8461"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2"/>
                        <a:pt x="1" y="2"/>
                        <a:pt x="0"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0" name="Freeform 180"/>
                <p:cNvSpPr>
                  <a:spLocks/>
                </p:cNvSpPr>
                <p:nvPr>
                  <p:custDataLst>
                    <p:tags r:id="rId166"/>
                  </p:custDataLst>
                </p:nvPr>
              </p:nvSpPr>
              <p:spPr bwMode="gray">
                <a:xfrm>
                  <a:off x="4408763" y="2695226"/>
                  <a:ext cx="9872" cy="12580"/>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1" name="Freeform 181"/>
                <p:cNvSpPr>
                  <a:spLocks/>
                </p:cNvSpPr>
                <p:nvPr>
                  <p:custDataLst>
                    <p:tags r:id="rId167"/>
                  </p:custDataLst>
                </p:nvPr>
              </p:nvSpPr>
              <p:spPr bwMode="gray">
                <a:xfrm>
                  <a:off x="4408763" y="2718814"/>
                  <a:ext cx="18334" cy="11008"/>
                </a:xfrm>
                <a:custGeom>
                  <a:avLst/>
                  <a:gdLst>
                    <a:gd name="T0" fmla="*/ 0 w 2"/>
                    <a:gd name="T1" fmla="*/ 0 h 1"/>
                    <a:gd name="T2" fmla="*/ 1 w 2"/>
                    <a:gd name="T3" fmla="*/ 0 h 1"/>
                    <a:gd name="T4" fmla="*/ 2 w 2"/>
                    <a:gd name="T5" fmla="*/ 0 h 1"/>
                    <a:gd name="T6" fmla="*/ 1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0" y="0"/>
                        <a:pt x="1" y="0"/>
                      </a:cubicBezTo>
                      <a:cubicBezTo>
                        <a:pt x="1" y="0"/>
                        <a:pt x="2" y="0"/>
                        <a:pt x="2" y="0"/>
                      </a:cubicBezTo>
                      <a:cubicBezTo>
                        <a:pt x="2"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2" name="Freeform 182"/>
                <p:cNvSpPr>
                  <a:spLocks/>
                </p:cNvSpPr>
                <p:nvPr>
                  <p:custDataLst>
                    <p:tags r:id="rId168"/>
                  </p:custDataLst>
                </p:nvPr>
              </p:nvSpPr>
              <p:spPr bwMode="gray">
                <a:xfrm>
                  <a:off x="4398892" y="2673210"/>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3" name="Freeform 183"/>
                <p:cNvSpPr>
                  <a:spLocks/>
                </p:cNvSpPr>
                <p:nvPr>
                  <p:custDataLst>
                    <p:tags r:id="rId169"/>
                  </p:custDataLst>
                </p:nvPr>
              </p:nvSpPr>
              <p:spPr bwMode="gray">
                <a:xfrm>
                  <a:off x="4287480" y="2863484"/>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4" name="Freeform 184"/>
                <p:cNvSpPr>
                  <a:spLocks/>
                </p:cNvSpPr>
                <p:nvPr>
                  <p:custDataLst>
                    <p:tags r:id="rId170"/>
                  </p:custDataLst>
                </p:nvPr>
              </p:nvSpPr>
              <p:spPr bwMode="gray">
                <a:xfrm>
                  <a:off x="4840306" y="2817881"/>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5" name="Freeform 185"/>
                <p:cNvSpPr>
                  <a:spLocks/>
                </p:cNvSpPr>
                <p:nvPr>
                  <p:custDataLst>
                    <p:tags r:id="rId171"/>
                  </p:custDataLst>
                </p:nvPr>
              </p:nvSpPr>
              <p:spPr bwMode="gray">
                <a:xfrm>
                  <a:off x="4820562" y="2750263"/>
                  <a:ext cx="9872" cy="23588"/>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1" y="0"/>
                      </a:cubicBezTo>
                      <a:cubicBezTo>
                        <a:pt x="1" y="0"/>
                        <a:pt x="1" y="0"/>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6" name="Freeform 186"/>
                <p:cNvSpPr>
                  <a:spLocks/>
                </p:cNvSpPr>
                <p:nvPr>
                  <p:custDataLst>
                    <p:tags r:id="rId172"/>
                  </p:custDataLst>
                </p:nvPr>
              </p:nvSpPr>
              <p:spPr bwMode="gray">
                <a:xfrm>
                  <a:off x="4679535" y="2415318"/>
                  <a:ext cx="9872" cy="11009"/>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7" name="Freeform 187"/>
                <p:cNvSpPr>
                  <a:spLocks/>
                </p:cNvSpPr>
                <p:nvPr>
                  <p:custDataLst>
                    <p:tags r:id="rId173"/>
                  </p:custDataLst>
                </p:nvPr>
              </p:nvSpPr>
              <p:spPr bwMode="gray">
                <a:xfrm>
                  <a:off x="4689407" y="2515959"/>
                  <a:ext cx="60642" cy="100641"/>
                </a:xfrm>
                <a:custGeom>
                  <a:avLst/>
                  <a:gdLst>
                    <a:gd name="T0" fmla="*/ 2 w 6"/>
                    <a:gd name="T1" fmla="*/ 9 h 9"/>
                    <a:gd name="T2" fmla="*/ 2 w 6"/>
                    <a:gd name="T3" fmla="*/ 7 h 9"/>
                    <a:gd name="T4" fmla="*/ 2 w 6"/>
                    <a:gd name="T5" fmla="*/ 7 h 9"/>
                    <a:gd name="T6" fmla="*/ 0 w 6"/>
                    <a:gd name="T7" fmla="*/ 3 h 9"/>
                    <a:gd name="T8" fmla="*/ 3 w 6"/>
                    <a:gd name="T9" fmla="*/ 0 h 9"/>
                    <a:gd name="T10" fmla="*/ 3 w 6"/>
                    <a:gd name="T11" fmla="*/ 0 h 9"/>
                    <a:gd name="T12" fmla="*/ 4 w 6"/>
                    <a:gd name="T13" fmla="*/ 0 h 9"/>
                    <a:gd name="T14" fmla="*/ 4 w 6"/>
                    <a:gd name="T15" fmla="*/ 0 h 9"/>
                    <a:gd name="T16" fmla="*/ 6 w 6"/>
                    <a:gd name="T17" fmla="*/ 4 h 9"/>
                    <a:gd name="T18" fmla="*/ 2 w 6"/>
                    <a:gd name="T19" fmla="*/ 9 h 9"/>
                    <a:gd name="T20" fmla="*/ 2 w 6"/>
                    <a:gd name="T21" fmla="*/ 9 h 9"/>
                    <a:gd name="T22" fmla="*/ 2 w 6"/>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9">
                      <a:moveTo>
                        <a:pt x="2" y="9"/>
                      </a:moveTo>
                      <a:lnTo>
                        <a:pt x="2" y="7"/>
                      </a:lnTo>
                      <a:lnTo>
                        <a:pt x="2" y="7"/>
                      </a:lnTo>
                      <a:cubicBezTo>
                        <a:pt x="2" y="6"/>
                        <a:pt x="0" y="5"/>
                        <a:pt x="0" y="3"/>
                      </a:cubicBezTo>
                      <a:cubicBezTo>
                        <a:pt x="0" y="2"/>
                        <a:pt x="3" y="1"/>
                        <a:pt x="3" y="0"/>
                      </a:cubicBezTo>
                      <a:lnTo>
                        <a:pt x="3" y="0"/>
                      </a:lnTo>
                      <a:lnTo>
                        <a:pt x="4" y="0"/>
                      </a:lnTo>
                      <a:lnTo>
                        <a:pt x="4" y="0"/>
                      </a:lnTo>
                      <a:cubicBezTo>
                        <a:pt x="4" y="2"/>
                        <a:pt x="6" y="2"/>
                        <a:pt x="6" y="4"/>
                      </a:cubicBezTo>
                      <a:cubicBezTo>
                        <a:pt x="6" y="8"/>
                        <a:pt x="5" y="9"/>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8" name="Freeform 188"/>
                <p:cNvSpPr>
                  <a:spLocks/>
                </p:cNvSpPr>
                <p:nvPr>
                  <p:custDataLst>
                    <p:tags r:id="rId174"/>
                  </p:custDataLst>
                </p:nvPr>
              </p:nvSpPr>
              <p:spPr bwMode="gray">
                <a:xfrm>
                  <a:off x="4609022" y="3108796"/>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1" y="0"/>
                        <a:pt x="1" y="0"/>
                      </a:cubicBezTo>
                      <a:cubicBezTo>
                        <a:pt x="1" y="0"/>
                        <a:pt x="1" y="0"/>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59" name="Freeform 189"/>
                <p:cNvSpPr>
                  <a:spLocks/>
                </p:cNvSpPr>
                <p:nvPr>
                  <p:custDataLst>
                    <p:tags r:id="rId175"/>
                  </p:custDataLst>
                </p:nvPr>
              </p:nvSpPr>
              <p:spPr bwMode="gray">
                <a:xfrm>
                  <a:off x="4799409" y="3154400"/>
                  <a:ext cx="1410" cy="11009"/>
                </a:xfrm>
                <a:custGeom>
                  <a:avLst/>
                  <a:gdLst>
                    <a:gd name="T0" fmla="*/ 1 h 1"/>
                    <a:gd name="T1" fmla="*/ 0 h 1"/>
                    <a:gd name="T2" fmla="*/ 1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0"/>
                        <a:pt x="0" y="0"/>
                        <a:pt x="0" y="0"/>
                      </a:cubicBezTo>
                      <a:cubicBezTo>
                        <a:pt x="0" y="0"/>
                        <a:pt x="0" y="0"/>
                        <a:pt x="0" y="1"/>
                      </a:cubicBezTo>
                      <a:cubicBezTo>
                        <a:pt x="0"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0" name="Freeform 190"/>
                <p:cNvSpPr>
                  <a:spLocks/>
                </p:cNvSpPr>
                <p:nvPr>
                  <p:custDataLst>
                    <p:tags r:id="rId176"/>
                  </p:custDataLst>
                </p:nvPr>
              </p:nvSpPr>
              <p:spPr bwMode="gray">
                <a:xfrm>
                  <a:off x="4820562" y="3602565"/>
                  <a:ext cx="19744" cy="12580"/>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0" y="0"/>
                        <a:pt x="1" y="0"/>
                      </a:cubicBezTo>
                      <a:cubicBezTo>
                        <a:pt x="1" y="0"/>
                        <a:pt x="2" y="0"/>
                        <a:pt x="2" y="1"/>
                      </a:cubicBezTo>
                      <a:cubicBezTo>
                        <a:pt x="2"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1" name="Freeform 191"/>
                <p:cNvSpPr>
                  <a:spLocks/>
                </p:cNvSpPr>
                <p:nvPr>
                  <p:custDataLst>
                    <p:tags r:id="rId177"/>
                  </p:custDataLst>
                </p:nvPr>
              </p:nvSpPr>
              <p:spPr bwMode="gray">
                <a:xfrm>
                  <a:off x="4869922" y="3534947"/>
                  <a:ext cx="11282" cy="23588"/>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0" y="0"/>
                        <a:pt x="1" y="0"/>
                        <a:pt x="1" y="1"/>
                      </a:cubicBezTo>
                      <a:cubicBezTo>
                        <a:pt x="1"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2" name="Freeform 192"/>
                <p:cNvSpPr>
                  <a:spLocks/>
                </p:cNvSpPr>
                <p:nvPr>
                  <p:custDataLst>
                    <p:tags r:id="rId178"/>
                  </p:custDataLst>
                </p:nvPr>
              </p:nvSpPr>
              <p:spPr bwMode="gray">
                <a:xfrm>
                  <a:off x="4589277" y="3836870"/>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1"/>
                        <a:pt x="2"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3" name="Freeform 193"/>
                <p:cNvSpPr>
                  <a:spLocks/>
                </p:cNvSpPr>
                <p:nvPr>
                  <p:custDataLst>
                    <p:tags r:id="rId179"/>
                  </p:custDataLst>
                </p:nvPr>
              </p:nvSpPr>
              <p:spPr bwMode="gray">
                <a:xfrm>
                  <a:off x="4538508" y="3849450"/>
                  <a:ext cx="9872" cy="11009"/>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0"/>
                        <a:pt x="1" y="1"/>
                        <a:pt x="0"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4" name="Freeform 194"/>
                <p:cNvSpPr>
                  <a:spLocks/>
                </p:cNvSpPr>
                <p:nvPr>
                  <p:custDataLst>
                    <p:tags r:id="rId180"/>
                  </p:custDataLst>
                </p:nvPr>
              </p:nvSpPr>
              <p:spPr bwMode="gray">
                <a:xfrm>
                  <a:off x="5424158" y="4387250"/>
                  <a:ext cx="1833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5" name="Freeform 195"/>
                <p:cNvSpPr>
                  <a:spLocks/>
                </p:cNvSpPr>
                <p:nvPr>
                  <p:custDataLst>
                    <p:tags r:id="rId181"/>
                  </p:custDataLst>
                </p:nvPr>
              </p:nvSpPr>
              <p:spPr bwMode="gray">
                <a:xfrm>
                  <a:off x="5685059" y="4634135"/>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6" name="Freeform 196"/>
                <p:cNvSpPr>
                  <a:spLocks/>
                </p:cNvSpPr>
                <p:nvPr>
                  <p:custDataLst>
                    <p:tags r:id="rId182"/>
                  </p:custDataLst>
                </p:nvPr>
              </p:nvSpPr>
              <p:spPr bwMode="gray">
                <a:xfrm>
                  <a:off x="5714674" y="4645142"/>
                  <a:ext cx="21155" cy="11009"/>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1"/>
                        <a:pt x="1" y="0"/>
                        <a:pt x="1" y="0"/>
                      </a:cubicBezTo>
                      <a:cubicBezTo>
                        <a:pt x="2" y="0"/>
                        <a:pt x="2" y="1"/>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7" name="Freeform 197"/>
                <p:cNvSpPr>
                  <a:spLocks/>
                </p:cNvSpPr>
                <p:nvPr>
                  <p:custDataLst>
                    <p:tags r:id="rId183"/>
                  </p:custDataLst>
                </p:nvPr>
              </p:nvSpPr>
              <p:spPr bwMode="gray">
                <a:xfrm>
                  <a:off x="5434031" y="4599538"/>
                  <a:ext cx="210130" cy="67618"/>
                </a:xfrm>
                <a:custGeom>
                  <a:avLst/>
                  <a:gdLst>
                    <a:gd name="T0" fmla="*/ 0 w 21"/>
                    <a:gd name="T1" fmla="*/ 4 h 6"/>
                    <a:gd name="T2" fmla="*/ 4 w 21"/>
                    <a:gd name="T3" fmla="*/ 1 h 6"/>
                    <a:gd name="T4" fmla="*/ 8 w 21"/>
                    <a:gd name="T5" fmla="*/ 0 h 6"/>
                    <a:gd name="T6" fmla="*/ 8 w 21"/>
                    <a:gd name="T7" fmla="*/ 0 h 6"/>
                    <a:gd name="T8" fmla="*/ 17 w 21"/>
                    <a:gd name="T9" fmla="*/ 0 h 6"/>
                    <a:gd name="T10" fmla="*/ 17 w 21"/>
                    <a:gd name="T11" fmla="*/ 0 h 6"/>
                    <a:gd name="T12" fmla="*/ 21 w 21"/>
                    <a:gd name="T13" fmla="*/ 1 h 6"/>
                    <a:gd name="T14" fmla="*/ 18 w 21"/>
                    <a:gd name="T15" fmla="*/ 5 h 6"/>
                    <a:gd name="T16" fmla="*/ 16 w 21"/>
                    <a:gd name="T17" fmla="*/ 4 h 6"/>
                    <a:gd name="T18" fmla="*/ 11 w 21"/>
                    <a:gd name="T19" fmla="*/ 6 h 6"/>
                    <a:gd name="T20" fmla="*/ 4 w 21"/>
                    <a:gd name="T21" fmla="*/ 6 h 6"/>
                    <a:gd name="T22" fmla="*/ 3 w 21"/>
                    <a:gd name="T23" fmla="*/ 5 h 6"/>
                    <a:gd name="T24" fmla="*/ 0 w 21"/>
                    <a:gd name="T25" fmla="*/ 4 h 6"/>
                    <a:gd name="T26" fmla="*/ 0 w 21"/>
                    <a:gd name="T27" fmla="*/ 4 h 6"/>
                    <a:gd name="T28" fmla="*/ 0 w 21"/>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
                      <a:moveTo>
                        <a:pt x="0" y="4"/>
                      </a:moveTo>
                      <a:cubicBezTo>
                        <a:pt x="1" y="1"/>
                        <a:pt x="2" y="1"/>
                        <a:pt x="4" y="1"/>
                      </a:cubicBezTo>
                      <a:cubicBezTo>
                        <a:pt x="5" y="0"/>
                        <a:pt x="7" y="0"/>
                        <a:pt x="8" y="0"/>
                      </a:cubicBezTo>
                      <a:lnTo>
                        <a:pt x="8" y="0"/>
                      </a:lnTo>
                      <a:lnTo>
                        <a:pt x="17" y="0"/>
                      </a:lnTo>
                      <a:lnTo>
                        <a:pt x="17" y="0"/>
                      </a:lnTo>
                      <a:cubicBezTo>
                        <a:pt x="19" y="0"/>
                        <a:pt x="20" y="0"/>
                        <a:pt x="21" y="1"/>
                      </a:cubicBezTo>
                      <a:cubicBezTo>
                        <a:pt x="20" y="3"/>
                        <a:pt x="19" y="5"/>
                        <a:pt x="18" y="5"/>
                      </a:cubicBezTo>
                      <a:cubicBezTo>
                        <a:pt x="17" y="5"/>
                        <a:pt x="16" y="4"/>
                        <a:pt x="16" y="4"/>
                      </a:cubicBezTo>
                      <a:cubicBezTo>
                        <a:pt x="14" y="4"/>
                        <a:pt x="13" y="6"/>
                        <a:pt x="11" y="6"/>
                      </a:cubicBezTo>
                      <a:cubicBezTo>
                        <a:pt x="9" y="6"/>
                        <a:pt x="6" y="6"/>
                        <a:pt x="4" y="6"/>
                      </a:cubicBezTo>
                      <a:cubicBezTo>
                        <a:pt x="4" y="6"/>
                        <a:pt x="3" y="6"/>
                        <a:pt x="3" y="5"/>
                      </a:cubicBezTo>
                      <a:cubicBezTo>
                        <a:pt x="0" y="6"/>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8" name="Freeform 198"/>
                <p:cNvSpPr>
                  <a:spLocks/>
                </p:cNvSpPr>
                <p:nvPr>
                  <p:custDataLst>
                    <p:tags r:id="rId184"/>
                  </p:custDataLst>
                </p:nvPr>
              </p:nvSpPr>
              <p:spPr bwMode="gray">
                <a:xfrm>
                  <a:off x="5714674" y="4824408"/>
                  <a:ext cx="191797" cy="122656"/>
                </a:xfrm>
                <a:custGeom>
                  <a:avLst/>
                  <a:gdLst>
                    <a:gd name="T0" fmla="*/ 4 w 19"/>
                    <a:gd name="T1" fmla="*/ 6 h 11"/>
                    <a:gd name="T2" fmla="*/ 2 w 19"/>
                    <a:gd name="T3" fmla="*/ 7 h 11"/>
                    <a:gd name="T4" fmla="*/ 2 w 19"/>
                    <a:gd name="T5" fmla="*/ 7 h 11"/>
                    <a:gd name="T6" fmla="*/ 0 w 19"/>
                    <a:gd name="T7" fmla="*/ 4 h 11"/>
                    <a:gd name="T8" fmla="*/ 2 w 19"/>
                    <a:gd name="T9" fmla="*/ 1 h 11"/>
                    <a:gd name="T10" fmla="*/ 7 w 19"/>
                    <a:gd name="T11" fmla="*/ 2 h 11"/>
                    <a:gd name="T12" fmla="*/ 10 w 19"/>
                    <a:gd name="T13" fmla="*/ 0 h 11"/>
                    <a:gd name="T14" fmla="*/ 17 w 19"/>
                    <a:gd name="T15" fmla="*/ 3 h 11"/>
                    <a:gd name="T16" fmla="*/ 19 w 19"/>
                    <a:gd name="T17" fmla="*/ 6 h 11"/>
                    <a:gd name="T18" fmla="*/ 10 w 19"/>
                    <a:gd name="T19" fmla="*/ 11 h 11"/>
                    <a:gd name="T20" fmla="*/ 9 w 19"/>
                    <a:gd name="T21" fmla="*/ 9 h 11"/>
                    <a:gd name="T22" fmla="*/ 4 w 19"/>
                    <a:gd name="T23" fmla="*/ 6 h 11"/>
                    <a:gd name="T24" fmla="*/ 4 w 19"/>
                    <a:gd name="T25" fmla="*/ 6 h 11"/>
                    <a:gd name="T26" fmla="*/ 4 w 19"/>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1">
                      <a:moveTo>
                        <a:pt x="4" y="6"/>
                      </a:moveTo>
                      <a:lnTo>
                        <a:pt x="2" y="7"/>
                      </a:lnTo>
                      <a:lnTo>
                        <a:pt x="2" y="7"/>
                      </a:lnTo>
                      <a:cubicBezTo>
                        <a:pt x="0" y="7"/>
                        <a:pt x="0" y="4"/>
                        <a:pt x="0" y="4"/>
                      </a:cubicBezTo>
                      <a:cubicBezTo>
                        <a:pt x="0" y="2"/>
                        <a:pt x="1" y="1"/>
                        <a:pt x="2" y="1"/>
                      </a:cubicBezTo>
                      <a:cubicBezTo>
                        <a:pt x="4" y="1"/>
                        <a:pt x="5" y="2"/>
                        <a:pt x="7" y="2"/>
                      </a:cubicBezTo>
                      <a:cubicBezTo>
                        <a:pt x="8" y="2"/>
                        <a:pt x="9" y="0"/>
                        <a:pt x="10" y="0"/>
                      </a:cubicBezTo>
                      <a:cubicBezTo>
                        <a:pt x="13" y="0"/>
                        <a:pt x="16" y="2"/>
                        <a:pt x="17" y="3"/>
                      </a:cubicBezTo>
                      <a:cubicBezTo>
                        <a:pt x="17" y="4"/>
                        <a:pt x="19" y="5"/>
                        <a:pt x="19" y="6"/>
                      </a:cubicBezTo>
                      <a:cubicBezTo>
                        <a:pt x="19" y="8"/>
                        <a:pt x="12" y="11"/>
                        <a:pt x="10" y="11"/>
                      </a:cubicBezTo>
                      <a:cubicBezTo>
                        <a:pt x="10" y="11"/>
                        <a:pt x="9" y="10"/>
                        <a:pt x="9" y="9"/>
                      </a:cubicBezTo>
                      <a:cubicBezTo>
                        <a:pt x="8" y="7"/>
                        <a:pt x="6" y="7"/>
                        <a:pt x="4" y="6"/>
                      </a:cubicBezTo>
                      <a:lnTo>
                        <a:pt x="4" y="6"/>
                      </a:lnTo>
                      <a:lnTo>
                        <a:pt x="4"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69" name="Freeform 199"/>
                <p:cNvSpPr>
                  <a:spLocks/>
                </p:cNvSpPr>
                <p:nvPr>
                  <p:custDataLst>
                    <p:tags r:id="rId185"/>
                  </p:custDataLst>
                </p:nvPr>
              </p:nvSpPr>
              <p:spPr bwMode="gray">
                <a:xfrm>
                  <a:off x="5524289" y="4903033"/>
                  <a:ext cx="19744" cy="11009"/>
                </a:xfrm>
                <a:custGeom>
                  <a:avLst/>
                  <a:gdLst>
                    <a:gd name="T0" fmla="*/ 0 w 2"/>
                    <a:gd name="T1" fmla="*/ 0 h 1"/>
                    <a:gd name="T2" fmla="*/ 1 w 2"/>
                    <a:gd name="T3" fmla="*/ 0 h 1"/>
                    <a:gd name="T4" fmla="*/ 2 w 2"/>
                    <a:gd name="T5" fmla="*/ 0 h 1"/>
                    <a:gd name="T6" fmla="*/ 1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0" y="0"/>
                        <a:pt x="1" y="0"/>
                      </a:cubicBezTo>
                      <a:cubicBezTo>
                        <a:pt x="1" y="0"/>
                        <a:pt x="2" y="0"/>
                        <a:pt x="2" y="0"/>
                      </a:cubicBezTo>
                      <a:cubicBezTo>
                        <a:pt x="2"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0" name="Freeform 200"/>
                <p:cNvSpPr>
                  <a:spLocks/>
                </p:cNvSpPr>
                <p:nvPr>
                  <p:custDataLst>
                    <p:tags r:id="rId186"/>
                  </p:custDataLst>
                </p:nvPr>
              </p:nvSpPr>
              <p:spPr bwMode="gray">
                <a:xfrm>
                  <a:off x="4226838" y="4544500"/>
                  <a:ext cx="21154" cy="20443"/>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1" y="0"/>
                        <a:pt x="1" y="0"/>
                      </a:cubicBezTo>
                      <a:cubicBezTo>
                        <a:pt x="2" y="0"/>
                        <a:pt x="2" y="0"/>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1" name="Freeform 201"/>
                <p:cNvSpPr>
                  <a:spLocks/>
                </p:cNvSpPr>
                <p:nvPr>
                  <p:custDataLst>
                    <p:tags r:id="rId187"/>
                  </p:custDataLst>
                </p:nvPr>
              </p:nvSpPr>
              <p:spPr bwMode="gray">
                <a:xfrm>
                  <a:off x="4177479" y="4387250"/>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2"/>
                        <a:pt x="1" y="2"/>
                        <a:pt x="0"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2" name="Freeform 202"/>
                <p:cNvSpPr>
                  <a:spLocks/>
                </p:cNvSpPr>
                <p:nvPr>
                  <p:custDataLst>
                    <p:tags r:id="rId188"/>
                  </p:custDataLst>
                </p:nvPr>
              </p:nvSpPr>
              <p:spPr bwMode="gray">
                <a:xfrm>
                  <a:off x="4487738" y="3849451"/>
                  <a:ext cx="21155"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3" name="Freeform 203"/>
                <p:cNvSpPr>
                  <a:spLocks/>
                </p:cNvSpPr>
                <p:nvPr>
                  <p:custDataLst>
                    <p:tags r:id="rId189"/>
                  </p:custDataLst>
                </p:nvPr>
              </p:nvSpPr>
              <p:spPr bwMode="gray">
                <a:xfrm>
                  <a:off x="3754397" y="4308624"/>
                  <a:ext cx="50769" cy="34595"/>
                </a:xfrm>
                <a:custGeom>
                  <a:avLst/>
                  <a:gdLst>
                    <a:gd name="T0" fmla="*/ 0 w 5"/>
                    <a:gd name="T1" fmla="*/ 0 h 3"/>
                    <a:gd name="T2" fmla="*/ 2 w 5"/>
                    <a:gd name="T3" fmla="*/ 2 h 3"/>
                    <a:gd name="T4" fmla="*/ 3 w 5"/>
                    <a:gd name="T5" fmla="*/ 3 h 3"/>
                    <a:gd name="T6" fmla="*/ 5 w 5"/>
                    <a:gd name="T7" fmla="*/ 2 h 3"/>
                    <a:gd name="T8" fmla="*/ 5 w 5"/>
                    <a:gd name="T9" fmla="*/ 1 h 3"/>
                    <a:gd name="T10" fmla="*/ 0 w 5"/>
                    <a:gd name="T11" fmla="*/ 0 h 3"/>
                    <a:gd name="T12" fmla="*/ 0 w 5"/>
                    <a:gd name="T13" fmla="*/ 0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cubicBezTo>
                        <a:pt x="0" y="1"/>
                        <a:pt x="1" y="2"/>
                        <a:pt x="2" y="2"/>
                      </a:cubicBezTo>
                      <a:cubicBezTo>
                        <a:pt x="2" y="3"/>
                        <a:pt x="3" y="3"/>
                        <a:pt x="3" y="3"/>
                      </a:cubicBezTo>
                      <a:cubicBezTo>
                        <a:pt x="4" y="3"/>
                        <a:pt x="4" y="2"/>
                        <a:pt x="5" y="2"/>
                      </a:cubicBezTo>
                      <a:cubicBezTo>
                        <a:pt x="4" y="2"/>
                        <a:pt x="4" y="1"/>
                        <a:pt x="5" y="1"/>
                      </a:cubicBezTo>
                      <a:cubicBezTo>
                        <a:pt x="3"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4" name="Freeform 204"/>
                <p:cNvSpPr>
                  <a:spLocks/>
                </p:cNvSpPr>
                <p:nvPr>
                  <p:custDataLst>
                    <p:tags r:id="rId190"/>
                  </p:custDataLst>
                </p:nvPr>
              </p:nvSpPr>
              <p:spPr bwMode="gray">
                <a:xfrm>
                  <a:off x="4226838" y="3591558"/>
                  <a:ext cx="241156" cy="290915"/>
                </a:xfrm>
                <a:custGeom>
                  <a:avLst/>
                  <a:gdLst>
                    <a:gd name="T0" fmla="*/ 5 w 24"/>
                    <a:gd name="T1" fmla="*/ 11 h 26"/>
                    <a:gd name="T2" fmla="*/ 0 w 24"/>
                    <a:gd name="T3" fmla="*/ 8 h 26"/>
                    <a:gd name="T4" fmla="*/ 2 w 24"/>
                    <a:gd name="T5" fmla="*/ 6 h 26"/>
                    <a:gd name="T6" fmla="*/ 3 w 24"/>
                    <a:gd name="T7" fmla="*/ 3 h 26"/>
                    <a:gd name="T8" fmla="*/ 7 w 24"/>
                    <a:gd name="T9" fmla="*/ 1 h 26"/>
                    <a:gd name="T10" fmla="*/ 10 w 24"/>
                    <a:gd name="T11" fmla="*/ 4 h 26"/>
                    <a:gd name="T12" fmla="*/ 10 w 24"/>
                    <a:gd name="T13" fmla="*/ 4 h 26"/>
                    <a:gd name="T14" fmla="*/ 10 w 24"/>
                    <a:gd name="T15" fmla="*/ 3 h 26"/>
                    <a:gd name="T16" fmla="*/ 10 w 24"/>
                    <a:gd name="T17" fmla="*/ 3 h 26"/>
                    <a:gd name="T18" fmla="*/ 9 w 24"/>
                    <a:gd name="T19" fmla="*/ 2 h 26"/>
                    <a:gd name="T20" fmla="*/ 9 w 24"/>
                    <a:gd name="T21" fmla="*/ 2 h 26"/>
                    <a:gd name="T22" fmla="*/ 9 w 24"/>
                    <a:gd name="T23" fmla="*/ 1 h 26"/>
                    <a:gd name="T24" fmla="*/ 9 w 24"/>
                    <a:gd name="T25" fmla="*/ 1 h 26"/>
                    <a:gd name="T26" fmla="*/ 12 w 24"/>
                    <a:gd name="T27" fmla="*/ 1 h 26"/>
                    <a:gd name="T28" fmla="*/ 14 w 24"/>
                    <a:gd name="T29" fmla="*/ 0 h 26"/>
                    <a:gd name="T30" fmla="*/ 15 w 24"/>
                    <a:gd name="T31" fmla="*/ 2 h 26"/>
                    <a:gd name="T32" fmla="*/ 18 w 24"/>
                    <a:gd name="T33" fmla="*/ 9 h 26"/>
                    <a:gd name="T34" fmla="*/ 18 w 24"/>
                    <a:gd name="T35" fmla="*/ 12 h 26"/>
                    <a:gd name="T36" fmla="*/ 24 w 24"/>
                    <a:gd name="T37" fmla="*/ 19 h 26"/>
                    <a:gd name="T38" fmla="*/ 21 w 24"/>
                    <a:gd name="T39" fmla="*/ 25 h 26"/>
                    <a:gd name="T40" fmla="*/ 17 w 24"/>
                    <a:gd name="T41" fmla="*/ 23 h 26"/>
                    <a:gd name="T42" fmla="*/ 13 w 24"/>
                    <a:gd name="T43" fmla="*/ 21 h 26"/>
                    <a:gd name="T44" fmla="*/ 12 w 24"/>
                    <a:gd name="T45" fmla="*/ 16 h 26"/>
                    <a:gd name="T46" fmla="*/ 12 w 24"/>
                    <a:gd name="T47" fmla="*/ 16 h 26"/>
                    <a:gd name="T48" fmla="*/ 12 w 24"/>
                    <a:gd name="T49" fmla="*/ 12 h 26"/>
                    <a:gd name="T50" fmla="*/ 12 w 24"/>
                    <a:gd name="T51" fmla="*/ 12 h 26"/>
                    <a:gd name="T52" fmla="*/ 5 w 24"/>
                    <a:gd name="T53" fmla="*/ 11 h 26"/>
                    <a:gd name="T54" fmla="*/ 5 w 24"/>
                    <a:gd name="T55" fmla="*/ 11 h 26"/>
                    <a:gd name="T56" fmla="*/ 5 w 24"/>
                    <a:gd name="T5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6">
                      <a:moveTo>
                        <a:pt x="5" y="11"/>
                      </a:moveTo>
                      <a:cubicBezTo>
                        <a:pt x="4" y="11"/>
                        <a:pt x="0" y="10"/>
                        <a:pt x="0" y="8"/>
                      </a:cubicBezTo>
                      <a:cubicBezTo>
                        <a:pt x="0" y="7"/>
                        <a:pt x="2" y="6"/>
                        <a:pt x="2" y="6"/>
                      </a:cubicBezTo>
                      <a:cubicBezTo>
                        <a:pt x="4" y="6"/>
                        <a:pt x="3" y="4"/>
                        <a:pt x="3" y="3"/>
                      </a:cubicBezTo>
                      <a:cubicBezTo>
                        <a:pt x="3" y="1"/>
                        <a:pt x="6" y="1"/>
                        <a:pt x="7" y="1"/>
                      </a:cubicBezTo>
                      <a:cubicBezTo>
                        <a:pt x="10" y="1"/>
                        <a:pt x="9" y="4"/>
                        <a:pt x="10" y="4"/>
                      </a:cubicBezTo>
                      <a:lnTo>
                        <a:pt x="10" y="4"/>
                      </a:lnTo>
                      <a:lnTo>
                        <a:pt x="10" y="3"/>
                      </a:lnTo>
                      <a:lnTo>
                        <a:pt x="10" y="3"/>
                      </a:lnTo>
                      <a:cubicBezTo>
                        <a:pt x="10" y="3"/>
                        <a:pt x="9" y="2"/>
                        <a:pt x="9" y="2"/>
                      </a:cubicBezTo>
                      <a:lnTo>
                        <a:pt x="9" y="2"/>
                      </a:lnTo>
                      <a:lnTo>
                        <a:pt x="9" y="1"/>
                      </a:lnTo>
                      <a:lnTo>
                        <a:pt x="9" y="1"/>
                      </a:lnTo>
                      <a:cubicBezTo>
                        <a:pt x="10" y="0"/>
                        <a:pt x="11" y="1"/>
                        <a:pt x="12" y="1"/>
                      </a:cubicBezTo>
                      <a:cubicBezTo>
                        <a:pt x="12" y="1"/>
                        <a:pt x="13" y="0"/>
                        <a:pt x="14" y="0"/>
                      </a:cubicBezTo>
                      <a:cubicBezTo>
                        <a:pt x="15" y="1"/>
                        <a:pt x="15" y="2"/>
                        <a:pt x="15" y="2"/>
                      </a:cubicBezTo>
                      <a:cubicBezTo>
                        <a:pt x="16" y="5"/>
                        <a:pt x="18" y="6"/>
                        <a:pt x="18" y="9"/>
                      </a:cubicBezTo>
                      <a:cubicBezTo>
                        <a:pt x="18" y="10"/>
                        <a:pt x="18" y="11"/>
                        <a:pt x="18" y="12"/>
                      </a:cubicBezTo>
                      <a:cubicBezTo>
                        <a:pt x="18" y="17"/>
                        <a:pt x="24" y="15"/>
                        <a:pt x="24" y="19"/>
                      </a:cubicBezTo>
                      <a:cubicBezTo>
                        <a:pt x="24" y="26"/>
                        <a:pt x="23" y="25"/>
                        <a:pt x="21" y="25"/>
                      </a:cubicBezTo>
                      <a:cubicBezTo>
                        <a:pt x="19" y="25"/>
                        <a:pt x="18" y="23"/>
                        <a:pt x="17" y="23"/>
                      </a:cubicBezTo>
                      <a:cubicBezTo>
                        <a:pt x="16" y="22"/>
                        <a:pt x="14" y="22"/>
                        <a:pt x="13" y="21"/>
                      </a:cubicBezTo>
                      <a:cubicBezTo>
                        <a:pt x="12" y="20"/>
                        <a:pt x="12" y="17"/>
                        <a:pt x="12" y="16"/>
                      </a:cubicBezTo>
                      <a:lnTo>
                        <a:pt x="12" y="16"/>
                      </a:lnTo>
                      <a:lnTo>
                        <a:pt x="12" y="12"/>
                      </a:lnTo>
                      <a:lnTo>
                        <a:pt x="12" y="12"/>
                      </a:lnTo>
                      <a:cubicBezTo>
                        <a:pt x="10" y="10"/>
                        <a:pt x="7" y="11"/>
                        <a:pt x="5" y="11"/>
                      </a:cubicBezTo>
                      <a:lnTo>
                        <a:pt x="5" y="11"/>
                      </a:lnTo>
                      <a:lnTo>
                        <a:pt x="5"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5" name="Freeform 205"/>
                <p:cNvSpPr>
                  <a:spLocks/>
                </p:cNvSpPr>
                <p:nvPr>
                  <p:custDataLst>
                    <p:tags r:id="rId191"/>
                  </p:custDataLst>
                </p:nvPr>
              </p:nvSpPr>
              <p:spPr bwMode="gray">
                <a:xfrm>
                  <a:off x="4095683" y="3379269"/>
                  <a:ext cx="50769" cy="56611"/>
                </a:xfrm>
                <a:custGeom>
                  <a:avLst/>
                  <a:gdLst>
                    <a:gd name="T0" fmla="*/ 0 w 5"/>
                    <a:gd name="T1" fmla="*/ 1 h 5"/>
                    <a:gd name="T2" fmla="*/ 3 w 5"/>
                    <a:gd name="T3" fmla="*/ 0 h 5"/>
                    <a:gd name="T4" fmla="*/ 5 w 5"/>
                    <a:gd name="T5" fmla="*/ 1 h 5"/>
                    <a:gd name="T6" fmla="*/ 1 w 5"/>
                    <a:gd name="T7" fmla="*/ 4 h 5"/>
                    <a:gd name="T8" fmla="*/ 0 w 5"/>
                    <a:gd name="T9" fmla="*/ 1 h 5"/>
                    <a:gd name="T10" fmla="*/ 0 w 5"/>
                    <a:gd name="T11" fmla="*/ 1 h 5"/>
                    <a:gd name="T12" fmla="*/ 0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1"/>
                      </a:moveTo>
                      <a:cubicBezTo>
                        <a:pt x="0" y="0"/>
                        <a:pt x="2" y="0"/>
                        <a:pt x="3" y="0"/>
                      </a:cubicBezTo>
                      <a:cubicBezTo>
                        <a:pt x="5" y="0"/>
                        <a:pt x="5" y="1"/>
                        <a:pt x="5" y="1"/>
                      </a:cubicBezTo>
                      <a:cubicBezTo>
                        <a:pt x="4" y="3"/>
                        <a:pt x="1" y="5"/>
                        <a:pt x="1" y="4"/>
                      </a:cubicBezTo>
                      <a:cubicBezTo>
                        <a:pt x="1" y="2"/>
                        <a:pt x="0" y="3"/>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6" name="Freeform 206"/>
                <p:cNvSpPr>
                  <a:spLocks/>
                </p:cNvSpPr>
                <p:nvPr>
                  <p:custDataLst>
                    <p:tags r:id="rId192"/>
                  </p:custDataLst>
                </p:nvPr>
              </p:nvSpPr>
              <p:spPr bwMode="gray">
                <a:xfrm>
                  <a:off x="3644396" y="2909086"/>
                  <a:ext cx="60642" cy="77053"/>
                </a:xfrm>
                <a:custGeom>
                  <a:avLst/>
                  <a:gdLst>
                    <a:gd name="T0" fmla="*/ 3 w 6"/>
                    <a:gd name="T1" fmla="*/ 7 h 7"/>
                    <a:gd name="T2" fmla="*/ 6 w 6"/>
                    <a:gd name="T3" fmla="*/ 4 h 7"/>
                    <a:gd name="T4" fmla="*/ 3 w 6"/>
                    <a:gd name="T5" fmla="*/ 0 h 7"/>
                    <a:gd name="T6" fmla="*/ 0 w 6"/>
                    <a:gd name="T7" fmla="*/ 1 h 7"/>
                    <a:gd name="T8" fmla="*/ 3 w 6"/>
                    <a:gd name="T9" fmla="*/ 7 h 7"/>
                    <a:gd name="T10" fmla="*/ 3 w 6"/>
                    <a:gd name="T11" fmla="*/ 7 h 7"/>
                    <a:gd name="T12" fmla="*/ 3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3" y="7"/>
                      </a:moveTo>
                      <a:cubicBezTo>
                        <a:pt x="5" y="7"/>
                        <a:pt x="6" y="6"/>
                        <a:pt x="6" y="4"/>
                      </a:cubicBezTo>
                      <a:cubicBezTo>
                        <a:pt x="6" y="2"/>
                        <a:pt x="4" y="0"/>
                        <a:pt x="3" y="0"/>
                      </a:cubicBezTo>
                      <a:cubicBezTo>
                        <a:pt x="3" y="0"/>
                        <a:pt x="1" y="1"/>
                        <a:pt x="0" y="1"/>
                      </a:cubicBezTo>
                      <a:cubicBezTo>
                        <a:pt x="0" y="4"/>
                        <a:pt x="1" y="7"/>
                        <a:pt x="3" y="7"/>
                      </a:cubicBezTo>
                      <a:lnTo>
                        <a:pt x="3" y="7"/>
                      </a:lnTo>
                      <a:lnTo>
                        <a:pt x="3"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7" name="Freeform 207"/>
                <p:cNvSpPr>
                  <a:spLocks/>
                </p:cNvSpPr>
                <p:nvPr>
                  <p:custDataLst>
                    <p:tags r:id="rId193"/>
                  </p:custDataLst>
                </p:nvPr>
              </p:nvSpPr>
              <p:spPr bwMode="gray">
                <a:xfrm>
                  <a:off x="3734653" y="2986141"/>
                  <a:ext cx="90258" cy="78626"/>
                </a:xfrm>
                <a:custGeom>
                  <a:avLst/>
                  <a:gdLst>
                    <a:gd name="T0" fmla="*/ 0 w 9"/>
                    <a:gd name="T1" fmla="*/ 3 h 7"/>
                    <a:gd name="T2" fmla="*/ 4 w 9"/>
                    <a:gd name="T3" fmla="*/ 4 h 7"/>
                    <a:gd name="T4" fmla="*/ 8 w 9"/>
                    <a:gd name="T5" fmla="*/ 7 h 7"/>
                    <a:gd name="T6" fmla="*/ 9 w 9"/>
                    <a:gd name="T7" fmla="*/ 3 h 7"/>
                    <a:gd name="T8" fmla="*/ 5 w 9"/>
                    <a:gd name="T9" fmla="*/ 3 h 7"/>
                    <a:gd name="T10" fmla="*/ 0 w 9"/>
                    <a:gd name="T11" fmla="*/ 3 h 7"/>
                    <a:gd name="T12" fmla="*/ 0 w 9"/>
                    <a:gd name="T13" fmla="*/ 3 h 7"/>
                    <a:gd name="T14" fmla="*/ 0 w 9"/>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7">
                      <a:moveTo>
                        <a:pt x="0" y="3"/>
                      </a:moveTo>
                      <a:cubicBezTo>
                        <a:pt x="0" y="4"/>
                        <a:pt x="4" y="4"/>
                        <a:pt x="4" y="4"/>
                      </a:cubicBezTo>
                      <a:cubicBezTo>
                        <a:pt x="6" y="5"/>
                        <a:pt x="6" y="7"/>
                        <a:pt x="8" y="7"/>
                      </a:cubicBezTo>
                      <a:cubicBezTo>
                        <a:pt x="9" y="7"/>
                        <a:pt x="9" y="4"/>
                        <a:pt x="9" y="3"/>
                      </a:cubicBezTo>
                      <a:cubicBezTo>
                        <a:pt x="9" y="3"/>
                        <a:pt x="6" y="2"/>
                        <a:pt x="5" y="3"/>
                      </a:cubicBezTo>
                      <a:cubicBezTo>
                        <a:pt x="4" y="3"/>
                        <a:pt x="0" y="0"/>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8" name="Freeform 208"/>
                <p:cNvSpPr>
                  <a:spLocks/>
                </p:cNvSpPr>
                <p:nvPr>
                  <p:custDataLst>
                    <p:tags r:id="rId194"/>
                  </p:custDataLst>
                </p:nvPr>
              </p:nvSpPr>
              <p:spPr bwMode="gray">
                <a:xfrm>
                  <a:off x="3764270" y="3042751"/>
                  <a:ext cx="50769" cy="89633"/>
                </a:xfrm>
                <a:custGeom>
                  <a:avLst/>
                  <a:gdLst>
                    <a:gd name="T0" fmla="*/ 0 w 5"/>
                    <a:gd name="T1" fmla="*/ 0 h 8"/>
                    <a:gd name="T2" fmla="*/ 0 w 5"/>
                    <a:gd name="T3" fmla="*/ 2 h 8"/>
                    <a:gd name="T4" fmla="*/ 3 w 5"/>
                    <a:gd name="T5" fmla="*/ 8 h 8"/>
                    <a:gd name="T6" fmla="*/ 5 w 5"/>
                    <a:gd name="T7" fmla="*/ 5 h 8"/>
                    <a:gd name="T8" fmla="*/ 0 w 5"/>
                    <a:gd name="T9" fmla="*/ 0 h 8"/>
                    <a:gd name="T10" fmla="*/ 0 w 5"/>
                    <a:gd name="T11" fmla="*/ 0 h 8"/>
                    <a:gd name="T12" fmla="*/ 0 w 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0"/>
                      </a:moveTo>
                      <a:cubicBezTo>
                        <a:pt x="0" y="1"/>
                        <a:pt x="0" y="1"/>
                        <a:pt x="0" y="2"/>
                      </a:cubicBezTo>
                      <a:cubicBezTo>
                        <a:pt x="0" y="3"/>
                        <a:pt x="1" y="8"/>
                        <a:pt x="3" y="8"/>
                      </a:cubicBezTo>
                      <a:cubicBezTo>
                        <a:pt x="4" y="8"/>
                        <a:pt x="5" y="6"/>
                        <a:pt x="5" y="5"/>
                      </a:cubicBezTo>
                      <a:cubicBezTo>
                        <a:pt x="5" y="2"/>
                        <a:pt x="3"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79" name="Freeform 209"/>
                <p:cNvSpPr>
                  <a:spLocks/>
                </p:cNvSpPr>
                <p:nvPr>
                  <p:custDataLst>
                    <p:tags r:id="rId195"/>
                  </p:custDataLst>
                </p:nvPr>
              </p:nvSpPr>
              <p:spPr bwMode="gray">
                <a:xfrm>
                  <a:off x="3834783" y="3088354"/>
                  <a:ext cx="90258" cy="66046"/>
                </a:xfrm>
                <a:custGeom>
                  <a:avLst/>
                  <a:gdLst>
                    <a:gd name="T0" fmla="*/ 2 w 9"/>
                    <a:gd name="T1" fmla="*/ 0 h 6"/>
                    <a:gd name="T2" fmla="*/ 9 w 9"/>
                    <a:gd name="T3" fmla="*/ 5 h 6"/>
                    <a:gd name="T4" fmla="*/ 8 w 9"/>
                    <a:gd name="T5" fmla="*/ 6 h 6"/>
                    <a:gd name="T6" fmla="*/ 4 w 9"/>
                    <a:gd name="T7" fmla="*/ 4 h 6"/>
                    <a:gd name="T8" fmla="*/ 0 w 9"/>
                    <a:gd name="T9" fmla="*/ 2 h 6"/>
                    <a:gd name="T10" fmla="*/ 2 w 9"/>
                    <a:gd name="T11" fmla="*/ 0 h 6"/>
                    <a:gd name="T12" fmla="*/ 2 w 9"/>
                    <a:gd name="T13" fmla="*/ 0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cubicBezTo>
                        <a:pt x="5" y="0"/>
                        <a:pt x="8" y="3"/>
                        <a:pt x="9" y="5"/>
                      </a:cubicBezTo>
                      <a:cubicBezTo>
                        <a:pt x="9" y="6"/>
                        <a:pt x="8" y="6"/>
                        <a:pt x="8" y="6"/>
                      </a:cubicBezTo>
                      <a:cubicBezTo>
                        <a:pt x="6" y="6"/>
                        <a:pt x="6" y="4"/>
                        <a:pt x="4" y="4"/>
                      </a:cubicBezTo>
                      <a:cubicBezTo>
                        <a:pt x="3" y="3"/>
                        <a:pt x="0" y="2"/>
                        <a:pt x="0" y="2"/>
                      </a:cubicBezTo>
                      <a:cubicBezTo>
                        <a:pt x="1" y="2"/>
                        <a:pt x="1"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0" name="Freeform 210"/>
                <p:cNvSpPr>
                  <a:spLocks/>
                </p:cNvSpPr>
                <p:nvPr>
                  <p:custDataLst>
                    <p:tags r:id="rId196"/>
                  </p:custDataLst>
                </p:nvPr>
              </p:nvSpPr>
              <p:spPr bwMode="gray">
                <a:xfrm>
                  <a:off x="3944784" y="3099362"/>
                  <a:ext cx="21154" cy="20442"/>
                </a:xfrm>
                <a:custGeom>
                  <a:avLst/>
                  <a:gdLst>
                    <a:gd name="T0" fmla="*/ 0 w 2"/>
                    <a:gd name="T1" fmla="*/ 1 h 2"/>
                    <a:gd name="T2" fmla="*/ 1 w 2"/>
                    <a:gd name="T3" fmla="*/ 1 h 2"/>
                    <a:gd name="T4" fmla="*/ 2 w 2"/>
                    <a:gd name="T5" fmla="*/ 1 h 2"/>
                    <a:gd name="T6" fmla="*/ 2 w 2"/>
                    <a:gd name="T7" fmla="*/ 1 h 2"/>
                    <a:gd name="T8" fmla="*/ 1 w 2"/>
                    <a:gd name="T9" fmla="*/ 0 h 2"/>
                    <a:gd name="T10" fmla="*/ 1 w 2"/>
                    <a:gd name="T11" fmla="*/ 0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2"/>
                        <a:pt x="0" y="1"/>
                        <a:pt x="1" y="1"/>
                      </a:cubicBezTo>
                      <a:cubicBezTo>
                        <a:pt x="1" y="1"/>
                        <a:pt x="2" y="1"/>
                        <a:pt x="2" y="1"/>
                      </a:cubicBezTo>
                      <a:lnTo>
                        <a:pt x="2" y="1"/>
                      </a:lnTo>
                      <a:lnTo>
                        <a:pt x="1" y="0"/>
                      </a:lnTo>
                      <a:lnTo>
                        <a:pt x="1" y="0"/>
                      </a:ln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1" name="Freeform 211"/>
                <p:cNvSpPr>
                  <a:spLocks/>
                </p:cNvSpPr>
                <p:nvPr>
                  <p:custDataLst>
                    <p:tags r:id="rId197"/>
                  </p:custDataLst>
                </p:nvPr>
              </p:nvSpPr>
              <p:spPr bwMode="gray">
                <a:xfrm>
                  <a:off x="3944785" y="3143392"/>
                  <a:ext cx="31026" cy="45602"/>
                </a:xfrm>
                <a:custGeom>
                  <a:avLst/>
                  <a:gdLst>
                    <a:gd name="T0" fmla="*/ 0 w 3"/>
                    <a:gd name="T1" fmla="*/ 0 h 4"/>
                    <a:gd name="T2" fmla="*/ 3 w 3"/>
                    <a:gd name="T3" fmla="*/ 4 h 4"/>
                    <a:gd name="T4" fmla="*/ 3 w 3"/>
                    <a:gd name="T5" fmla="*/ 4 h 4"/>
                    <a:gd name="T6" fmla="*/ 3 w 3"/>
                    <a:gd name="T7" fmla="*/ 1 h 4"/>
                    <a:gd name="T8" fmla="*/ 3 w 3"/>
                    <a:gd name="T9" fmla="*/ 1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cubicBezTo>
                        <a:pt x="0" y="2"/>
                        <a:pt x="1" y="4"/>
                        <a:pt x="3" y="4"/>
                      </a:cubicBezTo>
                      <a:lnTo>
                        <a:pt x="3" y="4"/>
                      </a:lnTo>
                      <a:lnTo>
                        <a:pt x="3" y="1"/>
                      </a:lnTo>
                      <a:lnTo>
                        <a:pt x="3" y="1"/>
                      </a:lnTo>
                      <a:cubicBezTo>
                        <a:pt x="2"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2" name="Freeform 212"/>
                <p:cNvSpPr>
                  <a:spLocks/>
                </p:cNvSpPr>
                <p:nvPr>
                  <p:custDataLst>
                    <p:tags r:id="rId198"/>
                  </p:custDataLst>
                </p:nvPr>
              </p:nvSpPr>
              <p:spPr bwMode="gray">
                <a:xfrm>
                  <a:off x="4115426" y="3299070"/>
                  <a:ext cx="91668" cy="69191"/>
                </a:xfrm>
                <a:custGeom>
                  <a:avLst/>
                  <a:gdLst>
                    <a:gd name="T0" fmla="*/ 0 w 9"/>
                    <a:gd name="T1" fmla="*/ 4 h 6"/>
                    <a:gd name="T2" fmla="*/ 3 w 9"/>
                    <a:gd name="T3" fmla="*/ 0 h 6"/>
                    <a:gd name="T4" fmla="*/ 4 w 9"/>
                    <a:gd name="T5" fmla="*/ 1 h 6"/>
                    <a:gd name="T6" fmla="*/ 9 w 9"/>
                    <a:gd name="T7" fmla="*/ 5 h 6"/>
                    <a:gd name="T8" fmla="*/ 8 w 9"/>
                    <a:gd name="T9" fmla="*/ 6 h 6"/>
                    <a:gd name="T10" fmla="*/ 4 w 9"/>
                    <a:gd name="T11" fmla="*/ 4 h 6"/>
                    <a:gd name="T12" fmla="*/ 0 w 9"/>
                    <a:gd name="T13" fmla="*/ 6 h 6"/>
                    <a:gd name="T14" fmla="*/ 1 w 9"/>
                    <a:gd name="T15" fmla="*/ 4 h 6"/>
                    <a:gd name="T16" fmla="*/ 1 w 9"/>
                    <a:gd name="T17" fmla="*/ 4 h 6"/>
                    <a:gd name="T18" fmla="*/ 0 w 9"/>
                    <a:gd name="T19" fmla="*/ 4 h 6"/>
                    <a:gd name="T20" fmla="*/ 0 w 9"/>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2" y="3"/>
                        <a:pt x="1" y="0"/>
                        <a:pt x="3" y="0"/>
                      </a:cubicBezTo>
                      <a:cubicBezTo>
                        <a:pt x="3" y="0"/>
                        <a:pt x="4" y="1"/>
                        <a:pt x="4" y="1"/>
                      </a:cubicBezTo>
                      <a:cubicBezTo>
                        <a:pt x="5" y="2"/>
                        <a:pt x="9" y="4"/>
                        <a:pt x="9" y="5"/>
                      </a:cubicBezTo>
                      <a:cubicBezTo>
                        <a:pt x="9" y="6"/>
                        <a:pt x="8" y="6"/>
                        <a:pt x="8" y="6"/>
                      </a:cubicBezTo>
                      <a:cubicBezTo>
                        <a:pt x="6" y="6"/>
                        <a:pt x="5" y="4"/>
                        <a:pt x="4" y="4"/>
                      </a:cubicBezTo>
                      <a:cubicBezTo>
                        <a:pt x="2" y="4"/>
                        <a:pt x="2" y="6"/>
                        <a:pt x="0" y="6"/>
                      </a:cubicBezTo>
                      <a:cubicBezTo>
                        <a:pt x="0" y="5"/>
                        <a:pt x="1" y="5"/>
                        <a:pt x="1" y="4"/>
                      </a:cubicBezTo>
                      <a:lnTo>
                        <a:pt x="1" y="4"/>
                      </a:ln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3" name="Freeform 213"/>
                <p:cNvSpPr>
                  <a:spLocks/>
                </p:cNvSpPr>
                <p:nvPr>
                  <p:custDataLst>
                    <p:tags r:id="rId199"/>
                  </p:custDataLst>
                </p:nvPr>
              </p:nvSpPr>
              <p:spPr bwMode="gray">
                <a:xfrm>
                  <a:off x="4105555" y="3244033"/>
                  <a:ext cx="9871" cy="12580"/>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4" name="Freeform 214"/>
                <p:cNvSpPr>
                  <a:spLocks/>
                </p:cNvSpPr>
                <p:nvPr>
                  <p:custDataLst>
                    <p:tags r:id="rId200"/>
                  </p:custDataLst>
                </p:nvPr>
              </p:nvSpPr>
              <p:spPr bwMode="gray">
                <a:xfrm>
                  <a:off x="4166196" y="3154400"/>
                  <a:ext cx="1128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5" name="Freeform 215"/>
                <p:cNvSpPr>
                  <a:spLocks/>
                </p:cNvSpPr>
                <p:nvPr>
                  <p:custDataLst>
                    <p:tags r:id="rId201"/>
                  </p:custDataLst>
                </p:nvPr>
              </p:nvSpPr>
              <p:spPr bwMode="gray">
                <a:xfrm>
                  <a:off x="4085811" y="3188996"/>
                  <a:ext cx="9871"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1" y="0"/>
                        <a:pt x="1" y="0"/>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6" name="Freeform 216"/>
                <p:cNvSpPr>
                  <a:spLocks/>
                </p:cNvSpPr>
                <p:nvPr>
                  <p:custDataLst>
                    <p:tags r:id="rId202"/>
                  </p:custDataLst>
                </p:nvPr>
              </p:nvSpPr>
              <p:spPr bwMode="gray">
                <a:xfrm>
                  <a:off x="4115426" y="3267620"/>
                  <a:ext cx="11282" cy="20443"/>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7" name="Freeform 217"/>
                <p:cNvSpPr>
                  <a:spLocks/>
                </p:cNvSpPr>
                <p:nvPr>
                  <p:custDataLst>
                    <p:tags r:id="rId203"/>
                  </p:custDataLst>
                </p:nvPr>
              </p:nvSpPr>
              <p:spPr bwMode="gray">
                <a:xfrm>
                  <a:off x="3965938" y="3355681"/>
                  <a:ext cx="50769" cy="23588"/>
                </a:xfrm>
                <a:custGeom>
                  <a:avLst/>
                  <a:gdLst>
                    <a:gd name="T0" fmla="*/ 0 w 5"/>
                    <a:gd name="T1" fmla="*/ 2 h 2"/>
                    <a:gd name="T2" fmla="*/ 2 w 5"/>
                    <a:gd name="T3" fmla="*/ 0 h 2"/>
                    <a:gd name="T4" fmla="*/ 5 w 5"/>
                    <a:gd name="T5" fmla="*/ 1 h 2"/>
                    <a:gd name="T6" fmla="*/ 0 w 5"/>
                    <a:gd name="T7" fmla="*/ 2 h 2"/>
                    <a:gd name="T8" fmla="*/ 0 w 5"/>
                    <a:gd name="T9" fmla="*/ 2 h 2"/>
                    <a:gd name="T10" fmla="*/ 0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0" y="2"/>
                      </a:moveTo>
                      <a:cubicBezTo>
                        <a:pt x="1" y="0"/>
                        <a:pt x="1" y="0"/>
                        <a:pt x="2" y="0"/>
                      </a:cubicBezTo>
                      <a:cubicBezTo>
                        <a:pt x="4" y="0"/>
                        <a:pt x="4" y="0"/>
                        <a:pt x="5" y="1"/>
                      </a:cubicBezTo>
                      <a:cubicBezTo>
                        <a:pt x="4" y="2"/>
                        <a:pt x="1"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8" name="Freeform 218"/>
                <p:cNvSpPr>
                  <a:spLocks/>
                </p:cNvSpPr>
                <p:nvPr>
                  <p:custDataLst>
                    <p:tags r:id="rId204"/>
                  </p:custDataLst>
                </p:nvPr>
              </p:nvSpPr>
              <p:spPr bwMode="gray">
                <a:xfrm>
                  <a:off x="3916578" y="3176415"/>
                  <a:ext cx="28206" cy="34595"/>
                </a:xfrm>
                <a:custGeom>
                  <a:avLst/>
                  <a:gdLst>
                    <a:gd name="T0" fmla="*/ 0 w 3"/>
                    <a:gd name="T1" fmla="*/ 2 h 3"/>
                    <a:gd name="T2" fmla="*/ 1 w 3"/>
                    <a:gd name="T3" fmla="*/ 3 h 3"/>
                    <a:gd name="T4" fmla="*/ 3 w 3"/>
                    <a:gd name="T5" fmla="*/ 3 h 3"/>
                    <a:gd name="T6" fmla="*/ 3 w 3"/>
                    <a:gd name="T7" fmla="*/ 3 h 3"/>
                    <a:gd name="T8" fmla="*/ 3 w 3"/>
                    <a:gd name="T9" fmla="*/ 2 h 3"/>
                    <a:gd name="T10" fmla="*/ 2 w 3"/>
                    <a:gd name="T11" fmla="*/ 0 h 3"/>
                    <a:gd name="T12" fmla="*/ 0 w 3"/>
                    <a:gd name="T13" fmla="*/ 2 h 3"/>
                    <a:gd name="T14" fmla="*/ 0 w 3"/>
                    <a:gd name="T15" fmla="*/ 2 h 3"/>
                    <a:gd name="T16" fmla="*/ 0 w 3"/>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2"/>
                      </a:moveTo>
                      <a:lnTo>
                        <a:pt x="1" y="3"/>
                      </a:lnTo>
                      <a:lnTo>
                        <a:pt x="3" y="3"/>
                      </a:lnTo>
                      <a:lnTo>
                        <a:pt x="3" y="3"/>
                      </a:lnTo>
                      <a:cubicBezTo>
                        <a:pt x="3" y="2"/>
                        <a:pt x="3" y="2"/>
                        <a:pt x="3" y="2"/>
                      </a:cubicBezTo>
                      <a:cubicBezTo>
                        <a:pt x="3" y="1"/>
                        <a:pt x="2" y="0"/>
                        <a:pt x="2" y="0"/>
                      </a:cubicBezTo>
                      <a:cubicBezTo>
                        <a:pt x="1" y="0"/>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89" name="Freeform 219"/>
                <p:cNvSpPr>
                  <a:spLocks/>
                </p:cNvSpPr>
                <p:nvPr>
                  <p:custDataLst>
                    <p:tags r:id="rId205"/>
                  </p:custDataLst>
                </p:nvPr>
              </p:nvSpPr>
              <p:spPr bwMode="gray">
                <a:xfrm>
                  <a:off x="4077349" y="3088354"/>
                  <a:ext cx="88846" cy="55039"/>
                </a:xfrm>
                <a:custGeom>
                  <a:avLst/>
                  <a:gdLst>
                    <a:gd name="T0" fmla="*/ 2 w 9"/>
                    <a:gd name="T1" fmla="*/ 0 h 5"/>
                    <a:gd name="T2" fmla="*/ 4 w 9"/>
                    <a:gd name="T3" fmla="*/ 2 h 5"/>
                    <a:gd name="T4" fmla="*/ 7 w 9"/>
                    <a:gd name="T5" fmla="*/ 5 h 5"/>
                    <a:gd name="T6" fmla="*/ 9 w 9"/>
                    <a:gd name="T7" fmla="*/ 3 h 5"/>
                    <a:gd name="T8" fmla="*/ 6 w 9"/>
                    <a:gd name="T9" fmla="*/ 0 h 5"/>
                    <a:gd name="T10" fmla="*/ 2 w 9"/>
                    <a:gd name="T11" fmla="*/ 0 h 5"/>
                    <a:gd name="T12" fmla="*/ 2 w 9"/>
                    <a:gd name="T13" fmla="*/ 0 h 5"/>
                    <a:gd name="T14" fmla="*/ 2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2" y="0"/>
                      </a:moveTo>
                      <a:cubicBezTo>
                        <a:pt x="0" y="4"/>
                        <a:pt x="4" y="1"/>
                        <a:pt x="4" y="2"/>
                      </a:cubicBezTo>
                      <a:cubicBezTo>
                        <a:pt x="4" y="3"/>
                        <a:pt x="5" y="5"/>
                        <a:pt x="7" y="5"/>
                      </a:cubicBezTo>
                      <a:cubicBezTo>
                        <a:pt x="7" y="5"/>
                        <a:pt x="9" y="3"/>
                        <a:pt x="9" y="3"/>
                      </a:cubicBezTo>
                      <a:cubicBezTo>
                        <a:pt x="8" y="2"/>
                        <a:pt x="6" y="1"/>
                        <a:pt x="6" y="0"/>
                      </a:cubicBezTo>
                      <a:cubicBezTo>
                        <a:pt x="6" y="0"/>
                        <a:pt x="2"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0" name="Freeform 220"/>
                <p:cNvSpPr>
                  <a:spLocks/>
                </p:cNvSpPr>
                <p:nvPr>
                  <p:custDataLst>
                    <p:tags r:id="rId206"/>
                  </p:custDataLst>
                </p:nvPr>
              </p:nvSpPr>
              <p:spPr bwMode="gray">
                <a:xfrm>
                  <a:off x="4046324" y="3088353"/>
                  <a:ext cx="31026" cy="20443"/>
                </a:xfrm>
                <a:custGeom>
                  <a:avLst/>
                  <a:gdLst>
                    <a:gd name="T0" fmla="*/ 0 w 3"/>
                    <a:gd name="T1" fmla="*/ 1 h 2"/>
                    <a:gd name="T2" fmla="*/ 1 w 3"/>
                    <a:gd name="T3" fmla="*/ 0 h 2"/>
                    <a:gd name="T4" fmla="*/ 1 w 3"/>
                    <a:gd name="T5" fmla="*/ 0 h 2"/>
                    <a:gd name="T6" fmla="*/ 3 w 3"/>
                    <a:gd name="T7" fmla="*/ 0 h 2"/>
                    <a:gd name="T8" fmla="*/ 3 w 3"/>
                    <a:gd name="T9" fmla="*/ 1 h 2"/>
                    <a:gd name="T10" fmla="*/ 3 w 3"/>
                    <a:gd name="T11" fmla="*/ 1 h 2"/>
                    <a:gd name="T12" fmla="*/ 1 w 3"/>
                    <a:gd name="T13" fmla="*/ 2 h 2"/>
                    <a:gd name="T14" fmla="*/ 0 w 3"/>
                    <a:gd name="T15" fmla="*/ 1 h 2"/>
                    <a:gd name="T16" fmla="*/ 0 w 3"/>
                    <a:gd name="T17" fmla="*/ 1 h 2"/>
                    <a:gd name="T18" fmla="*/ 0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1"/>
                      </a:moveTo>
                      <a:cubicBezTo>
                        <a:pt x="0" y="1"/>
                        <a:pt x="1" y="0"/>
                        <a:pt x="1" y="0"/>
                      </a:cubicBezTo>
                      <a:lnTo>
                        <a:pt x="1" y="0"/>
                      </a:lnTo>
                      <a:lnTo>
                        <a:pt x="3" y="0"/>
                      </a:lnTo>
                      <a:lnTo>
                        <a:pt x="3" y="1"/>
                      </a:lnTo>
                      <a:lnTo>
                        <a:pt x="3" y="1"/>
                      </a:lnTo>
                      <a:cubicBezTo>
                        <a:pt x="2" y="2"/>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1" name="Freeform 221"/>
                <p:cNvSpPr>
                  <a:spLocks/>
                </p:cNvSpPr>
                <p:nvPr>
                  <p:custDataLst>
                    <p:tags r:id="rId207"/>
                  </p:custDataLst>
                </p:nvPr>
              </p:nvSpPr>
              <p:spPr bwMode="gray">
                <a:xfrm>
                  <a:off x="4066068" y="3132385"/>
                  <a:ext cx="19744" cy="11009"/>
                </a:xfrm>
                <a:custGeom>
                  <a:avLst/>
                  <a:gdLst>
                    <a:gd name="T0" fmla="*/ 2 w 2"/>
                    <a:gd name="T1" fmla="*/ 1 h 1"/>
                    <a:gd name="T2" fmla="*/ 2 w 2"/>
                    <a:gd name="T3" fmla="*/ 1 h 1"/>
                    <a:gd name="T4" fmla="*/ 0 w 2"/>
                    <a:gd name="T5" fmla="*/ 0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2" y="1"/>
                      </a:cubicBezTo>
                      <a:cubicBezTo>
                        <a:pt x="1" y="1"/>
                        <a:pt x="1" y="1"/>
                        <a:pt x="0" y="0"/>
                      </a:cubicBezTo>
                      <a:cubicBezTo>
                        <a:pt x="0" y="0"/>
                        <a:pt x="1" y="0"/>
                        <a:pt x="1" y="0"/>
                      </a:cubicBezTo>
                      <a:cubicBezTo>
                        <a:pt x="1" y="0"/>
                        <a:pt x="2" y="1"/>
                        <a:pt x="2" y="1"/>
                      </a:cubicBezTo>
                      <a:lnTo>
                        <a:pt x="2" y="1"/>
                      </a:lnTo>
                      <a:lnTo>
                        <a:pt x="2"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2" name="Freeform 222"/>
                <p:cNvSpPr>
                  <a:spLocks/>
                </p:cNvSpPr>
                <p:nvPr>
                  <p:custDataLst>
                    <p:tags r:id="rId208"/>
                  </p:custDataLst>
                </p:nvPr>
              </p:nvSpPr>
              <p:spPr bwMode="gray">
                <a:xfrm>
                  <a:off x="4077350" y="3154400"/>
                  <a:ext cx="18332" cy="22015"/>
                </a:xfrm>
                <a:custGeom>
                  <a:avLst/>
                  <a:gdLst>
                    <a:gd name="T0" fmla="*/ 2 w 2"/>
                    <a:gd name="T1" fmla="*/ 1 h 2"/>
                    <a:gd name="T2" fmla="*/ 1 w 2"/>
                    <a:gd name="T3" fmla="*/ 2 h 2"/>
                    <a:gd name="T4" fmla="*/ 0 w 2"/>
                    <a:gd name="T5" fmla="*/ 0 h 2"/>
                    <a:gd name="T6" fmla="*/ 2 w 2"/>
                    <a:gd name="T7" fmla="*/ 1 h 2"/>
                    <a:gd name="T8" fmla="*/ 2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2"/>
                        <a:pt x="2" y="2"/>
                        <a:pt x="1" y="2"/>
                      </a:cubicBezTo>
                      <a:cubicBezTo>
                        <a:pt x="1" y="2"/>
                        <a:pt x="0" y="0"/>
                        <a:pt x="0" y="0"/>
                      </a:cubicBezTo>
                      <a:cubicBezTo>
                        <a:pt x="1" y="0"/>
                        <a:pt x="2" y="0"/>
                        <a:pt x="2" y="1"/>
                      </a:cubicBezTo>
                      <a:lnTo>
                        <a:pt x="2" y="1"/>
                      </a:lnTo>
                      <a:lnTo>
                        <a:pt x="2"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3" name="Freeform 223"/>
                <p:cNvSpPr>
                  <a:spLocks/>
                </p:cNvSpPr>
                <p:nvPr>
                  <p:custDataLst>
                    <p:tags r:id="rId209"/>
                  </p:custDataLst>
                </p:nvPr>
              </p:nvSpPr>
              <p:spPr bwMode="gray">
                <a:xfrm>
                  <a:off x="4026581" y="3143392"/>
                  <a:ext cx="1410" cy="11008"/>
                </a:xfrm>
                <a:custGeom>
                  <a:avLst/>
                  <a:gdLst>
                    <a:gd name="T0" fmla="*/ 0 h 1"/>
                    <a:gd name="T1" fmla="*/ 1 h 1"/>
                    <a:gd name="T2" fmla="*/ 1 h 1"/>
                    <a:gd name="T3" fmla="*/ 1 h 1"/>
                    <a:gd name="T4" fmla="*/ 0 h 1"/>
                    <a:gd name="T5" fmla="*/ 0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lnTo>
                        <a:pt x="0" y="1"/>
                      </a:lnTo>
                      <a:lnTo>
                        <a:pt x="0" y="1"/>
                      </a:lnTo>
                      <a:lnTo>
                        <a:pt x="0" y="1"/>
                      </a:lnTo>
                      <a:cubicBezTo>
                        <a:pt x="0" y="0"/>
                        <a:pt x="0" y="0"/>
                        <a:pt x="0" y="0"/>
                      </a:cubicBezTo>
                      <a:lnTo>
                        <a:pt x="0"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4" name="Freeform 224"/>
                <p:cNvSpPr>
                  <a:spLocks/>
                </p:cNvSpPr>
                <p:nvPr>
                  <p:custDataLst>
                    <p:tags r:id="rId210"/>
                  </p:custDataLst>
                </p:nvPr>
              </p:nvSpPr>
              <p:spPr bwMode="gray">
                <a:xfrm>
                  <a:off x="4026580" y="3108796"/>
                  <a:ext cx="9871" cy="11008"/>
                </a:xfrm>
                <a:custGeom>
                  <a:avLst/>
                  <a:gdLst>
                    <a:gd name="T0" fmla="*/ 1 w 1"/>
                    <a:gd name="T1" fmla="*/ 0 h 1"/>
                    <a:gd name="T2" fmla="*/ 0 w 1"/>
                    <a:gd name="T3" fmla="*/ 1 h 1"/>
                    <a:gd name="T4" fmla="*/ 0 w 1"/>
                    <a:gd name="T5" fmla="*/ 1 h 1"/>
                    <a:gd name="T6" fmla="*/ 1 w 1"/>
                    <a:gd name="T7" fmla="*/ 1 h 1"/>
                    <a:gd name="T8" fmla="*/ 1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lnTo>
                        <a:pt x="0" y="1"/>
                      </a:lnTo>
                      <a:lnTo>
                        <a:pt x="0" y="1"/>
                      </a:lnTo>
                      <a:lnTo>
                        <a:pt x="1" y="1"/>
                      </a:lnTo>
                      <a:lnTo>
                        <a:pt x="1" y="1"/>
                      </a:lnTo>
                      <a:cubicBezTo>
                        <a:pt x="1" y="1"/>
                        <a:pt x="1" y="1"/>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5" name="Freeform 225"/>
                <p:cNvSpPr>
                  <a:spLocks/>
                </p:cNvSpPr>
                <p:nvPr>
                  <p:custDataLst>
                    <p:tags r:id="rId211"/>
                  </p:custDataLst>
                </p:nvPr>
              </p:nvSpPr>
              <p:spPr bwMode="gray">
                <a:xfrm>
                  <a:off x="4036452" y="3143393"/>
                  <a:ext cx="9872" cy="22015"/>
                </a:xfrm>
                <a:custGeom>
                  <a:avLst/>
                  <a:gdLst>
                    <a:gd name="T0" fmla="*/ 0 w 1"/>
                    <a:gd name="T1" fmla="*/ 1 h 2"/>
                    <a:gd name="T2" fmla="*/ 1 w 1"/>
                    <a:gd name="T3" fmla="*/ 1 h 2"/>
                    <a:gd name="T4" fmla="*/ 0 w 1"/>
                    <a:gd name="T5" fmla="*/ 0 h 2"/>
                    <a:gd name="T6" fmla="*/ 0 w 1"/>
                    <a:gd name="T7" fmla="*/ 1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2"/>
                        <a:pt x="1" y="1"/>
                        <a:pt x="1" y="1"/>
                      </a:cubicBezTo>
                      <a:cubicBezTo>
                        <a:pt x="1" y="1"/>
                        <a:pt x="0" y="1"/>
                        <a:pt x="0"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6" name="Freeform 226"/>
                <p:cNvSpPr>
                  <a:spLocks/>
                </p:cNvSpPr>
                <p:nvPr>
                  <p:custDataLst>
                    <p:tags r:id="rId212"/>
                  </p:custDataLst>
                </p:nvPr>
              </p:nvSpPr>
              <p:spPr bwMode="gray">
                <a:xfrm>
                  <a:off x="4238121" y="4398257"/>
                  <a:ext cx="1517452" cy="570822"/>
                </a:xfrm>
                <a:custGeom>
                  <a:avLst/>
                  <a:gdLst>
                    <a:gd name="T0" fmla="*/ 50 w 151"/>
                    <a:gd name="T1" fmla="*/ 34 h 51"/>
                    <a:gd name="T2" fmla="*/ 40 w 151"/>
                    <a:gd name="T3" fmla="*/ 31 h 51"/>
                    <a:gd name="T4" fmla="*/ 30 w 151"/>
                    <a:gd name="T5" fmla="*/ 28 h 51"/>
                    <a:gd name="T6" fmla="*/ 20 w 151"/>
                    <a:gd name="T7" fmla="*/ 27 h 51"/>
                    <a:gd name="T8" fmla="*/ 20 w 151"/>
                    <a:gd name="T9" fmla="*/ 23 h 51"/>
                    <a:gd name="T10" fmla="*/ 22 w 151"/>
                    <a:gd name="T11" fmla="*/ 20 h 51"/>
                    <a:gd name="T12" fmla="*/ 14 w 151"/>
                    <a:gd name="T13" fmla="*/ 18 h 51"/>
                    <a:gd name="T14" fmla="*/ 5 w 151"/>
                    <a:gd name="T15" fmla="*/ 18 h 51"/>
                    <a:gd name="T16" fmla="*/ 2 w 151"/>
                    <a:gd name="T17" fmla="*/ 17 h 51"/>
                    <a:gd name="T18" fmla="*/ 2 w 151"/>
                    <a:gd name="T19" fmla="*/ 16 h 51"/>
                    <a:gd name="T20" fmla="*/ 5 w 151"/>
                    <a:gd name="T21" fmla="*/ 16 h 51"/>
                    <a:gd name="T22" fmla="*/ 7 w 151"/>
                    <a:gd name="T23" fmla="*/ 14 h 51"/>
                    <a:gd name="T24" fmla="*/ 9 w 151"/>
                    <a:gd name="T25" fmla="*/ 12 h 51"/>
                    <a:gd name="T26" fmla="*/ 11 w 151"/>
                    <a:gd name="T27" fmla="*/ 8 h 51"/>
                    <a:gd name="T28" fmla="*/ 14 w 151"/>
                    <a:gd name="T29" fmla="*/ 2 h 51"/>
                    <a:gd name="T30" fmla="*/ 16 w 151"/>
                    <a:gd name="T31" fmla="*/ 4 h 51"/>
                    <a:gd name="T32" fmla="*/ 20 w 151"/>
                    <a:gd name="T33" fmla="*/ 4 h 51"/>
                    <a:gd name="T34" fmla="*/ 26 w 151"/>
                    <a:gd name="T35" fmla="*/ 5 h 51"/>
                    <a:gd name="T36" fmla="*/ 29 w 151"/>
                    <a:gd name="T37" fmla="*/ 2 h 51"/>
                    <a:gd name="T38" fmla="*/ 34 w 151"/>
                    <a:gd name="T39" fmla="*/ 3 h 51"/>
                    <a:gd name="T40" fmla="*/ 38 w 151"/>
                    <a:gd name="T41" fmla="*/ 6 h 51"/>
                    <a:gd name="T42" fmla="*/ 42 w 151"/>
                    <a:gd name="T43" fmla="*/ 6 h 51"/>
                    <a:gd name="T44" fmla="*/ 47 w 151"/>
                    <a:gd name="T45" fmla="*/ 9 h 51"/>
                    <a:gd name="T46" fmla="*/ 50 w 151"/>
                    <a:gd name="T47" fmla="*/ 9 h 51"/>
                    <a:gd name="T48" fmla="*/ 54 w 151"/>
                    <a:gd name="T49" fmla="*/ 14 h 51"/>
                    <a:gd name="T50" fmla="*/ 57 w 151"/>
                    <a:gd name="T51" fmla="*/ 17 h 51"/>
                    <a:gd name="T52" fmla="*/ 63 w 151"/>
                    <a:gd name="T53" fmla="*/ 18 h 51"/>
                    <a:gd name="T54" fmla="*/ 70 w 151"/>
                    <a:gd name="T55" fmla="*/ 17 h 51"/>
                    <a:gd name="T56" fmla="*/ 77 w 151"/>
                    <a:gd name="T57" fmla="*/ 19 h 51"/>
                    <a:gd name="T58" fmla="*/ 82 w 151"/>
                    <a:gd name="T59" fmla="*/ 19 h 51"/>
                    <a:gd name="T60" fmla="*/ 87 w 151"/>
                    <a:gd name="T61" fmla="*/ 13 h 51"/>
                    <a:gd name="T62" fmla="*/ 93 w 151"/>
                    <a:gd name="T63" fmla="*/ 12 h 51"/>
                    <a:gd name="T64" fmla="*/ 99 w 151"/>
                    <a:gd name="T65" fmla="*/ 15 h 51"/>
                    <a:gd name="T66" fmla="*/ 104 w 151"/>
                    <a:gd name="T67" fmla="*/ 16 h 51"/>
                    <a:gd name="T68" fmla="*/ 109 w 151"/>
                    <a:gd name="T69" fmla="*/ 19 h 51"/>
                    <a:gd name="T70" fmla="*/ 116 w 151"/>
                    <a:gd name="T71" fmla="*/ 19 h 51"/>
                    <a:gd name="T72" fmla="*/ 118 w 151"/>
                    <a:gd name="T73" fmla="*/ 22 h 51"/>
                    <a:gd name="T74" fmla="*/ 121 w 151"/>
                    <a:gd name="T75" fmla="*/ 30 h 51"/>
                    <a:gd name="T76" fmla="*/ 131 w 151"/>
                    <a:gd name="T77" fmla="*/ 32 h 51"/>
                    <a:gd name="T78" fmla="*/ 140 w 151"/>
                    <a:gd name="T79" fmla="*/ 31 h 51"/>
                    <a:gd name="T80" fmla="*/ 145 w 151"/>
                    <a:gd name="T81" fmla="*/ 33 h 51"/>
                    <a:gd name="T82" fmla="*/ 146 w 151"/>
                    <a:gd name="T83" fmla="*/ 42 h 51"/>
                    <a:gd name="T84" fmla="*/ 147 w 151"/>
                    <a:gd name="T85" fmla="*/ 48 h 51"/>
                    <a:gd name="T86" fmla="*/ 148 w 151"/>
                    <a:gd name="T87" fmla="*/ 51 h 51"/>
                    <a:gd name="T88" fmla="*/ 145 w 151"/>
                    <a:gd name="T89" fmla="*/ 48 h 51"/>
                    <a:gd name="T90" fmla="*/ 137 w 151"/>
                    <a:gd name="T91" fmla="*/ 46 h 51"/>
                    <a:gd name="T92" fmla="*/ 131 w 151"/>
                    <a:gd name="T93" fmla="*/ 44 h 51"/>
                    <a:gd name="T94" fmla="*/ 124 w 151"/>
                    <a:gd name="T95" fmla="*/ 43 h 51"/>
                    <a:gd name="T96" fmla="*/ 120 w 151"/>
                    <a:gd name="T97" fmla="*/ 44 h 51"/>
                    <a:gd name="T98" fmla="*/ 112 w 151"/>
                    <a:gd name="T99" fmla="*/ 43 h 51"/>
                    <a:gd name="T100" fmla="*/ 105 w 151"/>
                    <a:gd name="T101" fmla="*/ 42 h 51"/>
                    <a:gd name="T102" fmla="*/ 98 w 151"/>
                    <a:gd name="T103" fmla="*/ 42 h 51"/>
                    <a:gd name="T104" fmla="*/ 84 w 151"/>
                    <a:gd name="T105" fmla="*/ 40 h 51"/>
                    <a:gd name="T106" fmla="*/ 72 w 151"/>
                    <a:gd name="T107" fmla="*/ 34 h 51"/>
                    <a:gd name="T108" fmla="*/ 61 w 151"/>
                    <a:gd name="T109" fmla="*/ 33 h 51"/>
                    <a:gd name="T110" fmla="*/ 55 w 151"/>
                    <a:gd name="T111" fmla="*/ 32 h 51"/>
                    <a:gd name="T112" fmla="*/ 55 w 151"/>
                    <a:gd name="T113" fmla="*/ 32 h 51"/>
                    <a:gd name="T114" fmla="*/ 52 w 151"/>
                    <a:gd name="T115" fmla="*/ 34 h 51"/>
                    <a:gd name="T116" fmla="*/ 50 w 151"/>
                    <a:gd name="T117" fmla="*/ 34 h 51"/>
                    <a:gd name="T118" fmla="*/ 50 w 151"/>
                    <a:gd name="T119"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51">
                      <a:moveTo>
                        <a:pt x="50" y="34"/>
                      </a:moveTo>
                      <a:cubicBezTo>
                        <a:pt x="43" y="34"/>
                        <a:pt x="40" y="31"/>
                        <a:pt x="40" y="31"/>
                      </a:cubicBezTo>
                      <a:cubicBezTo>
                        <a:pt x="37" y="28"/>
                        <a:pt x="30" y="28"/>
                        <a:pt x="30" y="28"/>
                      </a:cubicBezTo>
                      <a:cubicBezTo>
                        <a:pt x="30" y="27"/>
                        <a:pt x="22" y="29"/>
                        <a:pt x="20" y="27"/>
                      </a:cubicBezTo>
                      <a:cubicBezTo>
                        <a:pt x="18" y="26"/>
                        <a:pt x="20" y="23"/>
                        <a:pt x="20" y="23"/>
                      </a:cubicBezTo>
                      <a:cubicBezTo>
                        <a:pt x="23" y="22"/>
                        <a:pt x="22" y="20"/>
                        <a:pt x="22" y="20"/>
                      </a:cubicBezTo>
                      <a:cubicBezTo>
                        <a:pt x="17" y="21"/>
                        <a:pt x="14" y="18"/>
                        <a:pt x="14" y="18"/>
                      </a:cubicBezTo>
                      <a:cubicBezTo>
                        <a:pt x="12" y="16"/>
                        <a:pt x="12" y="19"/>
                        <a:pt x="5" y="18"/>
                      </a:cubicBezTo>
                      <a:cubicBezTo>
                        <a:pt x="4" y="19"/>
                        <a:pt x="2" y="17"/>
                        <a:pt x="2" y="17"/>
                      </a:cubicBezTo>
                      <a:cubicBezTo>
                        <a:pt x="0" y="16"/>
                        <a:pt x="2" y="16"/>
                        <a:pt x="2" y="16"/>
                      </a:cubicBezTo>
                      <a:cubicBezTo>
                        <a:pt x="3" y="14"/>
                        <a:pt x="5" y="16"/>
                        <a:pt x="5" y="16"/>
                      </a:cubicBezTo>
                      <a:cubicBezTo>
                        <a:pt x="7" y="16"/>
                        <a:pt x="7" y="14"/>
                        <a:pt x="7" y="14"/>
                      </a:cubicBezTo>
                      <a:cubicBezTo>
                        <a:pt x="7" y="11"/>
                        <a:pt x="9" y="12"/>
                        <a:pt x="9" y="12"/>
                      </a:cubicBezTo>
                      <a:cubicBezTo>
                        <a:pt x="11" y="13"/>
                        <a:pt x="11" y="8"/>
                        <a:pt x="11" y="8"/>
                      </a:cubicBezTo>
                      <a:cubicBezTo>
                        <a:pt x="11" y="4"/>
                        <a:pt x="14" y="2"/>
                        <a:pt x="14" y="2"/>
                      </a:cubicBezTo>
                      <a:cubicBezTo>
                        <a:pt x="14" y="0"/>
                        <a:pt x="16" y="4"/>
                        <a:pt x="16" y="4"/>
                      </a:cubicBezTo>
                      <a:cubicBezTo>
                        <a:pt x="18" y="1"/>
                        <a:pt x="20" y="4"/>
                        <a:pt x="20" y="4"/>
                      </a:cubicBezTo>
                      <a:cubicBezTo>
                        <a:pt x="24" y="2"/>
                        <a:pt x="26" y="5"/>
                        <a:pt x="26" y="5"/>
                      </a:cubicBezTo>
                      <a:cubicBezTo>
                        <a:pt x="29" y="5"/>
                        <a:pt x="29" y="2"/>
                        <a:pt x="29" y="2"/>
                      </a:cubicBezTo>
                      <a:cubicBezTo>
                        <a:pt x="33" y="4"/>
                        <a:pt x="34" y="3"/>
                        <a:pt x="34" y="3"/>
                      </a:cubicBezTo>
                      <a:cubicBezTo>
                        <a:pt x="37" y="7"/>
                        <a:pt x="38" y="6"/>
                        <a:pt x="38" y="6"/>
                      </a:cubicBezTo>
                      <a:cubicBezTo>
                        <a:pt x="40" y="9"/>
                        <a:pt x="42" y="6"/>
                        <a:pt x="42" y="6"/>
                      </a:cubicBezTo>
                      <a:cubicBezTo>
                        <a:pt x="44" y="6"/>
                        <a:pt x="44" y="9"/>
                        <a:pt x="47" y="9"/>
                      </a:cubicBezTo>
                      <a:cubicBezTo>
                        <a:pt x="49" y="8"/>
                        <a:pt x="50" y="6"/>
                        <a:pt x="50" y="9"/>
                      </a:cubicBezTo>
                      <a:cubicBezTo>
                        <a:pt x="54" y="11"/>
                        <a:pt x="54" y="14"/>
                        <a:pt x="54" y="14"/>
                      </a:cubicBezTo>
                      <a:cubicBezTo>
                        <a:pt x="55" y="17"/>
                        <a:pt x="57" y="17"/>
                        <a:pt x="57" y="17"/>
                      </a:cubicBezTo>
                      <a:cubicBezTo>
                        <a:pt x="58" y="16"/>
                        <a:pt x="63" y="18"/>
                        <a:pt x="63" y="18"/>
                      </a:cubicBezTo>
                      <a:cubicBezTo>
                        <a:pt x="68" y="18"/>
                        <a:pt x="70" y="17"/>
                        <a:pt x="70" y="17"/>
                      </a:cubicBezTo>
                      <a:cubicBezTo>
                        <a:pt x="74" y="17"/>
                        <a:pt x="73" y="19"/>
                        <a:pt x="77" y="19"/>
                      </a:cubicBezTo>
                      <a:cubicBezTo>
                        <a:pt x="80" y="18"/>
                        <a:pt x="82" y="19"/>
                        <a:pt x="82" y="19"/>
                      </a:cubicBezTo>
                      <a:cubicBezTo>
                        <a:pt x="86" y="19"/>
                        <a:pt x="87" y="13"/>
                        <a:pt x="87" y="13"/>
                      </a:cubicBezTo>
                      <a:cubicBezTo>
                        <a:pt x="88" y="9"/>
                        <a:pt x="94" y="10"/>
                        <a:pt x="93" y="12"/>
                      </a:cubicBezTo>
                      <a:cubicBezTo>
                        <a:pt x="94" y="16"/>
                        <a:pt x="99" y="15"/>
                        <a:pt x="99" y="15"/>
                      </a:cubicBezTo>
                      <a:cubicBezTo>
                        <a:pt x="100" y="12"/>
                        <a:pt x="104" y="16"/>
                        <a:pt x="104" y="16"/>
                      </a:cubicBezTo>
                      <a:cubicBezTo>
                        <a:pt x="108" y="16"/>
                        <a:pt x="109" y="19"/>
                        <a:pt x="109" y="19"/>
                      </a:cubicBezTo>
                      <a:cubicBezTo>
                        <a:pt x="111" y="20"/>
                        <a:pt x="112" y="17"/>
                        <a:pt x="116" y="19"/>
                      </a:cubicBezTo>
                      <a:cubicBezTo>
                        <a:pt x="118" y="19"/>
                        <a:pt x="118" y="22"/>
                        <a:pt x="118" y="22"/>
                      </a:cubicBezTo>
                      <a:cubicBezTo>
                        <a:pt x="119" y="30"/>
                        <a:pt x="121" y="30"/>
                        <a:pt x="121" y="30"/>
                      </a:cubicBezTo>
                      <a:cubicBezTo>
                        <a:pt x="127" y="33"/>
                        <a:pt x="127" y="34"/>
                        <a:pt x="131" y="32"/>
                      </a:cubicBezTo>
                      <a:cubicBezTo>
                        <a:pt x="135" y="33"/>
                        <a:pt x="137" y="30"/>
                        <a:pt x="140" y="31"/>
                      </a:cubicBezTo>
                      <a:cubicBezTo>
                        <a:pt x="142" y="31"/>
                        <a:pt x="145" y="33"/>
                        <a:pt x="145" y="33"/>
                      </a:cubicBezTo>
                      <a:cubicBezTo>
                        <a:pt x="149" y="33"/>
                        <a:pt x="146" y="42"/>
                        <a:pt x="146" y="42"/>
                      </a:cubicBezTo>
                      <a:cubicBezTo>
                        <a:pt x="145" y="46"/>
                        <a:pt x="147" y="48"/>
                        <a:pt x="147" y="48"/>
                      </a:cubicBezTo>
                      <a:cubicBezTo>
                        <a:pt x="151" y="49"/>
                        <a:pt x="148" y="51"/>
                        <a:pt x="148" y="51"/>
                      </a:cubicBezTo>
                      <a:cubicBezTo>
                        <a:pt x="146" y="51"/>
                        <a:pt x="145" y="48"/>
                        <a:pt x="145" y="48"/>
                      </a:cubicBezTo>
                      <a:cubicBezTo>
                        <a:pt x="138" y="48"/>
                        <a:pt x="139" y="48"/>
                        <a:pt x="137" y="46"/>
                      </a:cubicBezTo>
                      <a:cubicBezTo>
                        <a:pt x="135" y="47"/>
                        <a:pt x="131" y="44"/>
                        <a:pt x="131" y="44"/>
                      </a:cubicBezTo>
                      <a:cubicBezTo>
                        <a:pt x="128" y="41"/>
                        <a:pt x="124" y="43"/>
                        <a:pt x="124" y="43"/>
                      </a:cubicBezTo>
                      <a:cubicBezTo>
                        <a:pt x="122" y="45"/>
                        <a:pt x="120" y="44"/>
                        <a:pt x="120" y="44"/>
                      </a:cubicBezTo>
                      <a:cubicBezTo>
                        <a:pt x="117" y="46"/>
                        <a:pt x="112" y="43"/>
                        <a:pt x="112" y="43"/>
                      </a:cubicBezTo>
                      <a:cubicBezTo>
                        <a:pt x="108" y="43"/>
                        <a:pt x="105" y="42"/>
                        <a:pt x="105" y="42"/>
                      </a:cubicBezTo>
                      <a:cubicBezTo>
                        <a:pt x="103" y="45"/>
                        <a:pt x="98" y="42"/>
                        <a:pt x="98" y="42"/>
                      </a:cubicBezTo>
                      <a:cubicBezTo>
                        <a:pt x="92" y="42"/>
                        <a:pt x="84" y="40"/>
                        <a:pt x="84" y="40"/>
                      </a:cubicBezTo>
                      <a:cubicBezTo>
                        <a:pt x="77" y="35"/>
                        <a:pt x="72" y="34"/>
                        <a:pt x="72" y="34"/>
                      </a:cubicBezTo>
                      <a:cubicBezTo>
                        <a:pt x="67" y="34"/>
                        <a:pt x="64" y="30"/>
                        <a:pt x="61" y="33"/>
                      </a:cubicBezTo>
                      <a:cubicBezTo>
                        <a:pt x="59" y="34"/>
                        <a:pt x="55" y="32"/>
                        <a:pt x="55" y="32"/>
                      </a:cubicBezTo>
                      <a:lnTo>
                        <a:pt x="55" y="32"/>
                      </a:lnTo>
                      <a:lnTo>
                        <a:pt x="52" y="34"/>
                      </a:lnTo>
                      <a:lnTo>
                        <a:pt x="50" y="34"/>
                      </a:lnTo>
                      <a:lnTo>
                        <a:pt x="50" y="3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7" name="Freeform 227"/>
                <p:cNvSpPr>
                  <a:spLocks/>
                </p:cNvSpPr>
                <p:nvPr>
                  <p:custDataLst>
                    <p:tags r:id="rId213"/>
                  </p:custDataLst>
                </p:nvPr>
              </p:nvSpPr>
              <p:spPr bwMode="gray">
                <a:xfrm>
                  <a:off x="4910820" y="3478337"/>
                  <a:ext cx="59231" cy="69191"/>
                </a:xfrm>
                <a:custGeom>
                  <a:avLst/>
                  <a:gdLst>
                    <a:gd name="T0" fmla="*/ 2 w 6"/>
                    <a:gd name="T1" fmla="*/ 0 h 6"/>
                    <a:gd name="T2" fmla="*/ 1 w 6"/>
                    <a:gd name="T3" fmla="*/ 4 h 6"/>
                    <a:gd name="T4" fmla="*/ 0 w 6"/>
                    <a:gd name="T5" fmla="*/ 4 h 6"/>
                    <a:gd name="T6" fmla="*/ 0 w 6"/>
                    <a:gd name="T7" fmla="*/ 4 h 6"/>
                    <a:gd name="T8" fmla="*/ 0 w 6"/>
                    <a:gd name="T9" fmla="*/ 5 h 6"/>
                    <a:gd name="T10" fmla="*/ 0 w 6"/>
                    <a:gd name="T11" fmla="*/ 5 h 6"/>
                    <a:gd name="T12" fmla="*/ 3 w 6"/>
                    <a:gd name="T13" fmla="*/ 6 h 6"/>
                    <a:gd name="T14" fmla="*/ 6 w 6"/>
                    <a:gd name="T15" fmla="*/ 3 h 6"/>
                    <a:gd name="T16" fmla="*/ 2 w 6"/>
                    <a:gd name="T17" fmla="*/ 0 h 6"/>
                    <a:gd name="T18" fmla="*/ 2 w 6"/>
                    <a:gd name="T19" fmla="*/ 0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cubicBezTo>
                        <a:pt x="1" y="1"/>
                        <a:pt x="1" y="2"/>
                        <a:pt x="1" y="4"/>
                      </a:cubicBezTo>
                      <a:cubicBezTo>
                        <a:pt x="0" y="4"/>
                        <a:pt x="0" y="4"/>
                        <a:pt x="0" y="4"/>
                      </a:cubicBezTo>
                      <a:lnTo>
                        <a:pt x="0" y="4"/>
                      </a:lnTo>
                      <a:lnTo>
                        <a:pt x="0" y="5"/>
                      </a:lnTo>
                      <a:lnTo>
                        <a:pt x="0" y="5"/>
                      </a:lnTo>
                      <a:cubicBezTo>
                        <a:pt x="1" y="5"/>
                        <a:pt x="2" y="6"/>
                        <a:pt x="3" y="6"/>
                      </a:cubicBezTo>
                      <a:cubicBezTo>
                        <a:pt x="4" y="6"/>
                        <a:pt x="6" y="4"/>
                        <a:pt x="6" y="3"/>
                      </a:cubicBezTo>
                      <a:cubicBezTo>
                        <a:pt x="6" y="1"/>
                        <a:pt x="4"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8" name="Freeform 228"/>
                <p:cNvSpPr>
                  <a:spLocks/>
                </p:cNvSpPr>
                <p:nvPr>
                  <p:custDataLst>
                    <p:tags r:id="rId214"/>
                  </p:custDataLst>
                </p:nvPr>
              </p:nvSpPr>
              <p:spPr bwMode="gray">
                <a:xfrm>
                  <a:off x="4618893" y="3770823"/>
                  <a:ext cx="121283" cy="133664"/>
                </a:xfrm>
                <a:custGeom>
                  <a:avLst/>
                  <a:gdLst>
                    <a:gd name="T0" fmla="*/ 1 w 12"/>
                    <a:gd name="T1" fmla="*/ 5 h 12"/>
                    <a:gd name="T2" fmla="*/ 5 w 12"/>
                    <a:gd name="T3" fmla="*/ 0 h 12"/>
                    <a:gd name="T4" fmla="*/ 7 w 12"/>
                    <a:gd name="T5" fmla="*/ 1 h 12"/>
                    <a:gd name="T6" fmla="*/ 12 w 12"/>
                    <a:gd name="T7" fmla="*/ 7 h 12"/>
                    <a:gd name="T8" fmla="*/ 11 w 12"/>
                    <a:gd name="T9" fmla="*/ 8 h 12"/>
                    <a:gd name="T10" fmla="*/ 7 w 12"/>
                    <a:gd name="T11" fmla="*/ 12 h 12"/>
                    <a:gd name="T12" fmla="*/ 4 w 12"/>
                    <a:gd name="T13" fmla="*/ 10 h 12"/>
                    <a:gd name="T14" fmla="*/ 3 w 12"/>
                    <a:gd name="T15" fmla="*/ 12 h 12"/>
                    <a:gd name="T16" fmla="*/ 0 w 12"/>
                    <a:gd name="T17" fmla="*/ 7 h 12"/>
                    <a:gd name="T18" fmla="*/ 1 w 12"/>
                    <a:gd name="T19" fmla="*/ 5 h 12"/>
                    <a:gd name="T20" fmla="*/ 1 w 12"/>
                    <a:gd name="T21" fmla="*/ 5 h 12"/>
                    <a:gd name="T22" fmla="*/ 1 w 12"/>
                    <a:gd name="T23" fmla="*/ 5 h 12"/>
                    <a:gd name="T24" fmla="*/ 1 w 12"/>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1" y="5"/>
                      </a:moveTo>
                      <a:cubicBezTo>
                        <a:pt x="2" y="3"/>
                        <a:pt x="3" y="0"/>
                        <a:pt x="5" y="0"/>
                      </a:cubicBezTo>
                      <a:cubicBezTo>
                        <a:pt x="6" y="0"/>
                        <a:pt x="6" y="1"/>
                        <a:pt x="7" y="1"/>
                      </a:cubicBezTo>
                      <a:cubicBezTo>
                        <a:pt x="8" y="3"/>
                        <a:pt x="12" y="3"/>
                        <a:pt x="12" y="7"/>
                      </a:cubicBezTo>
                      <a:cubicBezTo>
                        <a:pt x="12" y="8"/>
                        <a:pt x="11" y="8"/>
                        <a:pt x="11" y="8"/>
                      </a:cubicBezTo>
                      <a:cubicBezTo>
                        <a:pt x="10" y="9"/>
                        <a:pt x="9" y="12"/>
                        <a:pt x="7" y="12"/>
                      </a:cubicBezTo>
                      <a:cubicBezTo>
                        <a:pt x="6" y="12"/>
                        <a:pt x="5" y="10"/>
                        <a:pt x="4" y="10"/>
                      </a:cubicBezTo>
                      <a:cubicBezTo>
                        <a:pt x="4" y="11"/>
                        <a:pt x="4" y="12"/>
                        <a:pt x="3" y="12"/>
                      </a:cubicBezTo>
                      <a:cubicBezTo>
                        <a:pt x="1" y="12"/>
                        <a:pt x="0" y="8"/>
                        <a:pt x="0" y="7"/>
                      </a:cubicBezTo>
                      <a:cubicBezTo>
                        <a:pt x="0" y="6"/>
                        <a:pt x="1" y="5"/>
                        <a:pt x="1" y="5"/>
                      </a:cubicBezTo>
                      <a:cubicBezTo>
                        <a:pt x="1" y="5"/>
                        <a:pt x="1" y="5"/>
                        <a:pt x="1" y="5"/>
                      </a:cubicBezTo>
                      <a:lnTo>
                        <a:pt x="1" y="5"/>
                      </a:lnTo>
                      <a:lnTo>
                        <a:pt x="1"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099" name="Freeform 229"/>
                <p:cNvSpPr>
                  <a:spLocks/>
                </p:cNvSpPr>
                <p:nvPr>
                  <p:custDataLst>
                    <p:tags r:id="rId215"/>
                  </p:custDataLst>
                </p:nvPr>
              </p:nvSpPr>
              <p:spPr bwMode="gray">
                <a:xfrm>
                  <a:off x="6237885" y="2627607"/>
                  <a:ext cx="19744" cy="34595"/>
                </a:xfrm>
                <a:custGeom>
                  <a:avLst/>
                  <a:gdLst>
                    <a:gd name="T0" fmla="*/ 0 w 2"/>
                    <a:gd name="T1" fmla="*/ 2 h 3"/>
                    <a:gd name="T2" fmla="*/ 1 w 2"/>
                    <a:gd name="T3" fmla="*/ 0 h 3"/>
                    <a:gd name="T4" fmla="*/ 2 w 2"/>
                    <a:gd name="T5" fmla="*/ 2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0" y="0"/>
                        <a:pt x="1" y="0"/>
                      </a:cubicBezTo>
                      <a:cubicBezTo>
                        <a:pt x="1" y="0"/>
                        <a:pt x="2" y="1"/>
                        <a:pt x="2" y="2"/>
                      </a:cubicBezTo>
                      <a:cubicBezTo>
                        <a:pt x="2" y="2"/>
                        <a:pt x="1" y="3"/>
                        <a:pt x="1" y="3"/>
                      </a:cubicBezTo>
                      <a:cubicBezTo>
                        <a:pt x="0"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0" name="Freeform 230"/>
                <p:cNvSpPr>
                  <a:spLocks/>
                </p:cNvSpPr>
                <p:nvPr>
                  <p:custDataLst>
                    <p:tags r:id="rId216"/>
                  </p:custDataLst>
                </p:nvPr>
              </p:nvSpPr>
              <p:spPr bwMode="gray">
                <a:xfrm>
                  <a:off x="6146217" y="2627607"/>
                  <a:ext cx="40898" cy="23588"/>
                </a:xfrm>
                <a:custGeom>
                  <a:avLst/>
                  <a:gdLst>
                    <a:gd name="T0" fmla="*/ 0 w 4"/>
                    <a:gd name="T1" fmla="*/ 1 h 2"/>
                    <a:gd name="T2" fmla="*/ 2 w 4"/>
                    <a:gd name="T3" fmla="*/ 0 h 2"/>
                    <a:gd name="T4" fmla="*/ 4 w 4"/>
                    <a:gd name="T5" fmla="*/ 1 h 2"/>
                    <a:gd name="T6" fmla="*/ 2 w 4"/>
                    <a:gd name="T7" fmla="*/ 2 h 2"/>
                    <a:gd name="T8" fmla="*/ 0 w 4"/>
                    <a:gd name="T9" fmla="*/ 1 h 2"/>
                    <a:gd name="T10" fmla="*/ 0 w 4"/>
                    <a:gd name="T11" fmla="*/ 1 h 2"/>
                    <a:gd name="T12" fmla="*/ 0 w 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1"/>
                      </a:moveTo>
                      <a:cubicBezTo>
                        <a:pt x="0" y="1"/>
                        <a:pt x="1" y="0"/>
                        <a:pt x="2" y="0"/>
                      </a:cubicBezTo>
                      <a:cubicBezTo>
                        <a:pt x="3" y="0"/>
                        <a:pt x="4" y="1"/>
                        <a:pt x="4" y="1"/>
                      </a:cubicBezTo>
                      <a:cubicBezTo>
                        <a:pt x="4" y="2"/>
                        <a:pt x="3" y="2"/>
                        <a:pt x="2"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1" name="Freeform 231"/>
                <p:cNvSpPr>
                  <a:spLocks/>
                </p:cNvSpPr>
                <p:nvPr>
                  <p:custDataLst>
                    <p:tags r:id="rId217"/>
                  </p:custDataLst>
                </p:nvPr>
              </p:nvSpPr>
              <p:spPr bwMode="gray">
                <a:xfrm>
                  <a:off x="6156090" y="2616600"/>
                  <a:ext cx="31026" cy="11009"/>
                </a:xfrm>
                <a:custGeom>
                  <a:avLst/>
                  <a:gdLst>
                    <a:gd name="T0" fmla="*/ 0 w 3"/>
                    <a:gd name="T1" fmla="*/ 1 h 1"/>
                    <a:gd name="T2" fmla="*/ 1 w 3"/>
                    <a:gd name="T3" fmla="*/ 0 h 1"/>
                    <a:gd name="T4" fmla="*/ 3 w 3"/>
                    <a:gd name="T5" fmla="*/ 1 h 1"/>
                    <a:gd name="T6" fmla="*/ 1 w 3"/>
                    <a:gd name="T7" fmla="*/ 1 h 1"/>
                    <a:gd name="T8" fmla="*/ 0 w 3"/>
                    <a:gd name="T9" fmla="*/ 1 h 1"/>
                    <a:gd name="T10" fmla="*/ 0 w 3"/>
                    <a:gd name="T11" fmla="*/ 1 h 1"/>
                    <a:gd name="T12" fmla="*/ 0 w 3"/>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1"/>
                      </a:moveTo>
                      <a:cubicBezTo>
                        <a:pt x="0" y="0"/>
                        <a:pt x="1" y="0"/>
                        <a:pt x="1" y="0"/>
                      </a:cubicBezTo>
                      <a:cubicBezTo>
                        <a:pt x="2" y="0"/>
                        <a:pt x="3" y="0"/>
                        <a:pt x="3" y="1"/>
                      </a:cubicBezTo>
                      <a:cubicBezTo>
                        <a:pt x="3"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2" name="Freeform 232"/>
                <p:cNvSpPr>
                  <a:spLocks/>
                </p:cNvSpPr>
                <p:nvPr>
                  <p:custDataLst>
                    <p:tags r:id="rId218"/>
                  </p:custDataLst>
                </p:nvPr>
              </p:nvSpPr>
              <p:spPr bwMode="gray">
                <a:xfrm>
                  <a:off x="6206859" y="2528541"/>
                  <a:ext cx="2115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3" name="Freeform 233"/>
                <p:cNvSpPr>
                  <a:spLocks/>
                </p:cNvSpPr>
                <p:nvPr>
                  <p:custDataLst>
                    <p:tags r:id="rId219"/>
                  </p:custDataLst>
                </p:nvPr>
              </p:nvSpPr>
              <p:spPr bwMode="gray">
                <a:xfrm>
                  <a:off x="6218141" y="2493944"/>
                  <a:ext cx="39488" cy="56611"/>
                </a:xfrm>
                <a:custGeom>
                  <a:avLst/>
                  <a:gdLst>
                    <a:gd name="T0" fmla="*/ 1 w 4"/>
                    <a:gd name="T1" fmla="*/ 0 h 5"/>
                    <a:gd name="T2" fmla="*/ 4 w 4"/>
                    <a:gd name="T3" fmla="*/ 2 h 5"/>
                    <a:gd name="T4" fmla="*/ 4 w 4"/>
                    <a:gd name="T5" fmla="*/ 2 h 5"/>
                    <a:gd name="T6" fmla="*/ 4 w 4"/>
                    <a:gd name="T7" fmla="*/ 5 h 5"/>
                    <a:gd name="T8" fmla="*/ 4 w 4"/>
                    <a:gd name="T9" fmla="*/ 5 h 5"/>
                    <a:gd name="T10" fmla="*/ 3 w 4"/>
                    <a:gd name="T11" fmla="*/ 5 h 5"/>
                    <a:gd name="T12" fmla="*/ 3 w 4"/>
                    <a:gd name="T13" fmla="*/ 5 h 5"/>
                    <a:gd name="T14" fmla="*/ 0 w 4"/>
                    <a:gd name="T15" fmla="*/ 1 h 5"/>
                    <a:gd name="T16" fmla="*/ 0 w 4"/>
                    <a:gd name="T17" fmla="*/ 1 h 5"/>
                    <a:gd name="T18" fmla="*/ 1 w 4"/>
                    <a:gd name="T19" fmla="*/ 0 h 5"/>
                    <a:gd name="T20" fmla="*/ 1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1" y="0"/>
                      </a:moveTo>
                      <a:cubicBezTo>
                        <a:pt x="2" y="1"/>
                        <a:pt x="2" y="2"/>
                        <a:pt x="4" y="2"/>
                      </a:cubicBezTo>
                      <a:lnTo>
                        <a:pt x="4" y="2"/>
                      </a:lnTo>
                      <a:lnTo>
                        <a:pt x="4" y="5"/>
                      </a:lnTo>
                      <a:lnTo>
                        <a:pt x="4" y="5"/>
                      </a:lnTo>
                      <a:lnTo>
                        <a:pt x="3" y="5"/>
                      </a:lnTo>
                      <a:lnTo>
                        <a:pt x="3" y="5"/>
                      </a:lnTo>
                      <a:cubicBezTo>
                        <a:pt x="2" y="4"/>
                        <a:pt x="1" y="2"/>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4" name="Freeform 234"/>
                <p:cNvSpPr>
                  <a:spLocks/>
                </p:cNvSpPr>
                <p:nvPr>
                  <p:custDataLst>
                    <p:tags r:id="rId220"/>
                  </p:custDataLst>
                </p:nvPr>
              </p:nvSpPr>
              <p:spPr bwMode="gray">
                <a:xfrm>
                  <a:off x="5955831" y="3939084"/>
                  <a:ext cx="50769" cy="122656"/>
                </a:xfrm>
                <a:custGeom>
                  <a:avLst/>
                  <a:gdLst>
                    <a:gd name="T0" fmla="*/ 1 w 5"/>
                    <a:gd name="T1" fmla="*/ 11 h 11"/>
                    <a:gd name="T2" fmla="*/ 0 w 5"/>
                    <a:gd name="T3" fmla="*/ 6 h 11"/>
                    <a:gd name="T4" fmla="*/ 3 w 5"/>
                    <a:gd name="T5" fmla="*/ 0 h 11"/>
                    <a:gd name="T6" fmla="*/ 5 w 5"/>
                    <a:gd name="T7" fmla="*/ 3 h 11"/>
                    <a:gd name="T8" fmla="*/ 4 w 5"/>
                    <a:gd name="T9" fmla="*/ 6 h 11"/>
                    <a:gd name="T10" fmla="*/ 4 w 5"/>
                    <a:gd name="T11" fmla="*/ 8 h 11"/>
                    <a:gd name="T12" fmla="*/ 1 w 5"/>
                    <a:gd name="T13" fmla="*/ 11 h 11"/>
                    <a:gd name="T14" fmla="*/ 1 w 5"/>
                    <a:gd name="T15" fmla="*/ 11 h 11"/>
                    <a:gd name="T16" fmla="*/ 1 w 5"/>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1" y="11"/>
                      </a:moveTo>
                      <a:cubicBezTo>
                        <a:pt x="1" y="11"/>
                        <a:pt x="0" y="6"/>
                        <a:pt x="0" y="6"/>
                      </a:cubicBezTo>
                      <a:cubicBezTo>
                        <a:pt x="0" y="4"/>
                        <a:pt x="1" y="0"/>
                        <a:pt x="3" y="0"/>
                      </a:cubicBezTo>
                      <a:cubicBezTo>
                        <a:pt x="3" y="0"/>
                        <a:pt x="5" y="1"/>
                        <a:pt x="5" y="3"/>
                      </a:cubicBezTo>
                      <a:cubicBezTo>
                        <a:pt x="5" y="4"/>
                        <a:pt x="4" y="6"/>
                        <a:pt x="4" y="6"/>
                      </a:cubicBezTo>
                      <a:cubicBezTo>
                        <a:pt x="4" y="7"/>
                        <a:pt x="4" y="7"/>
                        <a:pt x="4" y="8"/>
                      </a:cubicBezTo>
                      <a:cubicBezTo>
                        <a:pt x="4" y="10"/>
                        <a:pt x="3" y="11"/>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5" name="Freeform 235"/>
                <p:cNvSpPr>
                  <a:spLocks/>
                </p:cNvSpPr>
                <p:nvPr>
                  <p:custDataLst>
                    <p:tags r:id="rId221"/>
                  </p:custDataLst>
                </p:nvPr>
              </p:nvSpPr>
              <p:spPr bwMode="gray">
                <a:xfrm>
                  <a:off x="2648744" y="2247060"/>
                  <a:ext cx="1738865" cy="2184220"/>
                </a:xfrm>
                <a:custGeom>
                  <a:avLst/>
                  <a:gdLst>
                    <a:gd name="T0" fmla="*/ 113 w 173"/>
                    <a:gd name="T1" fmla="*/ 161 h 195"/>
                    <a:gd name="T2" fmla="*/ 131 w 173"/>
                    <a:gd name="T3" fmla="*/ 176 h 195"/>
                    <a:gd name="T4" fmla="*/ 146 w 173"/>
                    <a:gd name="T5" fmla="*/ 191 h 195"/>
                    <a:gd name="T6" fmla="*/ 150 w 173"/>
                    <a:gd name="T7" fmla="*/ 187 h 195"/>
                    <a:gd name="T8" fmla="*/ 162 w 173"/>
                    <a:gd name="T9" fmla="*/ 188 h 195"/>
                    <a:gd name="T10" fmla="*/ 169 w 173"/>
                    <a:gd name="T11" fmla="*/ 184 h 195"/>
                    <a:gd name="T12" fmla="*/ 169 w 173"/>
                    <a:gd name="T13" fmla="*/ 157 h 195"/>
                    <a:gd name="T14" fmla="*/ 167 w 173"/>
                    <a:gd name="T15" fmla="*/ 139 h 195"/>
                    <a:gd name="T16" fmla="*/ 152 w 173"/>
                    <a:gd name="T17" fmla="*/ 136 h 195"/>
                    <a:gd name="T18" fmla="*/ 153 w 173"/>
                    <a:gd name="T19" fmla="*/ 131 h 195"/>
                    <a:gd name="T20" fmla="*/ 147 w 173"/>
                    <a:gd name="T21" fmla="*/ 116 h 195"/>
                    <a:gd name="T22" fmla="*/ 134 w 173"/>
                    <a:gd name="T23" fmla="*/ 111 h 195"/>
                    <a:gd name="T24" fmla="*/ 130 w 173"/>
                    <a:gd name="T25" fmla="*/ 100 h 195"/>
                    <a:gd name="T26" fmla="*/ 136 w 173"/>
                    <a:gd name="T27" fmla="*/ 91 h 195"/>
                    <a:gd name="T28" fmla="*/ 122 w 173"/>
                    <a:gd name="T29" fmla="*/ 90 h 195"/>
                    <a:gd name="T30" fmla="*/ 124 w 173"/>
                    <a:gd name="T31" fmla="*/ 87 h 195"/>
                    <a:gd name="T32" fmla="*/ 111 w 173"/>
                    <a:gd name="T33" fmla="*/ 77 h 195"/>
                    <a:gd name="T34" fmla="*/ 98 w 173"/>
                    <a:gd name="T35" fmla="*/ 63 h 195"/>
                    <a:gd name="T36" fmla="*/ 90 w 173"/>
                    <a:gd name="T37" fmla="*/ 58 h 195"/>
                    <a:gd name="T38" fmla="*/ 84 w 173"/>
                    <a:gd name="T39" fmla="*/ 57 h 195"/>
                    <a:gd name="T40" fmla="*/ 77 w 173"/>
                    <a:gd name="T41" fmla="*/ 50 h 195"/>
                    <a:gd name="T42" fmla="*/ 74 w 173"/>
                    <a:gd name="T43" fmla="*/ 44 h 195"/>
                    <a:gd name="T44" fmla="*/ 63 w 173"/>
                    <a:gd name="T45" fmla="*/ 34 h 195"/>
                    <a:gd name="T46" fmla="*/ 56 w 173"/>
                    <a:gd name="T47" fmla="*/ 29 h 195"/>
                    <a:gd name="T48" fmla="*/ 49 w 173"/>
                    <a:gd name="T49" fmla="*/ 25 h 195"/>
                    <a:gd name="T50" fmla="*/ 45 w 173"/>
                    <a:gd name="T51" fmla="*/ 18 h 195"/>
                    <a:gd name="T52" fmla="*/ 39 w 173"/>
                    <a:gd name="T53" fmla="*/ 8 h 195"/>
                    <a:gd name="T54" fmla="*/ 31 w 173"/>
                    <a:gd name="T55" fmla="*/ 7 h 195"/>
                    <a:gd name="T56" fmla="*/ 12 w 173"/>
                    <a:gd name="T57" fmla="*/ 2 h 195"/>
                    <a:gd name="T58" fmla="*/ 7 w 173"/>
                    <a:gd name="T59" fmla="*/ 16 h 195"/>
                    <a:gd name="T60" fmla="*/ 13 w 173"/>
                    <a:gd name="T61" fmla="*/ 23 h 195"/>
                    <a:gd name="T62" fmla="*/ 22 w 173"/>
                    <a:gd name="T63" fmla="*/ 32 h 195"/>
                    <a:gd name="T64" fmla="*/ 30 w 173"/>
                    <a:gd name="T65" fmla="*/ 36 h 195"/>
                    <a:gd name="T66" fmla="*/ 39 w 173"/>
                    <a:gd name="T67" fmla="*/ 47 h 195"/>
                    <a:gd name="T68" fmla="*/ 40 w 173"/>
                    <a:gd name="T69" fmla="*/ 53 h 195"/>
                    <a:gd name="T70" fmla="*/ 57 w 173"/>
                    <a:gd name="T71" fmla="*/ 68 h 195"/>
                    <a:gd name="T72" fmla="*/ 63 w 173"/>
                    <a:gd name="T73" fmla="*/ 85 h 195"/>
                    <a:gd name="T74" fmla="*/ 73 w 173"/>
                    <a:gd name="T75" fmla="*/ 94 h 195"/>
                    <a:gd name="T76" fmla="*/ 80 w 173"/>
                    <a:gd name="T77" fmla="*/ 106 h 195"/>
                    <a:gd name="T78" fmla="*/ 87 w 173"/>
                    <a:gd name="T79" fmla="*/ 121 h 195"/>
                    <a:gd name="T80" fmla="*/ 90 w 173"/>
                    <a:gd name="T81" fmla="*/ 126 h 195"/>
                    <a:gd name="T82" fmla="*/ 102 w 173"/>
                    <a:gd name="T83" fmla="*/ 15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195">
                      <a:moveTo>
                        <a:pt x="102" y="150"/>
                      </a:moveTo>
                      <a:cubicBezTo>
                        <a:pt x="103" y="149"/>
                        <a:pt x="108" y="154"/>
                        <a:pt x="108" y="154"/>
                      </a:cubicBezTo>
                      <a:cubicBezTo>
                        <a:pt x="113" y="154"/>
                        <a:pt x="113" y="161"/>
                        <a:pt x="113" y="161"/>
                      </a:cubicBezTo>
                      <a:cubicBezTo>
                        <a:pt x="113" y="162"/>
                        <a:pt x="118" y="166"/>
                        <a:pt x="118" y="166"/>
                      </a:cubicBezTo>
                      <a:cubicBezTo>
                        <a:pt x="121" y="166"/>
                        <a:pt x="124" y="171"/>
                        <a:pt x="124" y="171"/>
                      </a:cubicBezTo>
                      <a:cubicBezTo>
                        <a:pt x="125" y="170"/>
                        <a:pt x="131" y="176"/>
                        <a:pt x="131" y="176"/>
                      </a:cubicBezTo>
                      <a:cubicBezTo>
                        <a:pt x="133" y="176"/>
                        <a:pt x="138" y="181"/>
                        <a:pt x="138" y="181"/>
                      </a:cubicBezTo>
                      <a:cubicBezTo>
                        <a:pt x="138" y="184"/>
                        <a:pt x="142" y="187"/>
                        <a:pt x="142" y="187"/>
                      </a:cubicBezTo>
                      <a:cubicBezTo>
                        <a:pt x="144" y="188"/>
                        <a:pt x="144" y="190"/>
                        <a:pt x="146" y="191"/>
                      </a:cubicBezTo>
                      <a:cubicBezTo>
                        <a:pt x="148" y="193"/>
                        <a:pt x="152" y="195"/>
                        <a:pt x="152" y="195"/>
                      </a:cubicBezTo>
                      <a:cubicBezTo>
                        <a:pt x="153" y="194"/>
                        <a:pt x="148" y="189"/>
                        <a:pt x="148" y="189"/>
                      </a:cubicBezTo>
                      <a:cubicBezTo>
                        <a:pt x="148" y="186"/>
                        <a:pt x="150" y="187"/>
                        <a:pt x="150" y="187"/>
                      </a:cubicBezTo>
                      <a:cubicBezTo>
                        <a:pt x="151" y="189"/>
                        <a:pt x="155" y="190"/>
                        <a:pt x="155" y="190"/>
                      </a:cubicBezTo>
                      <a:cubicBezTo>
                        <a:pt x="160" y="193"/>
                        <a:pt x="158" y="190"/>
                        <a:pt x="158" y="190"/>
                      </a:cubicBezTo>
                      <a:cubicBezTo>
                        <a:pt x="159" y="188"/>
                        <a:pt x="162" y="188"/>
                        <a:pt x="162" y="188"/>
                      </a:cubicBezTo>
                      <a:cubicBezTo>
                        <a:pt x="162" y="191"/>
                        <a:pt x="164" y="190"/>
                        <a:pt x="164" y="190"/>
                      </a:cubicBezTo>
                      <a:cubicBezTo>
                        <a:pt x="164" y="193"/>
                        <a:pt x="168" y="193"/>
                        <a:pt x="168" y="193"/>
                      </a:cubicBezTo>
                      <a:cubicBezTo>
                        <a:pt x="169" y="191"/>
                        <a:pt x="169" y="184"/>
                        <a:pt x="169" y="184"/>
                      </a:cubicBezTo>
                      <a:cubicBezTo>
                        <a:pt x="171" y="180"/>
                        <a:pt x="169" y="169"/>
                        <a:pt x="169" y="169"/>
                      </a:cubicBezTo>
                      <a:cubicBezTo>
                        <a:pt x="167" y="166"/>
                        <a:pt x="170" y="162"/>
                        <a:pt x="170" y="162"/>
                      </a:cubicBezTo>
                      <a:cubicBezTo>
                        <a:pt x="172" y="159"/>
                        <a:pt x="169" y="157"/>
                        <a:pt x="169" y="157"/>
                      </a:cubicBezTo>
                      <a:cubicBezTo>
                        <a:pt x="168" y="152"/>
                        <a:pt x="172" y="149"/>
                        <a:pt x="172" y="149"/>
                      </a:cubicBezTo>
                      <a:cubicBezTo>
                        <a:pt x="173" y="144"/>
                        <a:pt x="170" y="144"/>
                        <a:pt x="170" y="144"/>
                      </a:cubicBezTo>
                      <a:cubicBezTo>
                        <a:pt x="168" y="144"/>
                        <a:pt x="167" y="139"/>
                        <a:pt x="167" y="139"/>
                      </a:cubicBezTo>
                      <a:cubicBezTo>
                        <a:pt x="165" y="138"/>
                        <a:pt x="167" y="134"/>
                        <a:pt x="161" y="134"/>
                      </a:cubicBezTo>
                      <a:cubicBezTo>
                        <a:pt x="160" y="133"/>
                        <a:pt x="156" y="136"/>
                        <a:pt x="154" y="133"/>
                      </a:cubicBezTo>
                      <a:cubicBezTo>
                        <a:pt x="152" y="134"/>
                        <a:pt x="152" y="136"/>
                        <a:pt x="152" y="136"/>
                      </a:cubicBezTo>
                      <a:cubicBezTo>
                        <a:pt x="152" y="138"/>
                        <a:pt x="150" y="139"/>
                        <a:pt x="150" y="139"/>
                      </a:cubicBezTo>
                      <a:cubicBezTo>
                        <a:pt x="152" y="135"/>
                        <a:pt x="150" y="134"/>
                        <a:pt x="150" y="134"/>
                      </a:cubicBezTo>
                      <a:cubicBezTo>
                        <a:pt x="153" y="133"/>
                        <a:pt x="153" y="131"/>
                        <a:pt x="153" y="131"/>
                      </a:cubicBezTo>
                      <a:cubicBezTo>
                        <a:pt x="154" y="127"/>
                        <a:pt x="151" y="128"/>
                        <a:pt x="151" y="128"/>
                      </a:cubicBezTo>
                      <a:cubicBezTo>
                        <a:pt x="150" y="129"/>
                        <a:pt x="148" y="125"/>
                        <a:pt x="148" y="125"/>
                      </a:cubicBezTo>
                      <a:cubicBezTo>
                        <a:pt x="148" y="121"/>
                        <a:pt x="147" y="116"/>
                        <a:pt x="147" y="116"/>
                      </a:cubicBezTo>
                      <a:cubicBezTo>
                        <a:pt x="146" y="110"/>
                        <a:pt x="144" y="112"/>
                        <a:pt x="144" y="112"/>
                      </a:cubicBezTo>
                      <a:cubicBezTo>
                        <a:pt x="143" y="113"/>
                        <a:pt x="139" y="111"/>
                        <a:pt x="139" y="111"/>
                      </a:cubicBezTo>
                      <a:cubicBezTo>
                        <a:pt x="137" y="112"/>
                        <a:pt x="134" y="111"/>
                        <a:pt x="134" y="111"/>
                      </a:cubicBezTo>
                      <a:cubicBezTo>
                        <a:pt x="134" y="109"/>
                        <a:pt x="131" y="108"/>
                        <a:pt x="131" y="108"/>
                      </a:cubicBezTo>
                      <a:cubicBezTo>
                        <a:pt x="131" y="104"/>
                        <a:pt x="130" y="102"/>
                        <a:pt x="130" y="102"/>
                      </a:cubicBezTo>
                      <a:cubicBezTo>
                        <a:pt x="137" y="104"/>
                        <a:pt x="130" y="100"/>
                        <a:pt x="130" y="100"/>
                      </a:cubicBezTo>
                      <a:cubicBezTo>
                        <a:pt x="133" y="98"/>
                        <a:pt x="130" y="98"/>
                        <a:pt x="130" y="98"/>
                      </a:cubicBezTo>
                      <a:cubicBezTo>
                        <a:pt x="133" y="97"/>
                        <a:pt x="133" y="95"/>
                        <a:pt x="133" y="95"/>
                      </a:cubicBezTo>
                      <a:cubicBezTo>
                        <a:pt x="139" y="96"/>
                        <a:pt x="136" y="91"/>
                        <a:pt x="136" y="91"/>
                      </a:cubicBezTo>
                      <a:cubicBezTo>
                        <a:pt x="136" y="88"/>
                        <a:pt x="133" y="89"/>
                        <a:pt x="133" y="89"/>
                      </a:cubicBezTo>
                      <a:cubicBezTo>
                        <a:pt x="131" y="84"/>
                        <a:pt x="128" y="86"/>
                        <a:pt x="128" y="86"/>
                      </a:cubicBezTo>
                      <a:cubicBezTo>
                        <a:pt x="127" y="88"/>
                        <a:pt x="122" y="90"/>
                        <a:pt x="122" y="90"/>
                      </a:cubicBezTo>
                      <a:cubicBezTo>
                        <a:pt x="116" y="93"/>
                        <a:pt x="115" y="90"/>
                        <a:pt x="115" y="90"/>
                      </a:cubicBezTo>
                      <a:cubicBezTo>
                        <a:pt x="118" y="91"/>
                        <a:pt x="120" y="90"/>
                        <a:pt x="120" y="90"/>
                      </a:cubicBezTo>
                      <a:cubicBezTo>
                        <a:pt x="122" y="90"/>
                        <a:pt x="124" y="87"/>
                        <a:pt x="124" y="87"/>
                      </a:cubicBezTo>
                      <a:cubicBezTo>
                        <a:pt x="128" y="87"/>
                        <a:pt x="123" y="84"/>
                        <a:pt x="123" y="84"/>
                      </a:cubicBezTo>
                      <a:cubicBezTo>
                        <a:pt x="122" y="81"/>
                        <a:pt x="118" y="82"/>
                        <a:pt x="118" y="82"/>
                      </a:cubicBezTo>
                      <a:cubicBezTo>
                        <a:pt x="114" y="83"/>
                        <a:pt x="111" y="77"/>
                        <a:pt x="111" y="77"/>
                      </a:cubicBezTo>
                      <a:cubicBezTo>
                        <a:pt x="111" y="70"/>
                        <a:pt x="108" y="70"/>
                        <a:pt x="108" y="70"/>
                      </a:cubicBezTo>
                      <a:cubicBezTo>
                        <a:pt x="105" y="65"/>
                        <a:pt x="101" y="67"/>
                        <a:pt x="101" y="67"/>
                      </a:cubicBezTo>
                      <a:cubicBezTo>
                        <a:pt x="98" y="67"/>
                        <a:pt x="98" y="63"/>
                        <a:pt x="98" y="63"/>
                      </a:cubicBezTo>
                      <a:cubicBezTo>
                        <a:pt x="99" y="61"/>
                        <a:pt x="96" y="60"/>
                        <a:pt x="96" y="60"/>
                      </a:cubicBezTo>
                      <a:cubicBezTo>
                        <a:pt x="94" y="59"/>
                        <a:pt x="93" y="56"/>
                        <a:pt x="93" y="56"/>
                      </a:cubicBezTo>
                      <a:cubicBezTo>
                        <a:pt x="89" y="55"/>
                        <a:pt x="90" y="58"/>
                        <a:pt x="90" y="58"/>
                      </a:cubicBezTo>
                      <a:cubicBezTo>
                        <a:pt x="88" y="59"/>
                        <a:pt x="93" y="62"/>
                        <a:pt x="92" y="64"/>
                      </a:cubicBezTo>
                      <a:cubicBezTo>
                        <a:pt x="90" y="64"/>
                        <a:pt x="89" y="60"/>
                        <a:pt x="89" y="60"/>
                      </a:cubicBezTo>
                      <a:cubicBezTo>
                        <a:pt x="86" y="59"/>
                        <a:pt x="84" y="57"/>
                        <a:pt x="84" y="57"/>
                      </a:cubicBezTo>
                      <a:cubicBezTo>
                        <a:pt x="82" y="51"/>
                        <a:pt x="80" y="50"/>
                        <a:pt x="80" y="50"/>
                      </a:cubicBezTo>
                      <a:cubicBezTo>
                        <a:pt x="79" y="49"/>
                        <a:pt x="78" y="52"/>
                        <a:pt x="78" y="52"/>
                      </a:cubicBezTo>
                      <a:cubicBezTo>
                        <a:pt x="78" y="47"/>
                        <a:pt x="77" y="50"/>
                        <a:pt x="77" y="50"/>
                      </a:cubicBezTo>
                      <a:lnTo>
                        <a:pt x="77" y="50"/>
                      </a:lnTo>
                      <a:lnTo>
                        <a:pt x="74" y="44"/>
                      </a:lnTo>
                      <a:lnTo>
                        <a:pt x="74" y="44"/>
                      </a:lnTo>
                      <a:cubicBezTo>
                        <a:pt x="73" y="40"/>
                        <a:pt x="70" y="40"/>
                        <a:pt x="70" y="40"/>
                      </a:cubicBezTo>
                      <a:cubicBezTo>
                        <a:pt x="69" y="37"/>
                        <a:pt x="63" y="34"/>
                        <a:pt x="63" y="34"/>
                      </a:cubicBezTo>
                      <a:lnTo>
                        <a:pt x="63" y="34"/>
                      </a:lnTo>
                      <a:lnTo>
                        <a:pt x="58" y="32"/>
                      </a:lnTo>
                      <a:lnTo>
                        <a:pt x="58" y="32"/>
                      </a:lnTo>
                      <a:cubicBezTo>
                        <a:pt x="56" y="32"/>
                        <a:pt x="56" y="29"/>
                        <a:pt x="56" y="29"/>
                      </a:cubicBezTo>
                      <a:lnTo>
                        <a:pt x="56" y="29"/>
                      </a:lnTo>
                      <a:lnTo>
                        <a:pt x="53" y="26"/>
                      </a:lnTo>
                      <a:lnTo>
                        <a:pt x="49" y="25"/>
                      </a:lnTo>
                      <a:lnTo>
                        <a:pt x="49" y="25"/>
                      </a:lnTo>
                      <a:cubicBezTo>
                        <a:pt x="52" y="21"/>
                        <a:pt x="49" y="19"/>
                        <a:pt x="49" y="19"/>
                      </a:cubicBezTo>
                      <a:cubicBezTo>
                        <a:pt x="47" y="18"/>
                        <a:pt x="45" y="18"/>
                        <a:pt x="45" y="18"/>
                      </a:cubicBezTo>
                      <a:cubicBezTo>
                        <a:pt x="46" y="14"/>
                        <a:pt x="43" y="12"/>
                        <a:pt x="43" y="12"/>
                      </a:cubicBezTo>
                      <a:lnTo>
                        <a:pt x="43" y="12"/>
                      </a:lnTo>
                      <a:lnTo>
                        <a:pt x="39" y="8"/>
                      </a:lnTo>
                      <a:lnTo>
                        <a:pt x="39" y="8"/>
                      </a:lnTo>
                      <a:cubicBezTo>
                        <a:pt x="38" y="5"/>
                        <a:pt x="35" y="7"/>
                        <a:pt x="35" y="7"/>
                      </a:cubicBezTo>
                      <a:cubicBezTo>
                        <a:pt x="33" y="9"/>
                        <a:pt x="31" y="7"/>
                        <a:pt x="31" y="7"/>
                      </a:cubicBezTo>
                      <a:cubicBezTo>
                        <a:pt x="29" y="5"/>
                        <a:pt x="25" y="6"/>
                        <a:pt x="25" y="6"/>
                      </a:cubicBezTo>
                      <a:cubicBezTo>
                        <a:pt x="23" y="8"/>
                        <a:pt x="18" y="6"/>
                        <a:pt x="18" y="6"/>
                      </a:cubicBezTo>
                      <a:cubicBezTo>
                        <a:pt x="14" y="6"/>
                        <a:pt x="12" y="2"/>
                        <a:pt x="12" y="2"/>
                      </a:cubicBezTo>
                      <a:cubicBezTo>
                        <a:pt x="9" y="0"/>
                        <a:pt x="6" y="0"/>
                        <a:pt x="6" y="0"/>
                      </a:cubicBezTo>
                      <a:cubicBezTo>
                        <a:pt x="0" y="0"/>
                        <a:pt x="2" y="5"/>
                        <a:pt x="2" y="5"/>
                      </a:cubicBezTo>
                      <a:cubicBezTo>
                        <a:pt x="2" y="10"/>
                        <a:pt x="7" y="16"/>
                        <a:pt x="7" y="16"/>
                      </a:cubicBezTo>
                      <a:lnTo>
                        <a:pt x="7" y="16"/>
                      </a:lnTo>
                      <a:lnTo>
                        <a:pt x="13" y="23"/>
                      </a:lnTo>
                      <a:lnTo>
                        <a:pt x="13" y="23"/>
                      </a:lnTo>
                      <a:cubicBezTo>
                        <a:pt x="15" y="25"/>
                        <a:pt x="17" y="25"/>
                        <a:pt x="17" y="25"/>
                      </a:cubicBezTo>
                      <a:lnTo>
                        <a:pt x="17" y="25"/>
                      </a:lnTo>
                      <a:lnTo>
                        <a:pt x="22" y="32"/>
                      </a:lnTo>
                      <a:lnTo>
                        <a:pt x="22" y="32"/>
                      </a:lnTo>
                      <a:cubicBezTo>
                        <a:pt x="29" y="31"/>
                        <a:pt x="30" y="36"/>
                        <a:pt x="30" y="36"/>
                      </a:cubicBezTo>
                      <a:lnTo>
                        <a:pt x="30" y="36"/>
                      </a:lnTo>
                      <a:lnTo>
                        <a:pt x="34" y="41"/>
                      </a:lnTo>
                      <a:lnTo>
                        <a:pt x="34" y="41"/>
                      </a:lnTo>
                      <a:cubicBezTo>
                        <a:pt x="35" y="46"/>
                        <a:pt x="39" y="47"/>
                        <a:pt x="39" y="47"/>
                      </a:cubicBezTo>
                      <a:lnTo>
                        <a:pt x="39" y="47"/>
                      </a:lnTo>
                      <a:lnTo>
                        <a:pt x="40" y="53"/>
                      </a:lnTo>
                      <a:lnTo>
                        <a:pt x="40" y="53"/>
                      </a:lnTo>
                      <a:cubicBezTo>
                        <a:pt x="40" y="59"/>
                        <a:pt x="45" y="57"/>
                        <a:pt x="45" y="57"/>
                      </a:cubicBezTo>
                      <a:cubicBezTo>
                        <a:pt x="50" y="62"/>
                        <a:pt x="53" y="62"/>
                        <a:pt x="53" y="62"/>
                      </a:cubicBezTo>
                      <a:cubicBezTo>
                        <a:pt x="57" y="65"/>
                        <a:pt x="57" y="68"/>
                        <a:pt x="57" y="68"/>
                      </a:cubicBezTo>
                      <a:lnTo>
                        <a:pt x="57" y="68"/>
                      </a:lnTo>
                      <a:lnTo>
                        <a:pt x="60" y="77"/>
                      </a:lnTo>
                      <a:lnTo>
                        <a:pt x="63" y="85"/>
                      </a:lnTo>
                      <a:lnTo>
                        <a:pt x="63" y="91"/>
                      </a:lnTo>
                      <a:lnTo>
                        <a:pt x="63" y="91"/>
                      </a:lnTo>
                      <a:cubicBezTo>
                        <a:pt x="68" y="91"/>
                        <a:pt x="73" y="94"/>
                        <a:pt x="73" y="94"/>
                      </a:cubicBezTo>
                      <a:cubicBezTo>
                        <a:pt x="72" y="98"/>
                        <a:pt x="75" y="101"/>
                        <a:pt x="75" y="101"/>
                      </a:cubicBezTo>
                      <a:lnTo>
                        <a:pt x="75" y="101"/>
                      </a:lnTo>
                      <a:lnTo>
                        <a:pt x="80" y="106"/>
                      </a:lnTo>
                      <a:lnTo>
                        <a:pt x="80" y="106"/>
                      </a:lnTo>
                      <a:cubicBezTo>
                        <a:pt x="83" y="108"/>
                        <a:pt x="83" y="113"/>
                        <a:pt x="83" y="113"/>
                      </a:cubicBezTo>
                      <a:cubicBezTo>
                        <a:pt x="83" y="117"/>
                        <a:pt x="87" y="121"/>
                        <a:pt x="87" y="121"/>
                      </a:cubicBezTo>
                      <a:lnTo>
                        <a:pt x="87" y="121"/>
                      </a:lnTo>
                      <a:lnTo>
                        <a:pt x="90" y="126"/>
                      </a:lnTo>
                      <a:lnTo>
                        <a:pt x="90" y="126"/>
                      </a:lnTo>
                      <a:cubicBezTo>
                        <a:pt x="90" y="134"/>
                        <a:pt x="93" y="136"/>
                        <a:pt x="93" y="136"/>
                      </a:cubicBezTo>
                      <a:cubicBezTo>
                        <a:pt x="94" y="140"/>
                        <a:pt x="98" y="140"/>
                        <a:pt x="98" y="140"/>
                      </a:cubicBezTo>
                      <a:cubicBezTo>
                        <a:pt x="98" y="143"/>
                        <a:pt x="102" y="150"/>
                        <a:pt x="102" y="150"/>
                      </a:cubicBezTo>
                      <a:lnTo>
                        <a:pt x="102" y="150"/>
                      </a:lnTo>
                      <a:lnTo>
                        <a:pt x="102" y="15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6" name="Freeform 236"/>
                <p:cNvSpPr>
                  <a:spLocks/>
                </p:cNvSpPr>
                <p:nvPr>
                  <p:custDataLst>
                    <p:tags r:id="rId222"/>
                  </p:custDataLst>
                </p:nvPr>
              </p:nvSpPr>
              <p:spPr bwMode="gray">
                <a:xfrm>
                  <a:off x="3805167" y="3099362"/>
                  <a:ext cx="90258" cy="66046"/>
                </a:xfrm>
                <a:custGeom>
                  <a:avLst/>
                  <a:gdLst>
                    <a:gd name="T0" fmla="*/ 0 w 9"/>
                    <a:gd name="T1" fmla="*/ 4 h 6"/>
                    <a:gd name="T2" fmla="*/ 4 w 9"/>
                    <a:gd name="T3" fmla="*/ 5 h 6"/>
                    <a:gd name="T4" fmla="*/ 7 w 9"/>
                    <a:gd name="T5" fmla="*/ 5 h 6"/>
                    <a:gd name="T6" fmla="*/ 9 w 9"/>
                    <a:gd name="T7" fmla="*/ 6 h 6"/>
                    <a:gd name="T8" fmla="*/ 9 w 9"/>
                    <a:gd name="T9" fmla="*/ 6 h 6"/>
                    <a:gd name="T10" fmla="*/ 9 w 9"/>
                    <a:gd name="T11" fmla="*/ 4 h 6"/>
                    <a:gd name="T12" fmla="*/ 6 w 9"/>
                    <a:gd name="T13" fmla="*/ 2 h 6"/>
                    <a:gd name="T14" fmla="*/ 3 w 9"/>
                    <a:gd name="T15" fmla="*/ 2 h 6"/>
                    <a:gd name="T16" fmla="*/ 1 w 9"/>
                    <a:gd name="T17" fmla="*/ 0 h 6"/>
                    <a:gd name="T18" fmla="*/ 0 w 9"/>
                    <a:gd name="T19" fmla="*/ 4 h 6"/>
                    <a:gd name="T20" fmla="*/ 0 w 9"/>
                    <a:gd name="T21" fmla="*/ 4 h 6"/>
                    <a:gd name="T22" fmla="*/ 0 w 9"/>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0" y="4"/>
                      </a:moveTo>
                      <a:cubicBezTo>
                        <a:pt x="0" y="5"/>
                        <a:pt x="2" y="5"/>
                        <a:pt x="4" y="5"/>
                      </a:cubicBezTo>
                      <a:cubicBezTo>
                        <a:pt x="5" y="5"/>
                        <a:pt x="6" y="5"/>
                        <a:pt x="7" y="5"/>
                      </a:cubicBezTo>
                      <a:cubicBezTo>
                        <a:pt x="8" y="5"/>
                        <a:pt x="8" y="6"/>
                        <a:pt x="9" y="6"/>
                      </a:cubicBezTo>
                      <a:cubicBezTo>
                        <a:pt x="9" y="6"/>
                        <a:pt x="9" y="6"/>
                        <a:pt x="9" y="6"/>
                      </a:cubicBezTo>
                      <a:cubicBezTo>
                        <a:pt x="9" y="5"/>
                        <a:pt x="9" y="4"/>
                        <a:pt x="9" y="4"/>
                      </a:cubicBezTo>
                      <a:cubicBezTo>
                        <a:pt x="7" y="3"/>
                        <a:pt x="8" y="3"/>
                        <a:pt x="6" y="2"/>
                      </a:cubicBezTo>
                      <a:cubicBezTo>
                        <a:pt x="5" y="2"/>
                        <a:pt x="4" y="3"/>
                        <a:pt x="3" y="2"/>
                      </a:cubicBezTo>
                      <a:cubicBezTo>
                        <a:pt x="2" y="2"/>
                        <a:pt x="2" y="0"/>
                        <a:pt x="1" y="0"/>
                      </a:cubicBezTo>
                      <a:cubicBezTo>
                        <a:pt x="1"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7" name="Freeform 237"/>
                <p:cNvSpPr>
                  <a:spLocks/>
                </p:cNvSpPr>
                <p:nvPr>
                  <p:custDataLst>
                    <p:tags r:id="rId223"/>
                  </p:custDataLst>
                </p:nvPr>
              </p:nvSpPr>
              <p:spPr bwMode="gray">
                <a:xfrm>
                  <a:off x="3452598" y="3827434"/>
                  <a:ext cx="40898" cy="100641"/>
                </a:xfrm>
                <a:custGeom>
                  <a:avLst/>
                  <a:gdLst>
                    <a:gd name="T0" fmla="*/ 0 w 4"/>
                    <a:gd name="T1" fmla="*/ 3 h 9"/>
                    <a:gd name="T2" fmla="*/ 4 w 4"/>
                    <a:gd name="T3" fmla="*/ 9 h 9"/>
                    <a:gd name="T4" fmla="*/ 4 w 4"/>
                    <a:gd name="T5" fmla="*/ 7 h 9"/>
                    <a:gd name="T6" fmla="*/ 4 w 4"/>
                    <a:gd name="T7" fmla="*/ 6 h 9"/>
                    <a:gd name="T8" fmla="*/ 0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4"/>
                        <a:pt x="2" y="9"/>
                        <a:pt x="4" y="9"/>
                      </a:cubicBezTo>
                      <a:cubicBezTo>
                        <a:pt x="3" y="8"/>
                        <a:pt x="4" y="8"/>
                        <a:pt x="4" y="7"/>
                      </a:cubicBezTo>
                      <a:cubicBezTo>
                        <a:pt x="4" y="7"/>
                        <a:pt x="4" y="6"/>
                        <a:pt x="4" y="6"/>
                      </a:cubicBezTo>
                      <a:cubicBezTo>
                        <a:pt x="3" y="3"/>
                        <a:pt x="2" y="2"/>
                        <a:pt x="0" y="0"/>
                      </a:cubicBezTo>
                      <a:cubicBezTo>
                        <a:pt x="0" y="2"/>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8" name="Freeform 238"/>
                <p:cNvSpPr>
                  <a:spLocks/>
                </p:cNvSpPr>
                <p:nvPr>
                  <p:custDataLst>
                    <p:tags r:id="rId224"/>
                  </p:custDataLst>
                </p:nvPr>
              </p:nvSpPr>
              <p:spPr bwMode="gray">
                <a:xfrm>
                  <a:off x="3411702" y="3781832"/>
                  <a:ext cx="40897" cy="55038"/>
                </a:xfrm>
                <a:custGeom>
                  <a:avLst/>
                  <a:gdLst>
                    <a:gd name="T0" fmla="*/ 1 w 4"/>
                    <a:gd name="T1" fmla="*/ 2 h 5"/>
                    <a:gd name="T2" fmla="*/ 1 w 4"/>
                    <a:gd name="T3" fmla="*/ 5 h 5"/>
                    <a:gd name="T4" fmla="*/ 4 w 4"/>
                    <a:gd name="T5" fmla="*/ 3 h 5"/>
                    <a:gd name="T6" fmla="*/ 1 w 4"/>
                    <a:gd name="T7" fmla="*/ 0 h 5"/>
                    <a:gd name="T8" fmla="*/ 1 w 4"/>
                    <a:gd name="T9" fmla="*/ 2 h 5"/>
                    <a:gd name="T10" fmla="*/ 1 w 4"/>
                    <a:gd name="T11" fmla="*/ 2 h 5"/>
                    <a:gd name="T12" fmla="*/ 1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1" y="2"/>
                      </a:moveTo>
                      <a:cubicBezTo>
                        <a:pt x="1" y="2"/>
                        <a:pt x="1" y="5"/>
                        <a:pt x="1" y="5"/>
                      </a:cubicBezTo>
                      <a:cubicBezTo>
                        <a:pt x="2" y="5"/>
                        <a:pt x="4" y="4"/>
                        <a:pt x="4" y="3"/>
                      </a:cubicBezTo>
                      <a:cubicBezTo>
                        <a:pt x="4" y="1"/>
                        <a:pt x="2" y="1"/>
                        <a:pt x="1"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09" name="Freeform 239"/>
                <p:cNvSpPr>
                  <a:spLocks/>
                </p:cNvSpPr>
                <p:nvPr>
                  <p:custDataLst>
                    <p:tags r:id="rId225"/>
                  </p:custDataLst>
                </p:nvPr>
              </p:nvSpPr>
              <p:spPr bwMode="gray">
                <a:xfrm>
                  <a:off x="3342598" y="3681191"/>
                  <a:ext cx="60642" cy="67618"/>
                </a:xfrm>
                <a:custGeom>
                  <a:avLst/>
                  <a:gdLst>
                    <a:gd name="T0" fmla="*/ 0 w 6"/>
                    <a:gd name="T1" fmla="*/ 2 h 6"/>
                    <a:gd name="T2" fmla="*/ 5 w 6"/>
                    <a:gd name="T3" fmla="*/ 6 h 6"/>
                    <a:gd name="T4" fmla="*/ 5 w 6"/>
                    <a:gd name="T5" fmla="*/ 6 h 6"/>
                    <a:gd name="T6" fmla="*/ 6 w 6"/>
                    <a:gd name="T7" fmla="*/ 6 h 6"/>
                    <a:gd name="T8" fmla="*/ 6 w 6"/>
                    <a:gd name="T9" fmla="*/ 6 h 6"/>
                    <a:gd name="T10" fmla="*/ 2 w 6"/>
                    <a:gd name="T11" fmla="*/ 0 h 6"/>
                    <a:gd name="T12" fmla="*/ 1 w 6"/>
                    <a:gd name="T13" fmla="*/ 1 h 6"/>
                    <a:gd name="T14" fmla="*/ 1 w 6"/>
                    <a:gd name="T15" fmla="*/ 1 h 6"/>
                    <a:gd name="T16" fmla="*/ 0 w 6"/>
                    <a:gd name="T17" fmla="*/ 2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cubicBezTo>
                        <a:pt x="1" y="4"/>
                        <a:pt x="3" y="6"/>
                        <a:pt x="5" y="6"/>
                      </a:cubicBezTo>
                      <a:lnTo>
                        <a:pt x="5" y="6"/>
                      </a:lnTo>
                      <a:lnTo>
                        <a:pt x="6" y="6"/>
                      </a:lnTo>
                      <a:lnTo>
                        <a:pt x="6" y="6"/>
                      </a:lnTo>
                      <a:cubicBezTo>
                        <a:pt x="4" y="5"/>
                        <a:pt x="4" y="0"/>
                        <a:pt x="2" y="0"/>
                      </a:cubicBezTo>
                      <a:cubicBezTo>
                        <a:pt x="1" y="0"/>
                        <a:pt x="1" y="1"/>
                        <a:pt x="1" y="1"/>
                      </a:cubicBezTo>
                      <a:lnTo>
                        <a:pt x="1" y="1"/>
                      </a:ln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0" name="Freeform 240"/>
                <p:cNvSpPr>
                  <a:spLocks/>
                </p:cNvSpPr>
                <p:nvPr>
                  <p:custDataLst>
                    <p:tags r:id="rId226"/>
                  </p:custDataLst>
                </p:nvPr>
              </p:nvSpPr>
              <p:spPr bwMode="gray">
                <a:xfrm>
                  <a:off x="3181827" y="3278629"/>
                  <a:ext cx="50769" cy="9435"/>
                </a:xfrm>
                <a:custGeom>
                  <a:avLst/>
                  <a:gdLst>
                    <a:gd name="T0" fmla="*/ 0 w 5"/>
                    <a:gd name="T1" fmla="*/ 0 h 1"/>
                    <a:gd name="T2" fmla="*/ 5 w 5"/>
                    <a:gd name="T3" fmla="*/ 0 h 1"/>
                    <a:gd name="T4" fmla="*/ 5 w 5"/>
                    <a:gd name="T5" fmla="*/ 1 h 1"/>
                    <a:gd name="T6" fmla="*/ 0 w 5"/>
                    <a:gd name="T7" fmla="*/ 1 h 1"/>
                    <a:gd name="T8" fmla="*/ 0 w 5"/>
                    <a:gd name="T9" fmla="*/ 0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0" y="0"/>
                      </a:moveTo>
                      <a:lnTo>
                        <a:pt x="5" y="0"/>
                      </a:lnTo>
                      <a:lnTo>
                        <a:pt x="5"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1" name="Freeform 241"/>
                <p:cNvSpPr>
                  <a:spLocks/>
                </p:cNvSpPr>
                <p:nvPr>
                  <p:custDataLst>
                    <p:tags r:id="rId227"/>
                  </p:custDataLst>
                </p:nvPr>
              </p:nvSpPr>
              <p:spPr bwMode="gray">
                <a:xfrm>
                  <a:off x="3191700" y="3478337"/>
                  <a:ext cx="110001" cy="158825"/>
                </a:xfrm>
                <a:custGeom>
                  <a:avLst/>
                  <a:gdLst>
                    <a:gd name="T0" fmla="*/ 0 w 11"/>
                    <a:gd name="T1" fmla="*/ 4 h 14"/>
                    <a:gd name="T2" fmla="*/ 2 w 11"/>
                    <a:gd name="T3" fmla="*/ 7 h 14"/>
                    <a:gd name="T4" fmla="*/ 9 w 11"/>
                    <a:gd name="T5" fmla="*/ 14 h 14"/>
                    <a:gd name="T6" fmla="*/ 11 w 11"/>
                    <a:gd name="T7" fmla="*/ 12 h 14"/>
                    <a:gd name="T8" fmla="*/ 11 w 11"/>
                    <a:gd name="T9" fmla="*/ 10 h 14"/>
                    <a:gd name="T10" fmla="*/ 9 w 11"/>
                    <a:gd name="T11" fmla="*/ 6 h 14"/>
                    <a:gd name="T12" fmla="*/ 6 w 11"/>
                    <a:gd name="T13" fmla="*/ 1 h 14"/>
                    <a:gd name="T14" fmla="*/ 0 w 11"/>
                    <a:gd name="T15" fmla="*/ 4 h 14"/>
                    <a:gd name="T16" fmla="*/ 0 w 11"/>
                    <a:gd name="T17" fmla="*/ 4 h 14"/>
                    <a:gd name="T18" fmla="*/ 0 w 11"/>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4"/>
                      </a:moveTo>
                      <a:cubicBezTo>
                        <a:pt x="0" y="6"/>
                        <a:pt x="2" y="6"/>
                        <a:pt x="2" y="7"/>
                      </a:cubicBezTo>
                      <a:cubicBezTo>
                        <a:pt x="4" y="10"/>
                        <a:pt x="5" y="14"/>
                        <a:pt x="9" y="14"/>
                      </a:cubicBezTo>
                      <a:cubicBezTo>
                        <a:pt x="9" y="14"/>
                        <a:pt x="11" y="13"/>
                        <a:pt x="11" y="12"/>
                      </a:cubicBezTo>
                      <a:cubicBezTo>
                        <a:pt x="11" y="11"/>
                        <a:pt x="11" y="11"/>
                        <a:pt x="11" y="10"/>
                      </a:cubicBezTo>
                      <a:cubicBezTo>
                        <a:pt x="9" y="10"/>
                        <a:pt x="9" y="8"/>
                        <a:pt x="9" y="6"/>
                      </a:cubicBezTo>
                      <a:cubicBezTo>
                        <a:pt x="8" y="4"/>
                        <a:pt x="6" y="3"/>
                        <a:pt x="6" y="1"/>
                      </a:cubicBezTo>
                      <a:cubicBezTo>
                        <a:pt x="3" y="0"/>
                        <a:pt x="0" y="1"/>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2" name="Freeform 242"/>
                <p:cNvSpPr>
                  <a:spLocks/>
                </p:cNvSpPr>
                <p:nvPr>
                  <p:custDataLst>
                    <p:tags r:id="rId228"/>
                  </p:custDataLst>
                </p:nvPr>
              </p:nvSpPr>
              <p:spPr bwMode="gray">
                <a:xfrm>
                  <a:off x="3150801" y="3355681"/>
                  <a:ext cx="31026" cy="56611"/>
                </a:xfrm>
                <a:custGeom>
                  <a:avLst/>
                  <a:gdLst>
                    <a:gd name="T0" fmla="*/ 2 w 3"/>
                    <a:gd name="T1" fmla="*/ 0 h 5"/>
                    <a:gd name="T2" fmla="*/ 0 w 3"/>
                    <a:gd name="T3" fmla="*/ 4 h 5"/>
                    <a:gd name="T4" fmla="*/ 1 w 3"/>
                    <a:gd name="T5" fmla="*/ 5 h 5"/>
                    <a:gd name="T6" fmla="*/ 3 w 3"/>
                    <a:gd name="T7" fmla="*/ 3 h 5"/>
                    <a:gd name="T8" fmla="*/ 2 w 3"/>
                    <a:gd name="T9" fmla="*/ 0 h 5"/>
                    <a:gd name="T10" fmla="*/ 2 w 3"/>
                    <a:gd name="T11" fmla="*/ 0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3"/>
                        <a:pt x="0" y="4"/>
                      </a:cubicBezTo>
                      <a:cubicBezTo>
                        <a:pt x="0" y="5"/>
                        <a:pt x="1" y="5"/>
                        <a:pt x="1" y="5"/>
                      </a:cubicBezTo>
                      <a:cubicBezTo>
                        <a:pt x="3" y="5"/>
                        <a:pt x="3" y="4"/>
                        <a:pt x="3" y="3"/>
                      </a:cubicBezTo>
                      <a:cubicBezTo>
                        <a:pt x="3" y="2"/>
                        <a:pt x="3"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3" name="Freeform 243"/>
                <p:cNvSpPr>
                  <a:spLocks/>
                </p:cNvSpPr>
                <p:nvPr>
                  <p:custDataLst>
                    <p:tags r:id="rId229"/>
                  </p:custDataLst>
                </p:nvPr>
              </p:nvSpPr>
              <p:spPr bwMode="gray">
                <a:xfrm>
                  <a:off x="3150800" y="3299070"/>
                  <a:ext cx="40898" cy="80199"/>
                </a:xfrm>
                <a:custGeom>
                  <a:avLst/>
                  <a:gdLst>
                    <a:gd name="T0" fmla="*/ 0 w 4"/>
                    <a:gd name="T1" fmla="*/ 0 h 7"/>
                    <a:gd name="T2" fmla="*/ 4 w 4"/>
                    <a:gd name="T3" fmla="*/ 7 h 7"/>
                    <a:gd name="T4" fmla="*/ 4 w 4"/>
                    <a:gd name="T5" fmla="*/ 6 h 7"/>
                    <a:gd name="T6" fmla="*/ 0 w 4"/>
                    <a:gd name="T7" fmla="*/ 0 h 7"/>
                    <a:gd name="T8" fmla="*/ 0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cubicBezTo>
                        <a:pt x="0" y="2"/>
                        <a:pt x="3" y="6"/>
                        <a:pt x="4" y="7"/>
                      </a:cubicBezTo>
                      <a:cubicBezTo>
                        <a:pt x="4" y="6"/>
                        <a:pt x="4" y="6"/>
                        <a:pt x="4" y="6"/>
                      </a:cubicBezTo>
                      <a:cubicBezTo>
                        <a:pt x="4" y="3"/>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4" name="Freeform 244"/>
                <p:cNvSpPr>
                  <a:spLocks/>
                </p:cNvSpPr>
                <p:nvPr>
                  <p:custDataLst>
                    <p:tags r:id="rId230"/>
                  </p:custDataLst>
                </p:nvPr>
              </p:nvSpPr>
              <p:spPr bwMode="gray">
                <a:xfrm>
                  <a:off x="2960415" y="3020736"/>
                  <a:ext cx="129745" cy="179266"/>
                </a:xfrm>
                <a:custGeom>
                  <a:avLst/>
                  <a:gdLst>
                    <a:gd name="T0" fmla="*/ 1 w 13"/>
                    <a:gd name="T1" fmla="*/ 2 h 16"/>
                    <a:gd name="T2" fmla="*/ 5 w 13"/>
                    <a:gd name="T3" fmla="*/ 0 h 16"/>
                    <a:gd name="T4" fmla="*/ 6 w 13"/>
                    <a:gd name="T5" fmla="*/ 1 h 16"/>
                    <a:gd name="T6" fmla="*/ 10 w 13"/>
                    <a:gd name="T7" fmla="*/ 6 h 16"/>
                    <a:gd name="T8" fmla="*/ 13 w 13"/>
                    <a:gd name="T9" fmla="*/ 9 h 16"/>
                    <a:gd name="T10" fmla="*/ 12 w 13"/>
                    <a:gd name="T11" fmla="*/ 10 h 16"/>
                    <a:gd name="T12" fmla="*/ 11 w 13"/>
                    <a:gd name="T13" fmla="*/ 16 h 16"/>
                    <a:gd name="T14" fmla="*/ 8 w 13"/>
                    <a:gd name="T15" fmla="*/ 11 h 16"/>
                    <a:gd name="T16" fmla="*/ 5 w 13"/>
                    <a:gd name="T17" fmla="*/ 8 h 16"/>
                    <a:gd name="T18" fmla="*/ 4 w 13"/>
                    <a:gd name="T19" fmla="*/ 7 h 16"/>
                    <a:gd name="T20" fmla="*/ 4 w 13"/>
                    <a:gd name="T21" fmla="*/ 6 h 16"/>
                    <a:gd name="T22" fmla="*/ 3 w 13"/>
                    <a:gd name="T23" fmla="*/ 5 h 16"/>
                    <a:gd name="T24" fmla="*/ 0 w 13"/>
                    <a:gd name="T25" fmla="*/ 2 h 16"/>
                    <a:gd name="T26" fmla="*/ 1 w 13"/>
                    <a:gd name="T27" fmla="*/ 2 h 16"/>
                    <a:gd name="T28" fmla="*/ 1 w 13"/>
                    <a:gd name="T29" fmla="*/ 2 h 16"/>
                    <a:gd name="T30" fmla="*/ 1 w 13"/>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1" y="2"/>
                      </a:moveTo>
                      <a:cubicBezTo>
                        <a:pt x="3" y="2"/>
                        <a:pt x="3" y="0"/>
                        <a:pt x="5" y="0"/>
                      </a:cubicBezTo>
                      <a:cubicBezTo>
                        <a:pt x="5" y="0"/>
                        <a:pt x="6" y="1"/>
                        <a:pt x="6" y="1"/>
                      </a:cubicBezTo>
                      <a:cubicBezTo>
                        <a:pt x="8" y="3"/>
                        <a:pt x="9" y="4"/>
                        <a:pt x="10" y="6"/>
                      </a:cubicBezTo>
                      <a:cubicBezTo>
                        <a:pt x="11" y="7"/>
                        <a:pt x="13" y="7"/>
                        <a:pt x="13" y="9"/>
                      </a:cubicBezTo>
                      <a:cubicBezTo>
                        <a:pt x="13" y="10"/>
                        <a:pt x="12" y="10"/>
                        <a:pt x="12" y="10"/>
                      </a:cubicBezTo>
                      <a:cubicBezTo>
                        <a:pt x="12" y="13"/>
                        <a:pt x="13" y="16"/>
                        <a:pt x="11" y="16"/>
                      </a:cubicBezTo>
                      <a:cubicBezTo>
                        <a:pt x="10" y="16"/>
                        <a:pt x="8" y="12"/>
                        <a:pt x="8" y="11"/>
                      </a:cubicBezTo>
                      <a:cubicBezTo>
                        <a:pt x="7" y="10"/>
                        <a:pt x="5" y="10"/>
                        <a:pt x="5" y="8"/>
                      </a:cubicBezTo>
                      <a:cubicBezTo>
                        <a:pt x="5" y="8"/>
                        <a:pt x="5" y="8"/>
                        <a:pt x="4" y="7"/>
                      </a:cubicBezTo>
                      <a:cubicBezTo>
                        <a:pt x="4" y="7"/>
                        <a:pt x="4" y="7"/>
                        <a:pt x="4" y="6"/>
                      </a:cubicBezTo>
                      <a:cubicBezTo>
                        <a:pt x="3" y="6"/>
                        <a:pt x="3" y="6"/>
                        <a:pt x="3" y="5"/>
                      </a:cubicBezTo>
                      <a:cubicBezTo>
                        <a:pt x="3" y="5"/>
                        <a:pt x="0" y="2"/>
                        <a:pt x="0" y="2"/>
                      </a:cubicBezTo>
                      <a:cubicBezTo>
                        <a:pt x="0"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5" name="Freeform 245"/>
                <p:cNvSpPr>
                  <a:spLocks/>
                </p:cNvSpPr>
                <p:nvPr>
                  <p:custDataLst>
                    <p:tags r:id="rId231"/>
                  </p:custDataLst>
                </p:nvPr>
              </p:nvSpPr>
              <p:spPr bwMode="gray">
                <a:xfrm>
                  <a:off x="2970287" y="2887072"/>
                  <a:ext cx="31026" cy="31450"/>
                </a:xfrm>
                <a:custGeom>
                  <a:avLst/>
                  <a:gdLst>
                    <a:gd name="T0" fmla="*/ 3 w 3"/>
                    <a:gd name="T1" fmla="*/ 3 h 3"/>
                    <a:gd name="T2" fmla="*/ 3 w 3"/>
                    <a:gd name="T3" fmla="*/ 1 h 3"/>
                    <a:gd name="T4" fmla="*/ 3 w 3"/>
                    <a:gd name="T5" fmla="*/ 1 h 3"/>
                    <a:gd name="T6" fmla="*/ 0 w 3"/>
                    <a:gd name="T7" fmla="*/ 0 h 3"/>
                    <a:gd name="T8" fmla="*/ 3 w 3"/>
                    <a:gd name="T9" fmla="*/ 3 h 3"/>
                    <a:gd name="T10" fmla="*/ 3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1"/>
                      </a:lnTo>
                      <a:lnTo>
                        <a:pt x="3" y="1"/>
                      </a:lnTo>
                      <a:cubicBezTo>
                        <a:pt x="1" y="1"/>
                        <a:pt x="1" y="0"/>
                        <a:pt x="0" y="0"/>
                      </a:cubicBezTo>
                      <a:cubicBezTo>
                        <a:pt x="1" y="1"/>
                        <a:pt x="1" y="2"/>
                        <a:pt x="3" y="3"/>
                      </a:cubicBezTo>
                      <a:lnTo>
                        <a:pt x="3" y="3"/>
                      </a:lnTo>
                      <a:lnTo>
                        <a:pt x="3"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6" name="Freeform 246"/>
                <p:cNvSpPr>
                  <a:spLocks/>
                </p:cNvSpPr>
                <p:nvPr>
                  <p:custDataLst>
                    <p:tags r:id="rId232"/>
                  </p:custDataLst>
                </p:nvPr>
              </p:nvSpPr>
              <p:spPr bwMode="gray">
                <a:xfrm>
                  <a:off x="2950542" y="2909086"/>
                  <a:ext cx="19744" cy="20443"/>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1" y="0"/>
                        <a:pt x="2" y="1"/>
                        <a:pt x="2" y="1"/>
                      </a:cubicBezTo>
                      <a:cubicBezTo>
                        <a:pt x="2" y="2"/>
                        <a:pt x="1"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7" name="Freeform 247"/>
                <p:cNvSpPr>
                  <a:spLocks/>
                </p:cNvSpPr>
                <p:nvPr>
                  <p:custDataLst>
                    <p:tags r:id="rId233"/>
                  </p:custDataLst>
                </p:nvPr>
              </p:nvSpPr>
              <p:spPr bwMode="gray">
                <a:xfrm>
                  <a:off x="2880029" y="2898080"/>
                  <a:ext cx="11282" cy="31450"/>
                </a:xfrm>
                <a:custGeom>
                  <a:avLst/>
                  <a:gdLst>
                    <a:gd name="T0" fmla="*/ 1 w 1"/>
                    <a:gd name="T1" fmla="*/ 3 h 3"/>
                    <a:gd name="T2" fmla="*/ 1 w 1"/>
                    <a:gd name="T3" fmla="*/ 1 h 3"/>
                    <a:gd name="T4" fmla="*/ 1 w 1"/>
                    <a:gd name="T5" fmla="*/ 1 h 3"/>
                    <a:gd name="T6" fmla="*/ 0 w 1"/>
                    <a:gd name="T7" fmla="*/ 0 h 3"/>
                    <a:gd name="T8" fmla="*/ 1 w 1"/>
                    <a:gd name="T9" fmla="*/ 3 h 3"/>
                    <a:gd name="T10" fmla="*/ 1 w 1"/>
                    <a:gd name="T11" fmla="*/ 3 h 3"/>
                    <a:gd name="T12" fmla="*/ 1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1" y="3"/>
                      </a:moveTo>
                      <a:lnTo>
                        <a:pt x="1" y="1"/>
                      </a:lnTo>
                      <a:lnTo>
                        <a:pt x="1" y="1"/>
                      </a:lnTo>
                      <a:cubicBezTo>
                        <a:pt x="1" y="1"/>
                        <a:pt x="1" y="0"/>
                        <a:pt x="0" y="0"/>
                      </a:cubicBezTo>
                      <a:cubicBezTo>
                        <a:pt x="0" y="1"/>
                        <a:pt x="1" y="2"/>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8" name="Freeform 248"/>
                <p:cNvSpPr>
                  <a:spLocks/>
                </p:cNvSpPr>
                <p:nvPr>
                  <p:custDataLst>
                    <p:tags r:id="rId234"/>
                  </p:custDataLst>
                </p:nvPr>
              </p:nvSpPr>
              <p:spPr bwMode="gray">
                <a:xfrm>
                  <a:off x="2739002" y="2750263"/>
                  <a:ext cx="121283" cy="113221"/>
                </a:xfrm>
                <a:custGeom>
                  <a:avLst/>
                  <a:gdLst>
                    <a:gd name="T0" fmla="*/ 12 w 12"/>
                    <a:gd name="T1" fmla="*/ 8 h 10"/>
                    <a:gd name="T2" fmla="*/ 12 w 12"/>
                    <a:gd name="T3" fmla="*/ 9 h 10"/>
                    <a:gd name="T4" fmla="*/ 11 w 12"/>
                    <a:gd name="T5" fmla="*/ 10 h 10"/>
                    <a:gd name="T6" fmla="*/ 5 w 12"/>
                    <a:gd name="T7" fmla="*/ 6 h 10"/>
                    <a:gd name="T8" fmla="*/ 0 w 12"/>
                    <a:gd name="T9" fmla="*/ 2 h 10"/>
                    <a:gd name="T10" fmla="*/ 1 w 12"/>
                    <a:gd name="T11" fmla="*/ 0 h 10"/>
                    <a:gd name="T12" fmla="*/ 4 w 12"/>
                    <a:gd name="T13" fmla="*/ 3 h 10"/>
                    <a:gd name="T14" fmla="*/ 12 w 12"/>
                    <a:gd name="T15" fmla="*/ 8 h 10"/>
                    <a:gd name="T16" fmla="*/ 12 w 12"/>
                    <a:gd name="T17" fmla="*/ 8 h 10"/>
                    <a:gd name="T18" fmla="*/ 12 w 12"/>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2" y="8"/>
                      </a:moveTo>
                      <a:cubicBezTo>
                        <a:pt x="12" y="8"/>
                        <a:pt x="12" y="9"/>
                        <a:pt x="12" y="9"/>
                      </a:cubicBezTo>
                      <a:cubicBezTo>
                        <a:pt x="12" y="10"/>
                        <a:pt x="11" y="10"/>
                        <a:pt x="11" y="10"/>
                      </a:cubicBezTo>
                      <a:cubicBezTo>
                        <a:pt x="9" y="10"/>
                        <a:pt x="6" y="6"/>
                        <a:pt x="5" y="6"/>
                      </a:cubicBezTo>
                      <a:cubicBezTo>
                        <a:pt x="2" y="6"/>
                        <a:pt x="0" y="4"/>
                        <a:pt x="0" y="2"/>
                      </a:cubicBezTo>
                      <a:cubicBezTo>
                        <a:pt x="1" y="2"/>
                        <a:pt x="1" y="1"/>
                        <a:pt x="1" y="0"/>
                      </a:cubicBezTo>
                      <a:cubicBezTo>
                        <a:pt x="3" y="0"/>
                        <a:pt x="4" y="2"/>
                        <a:pt x="4" y="3"/>
                      </a:cubicBezTo>
                      <a:cubicBezTo>
                        <a:pt x="5" y="4"/>
                        <a:pt x="9" y="6"/>
                        <a:pt x="12" y="8"/>
                      </a:cubicBezTo>
                      <a:lnTo>
                        <a:pt x="12" y="8"/>
                      </a:lnTo>
                      <a:lnTo>
                        <a:pt x="12"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19" name="Freeform 249"/>
                <p:cNvSpPr>
                  <a:spLocks/>
                </p:cNvSpPr>
                <p:nvPr>
                  <p:custDataLst>
                    <p:tags r:id="rId235"/>
                  </p:custDataLst>
                </p:nvPr>
              </p:nvSpPr>
              <p:spPr bwMode="gray">
                <a:xfrm>
                  <a:off x="2668489" y="2201456"/>
                  <a:ext cx="21155"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1" y="0"/>
                        <a:pt x="1" y="0"/>
                      </a:cubicBezTo>
                      <a:cubicBezTo>
                        <a:pt x="1" y="0"/>
                        <a:pt x="2" y="0"/>
                        <a:pt x="2" y="1"/>
                      </a:cubicBezTo>
                      <a:cubicBezTo>
                        <a:pt x="2" y="1"/>
                        <a:pt x="1"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0" name="Freeform 250"/>
                <p:cNvSpPr>
                  <a:spLocks/>
                </p:cNvSpPr>
                <p:nvPr>
                  <p:custDataLst>
                    <p:tags r:id="rId236"/>
                  </p:custDataLst>
                </p:nvPr>
              </p:nvSpPr>
              <p:spPr bwMode="gray">
                <a:xfrm>
                  <a:off x="3181827" y="3278629"/>
                  <a:ext cx="50769" cy="9435"/>
                </a:xfrm>
                <a:custGeom>
                  <a:avLst/>
                  <a:gdLst>
                    <a:gd name="T0" fmla="*/ 0 w 5"/>
                    <a:gd name="T1" fmla="*/ 0 h 1"/>
                    <a:gd name="T2" fmla="*/ 5 w 5"/>
                    <a:gd name="T3" fmla="*/ 0 h 1"/>
                    <a:gd name="T4" fmla="*/ 5 w 5"/>
                    <a:gd name="T5" fmla="*/ 1 h 1"/>
                    <a:gd name="T6" fmla="*/ 0 w 5"/>
                    <a:gd name="T7" fmla="*/ 1 h 1"/>
                    <a:gd name="T8" fmla="*/ 0 w 5"/>
                    <a:gd name="T9" fmla="*/ 0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0" y="0"/>
                      </a:moveTo>
                      <a:lnTo>
                        <a:pt x="5" y="0"/>
                      </a:lnTo>
                      <a:lnTo>
                        <a:pt x="5"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1" name="Freeform 251"/>
                <p:cNvSpPr>
                  <a:spLocks/>
                </p:cNvSpPr>
                <p:nvPr>
                  <p:custDataLst>
                    <p:tags r:id="rId237"/>
                  </p:custDataLst>
                </p:nvPr>
              </p:nvSpPr>
              <p:spPr bwMode="gray">
                <a:xfrm>
                  <a:off x="3150801" y="3355681"/>
                  <a:ext cx="31026" cy="56611"/>
                </a:xfrm>
                <a:custGeom>
                  <a:avLst/>
                  <a:gdLst>
                    <a:gd name="T0" fmla="*/ 2 w 3"/>
                    <a:gd name="T1" fmla="*/ 0 h 5"/>
                    <a:gd name="T2" fmla="*/ 0 w 3"/>
                    <a:gd name="T3" fmla="*/ 4 h 5"/>
                    <a:gd name="T4" fmla="*/ 1 w 3"/>
                    <a:gd name="T5" fmla="*/ 5 h 5"/>
                    <a:gd name="T6" fmla="*/ 3 w 3"/>
                    <a:gd name="T7" fmla="*/ 3 h 5"/>
                    <a:gd name="T8" fmla="*/ 2 w 3"/>
                    <a:gd name="T9" fmla="*/ 0 h 5"/>
                    <a:gd name="T10" fmla="*/ 2 w 3"/>
                    <a:gd name="T11" fmla="*/ 0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3"/>
                        <a:pt x="0" y="4"/>
                      </a:cubicBezTo>
                      <a:cubicBezTo>
                        <a:pt x="0" y="5"/>
                        <a:pt x="1" y="5"/>
                        <a:pt x="1" y="5"/>
                      </a:cubicBezTo>
                      <a:cubicBezTo>
                        <a:pt x="3" y="5"/>
                        <a:pt x="3" y="4"/>
                        <a:pt x="3" y="3"/>
                      </a:cubicBezTo>
                      <a:cubicBezTo>
                        <a:pt x="3" y="2"/>
                        <a:pt x="3"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2" name="Freeform 252"/>
                <p:cNvSpPr>
                  <a:spLocks/>
                </p:cNvSpPr>
                <p:nvPr>
                  <p:custDataLst>
                    <p:tags r:id="rId238"/>
                  </p:custDataLst>
                </p:nvPr>
              </p:nvSpPr>
              <p:spPr bwMode="gray">
                <a:xfrm>
                  <a:off x="3150800" y="3299070"/>
                  <a:ext cx="40898" cy="80199"/>
                </a:xfrm>
                <a:custGeom>
                  <a:avLst/>
                  <a:gdLst>
                    <a:gd name="T0" fmla="*/ 0 w 4"/>
                    <a:gd name="T1" fmla="*/ 0 h 7"/>
                    <a:gd name="T2" fmla="*/ 4 w 4"/>
                    <a:gd name="T3" fmla="*/ 7 h 7"/>
                    <a:gd name="T4" fmla="*/ 4 w 4"/>
                    <a:gd name="T5" fmla="*/ 6 h 7"/>
                    <a:gd name="T6" fmla="*/ 0 w 4"/>
                    <a:gd name="T7" fmla="*/ 0 h 7"/>
                    <a:gd name="T8" fmla="*/ 0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cubicBezTo>
                        <a:pt x="0" y="2"/>
                        <a:pt x="3" y="6"/>
                        <a:pt x="4" y="7"/>
                      </a:cubicBezTo>
                      <a:cubicBezTo>
                        <a:pt x="4" y="6"/>
                        <a:pt x="4" y="6"/>
                        <a:pt x="4" y="6"/>
                      </a:cubicBezTo>
                      <a:cubicBezTo>
                        <a:pt x="4" y="3"/>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3" name="Freeform 253"/>
                <p:cNvSpPr>
                  <a:spLocks/>
                </p:cNvSpPr>
                <p:nvPr>
                  <p:custDataLst>
                    <p:tags r:id="rId239"/>
                  </p:custDataLst>
                </p:nvPr>
              </p:nvSpPr>
              <p:spPr bwMode="gray">
                <a:xfrm>
                  <a:off x="2960415" y="3020736"/>
                  <a:ext cx="129745" cy="179266"/>
                </a:xfrm>
                <a:custGeom>
                  <a:avLst/>
                  <a:gdLst>
                    <a:gd name="T0" fmla="*/ 1 w 13"/>
                    <a:gd name="T1" fmla="*/ 2 h 16"/>
                    <a:gd name="T2" fmla="*/ 5 w 13"/>
                    <a:gd name="T3" fmla="*/ 0 h 16"/>
                    <a:gd name="T4" fmla="*/ 6 w 13"/>
                    <a:gd name="T5" fmla="*/ 1 h 16"/>
                    <a:gd name="T6" fmla="*/ 10 w 13"/>
                    <a:gd name="T7" fmla="*/ 6 h 16"/>
                    <a:gd name="T8" fmla="*/ 13 w 13"/>
                    <a:gd name="T9" fmla="*/ 9 h 16"/>
                    <a:gd name="T10" fmla="*/ 12 w 13"/>
                    <a:gd name="T11" fmla="*/ 10 h 16"/>
                    <a:gd name="T12" fmla="*/ 11 w 13"/>
                    <a:gd name="T13" fmla="*/ 16 h 16"/>
                    <a:gd name="T14" fmla="*/ 8 w 13"/>
                    <a:gd name="T15" fmla="*/ 11 h 16"/>
                    <a:gd name="T16" fmla="*/ 5 w 13"/>
                    <a:gd name="T17" fmla="*/ 8 h 16"/>
                    <a:gd name="T18" fmla="*/ 4 w 13"/>
                    <a:gd name="T19" fmla="*/ 7 h 16"/>
                    <a:gd name="T20" fmla="*/ 4 w 13"/>
                    <a:gd name="T21" fmla="*/ 6 h 16"/>
                    <a:gd name="T22" fmla="*/ 3 w 13"/>
                    <a:gd name="T23" fmla="*/ 5 h 16"/>
                    <a:gd name="T24" fmla="*/ 0 w 13"/>
                    <a:gd name="T25" fmla="*/ 2 h 16"/>
                    <a:gd name="T26" fmla="*/ 1 w 13"/>
                    <a:gd name="T27" fmla="*/ 2 h 16"/>
                    <a:gd name="T28" fmla="*/ 1 w 13"/>
                    <a:gd name="T29" fmla="*/ 2 h 16"/>
                    <a:gd name="T30" fmla="*/ 1 w 13"/>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1" y="2"/>
                      </a:moveTo>
                      <a:cubicBezTo>
                        <a:pt x="3" y="2"/>
                        <a:pt x="3" y="0"/>
                        <a:pt x="5" y="0"/>
                      </a:cubicBezTo>
                      <a:cubicBezTo>
                        <a:pt x="5" y="0"/>
                        <a:pt x="6" y="1"/>
                        <a:pt x="6" y="1"/>
                      </a:cubicBezTo>
                      <a:cubicBezTo>
                        <a:pt x="8" y="3"/>
                        <a:pt x="9" y="4"/>
                        <a:pt x="10" y="6"/>
                      </a:cubicBezTo>
                      <a:cubicBezTo>
                        <a:pt x="11" y="7"/>
                        <a:pt x="13" y="7"/>
                        <a:pt x="13" y="9"/>
                      </a:cubicBezTo>
                      <a:cubicBezTo>
                        <a:pt x="13" y="10"/>
                        <a:pt x="12" y="10"/>
                        <a:pt x="12" y="10"/>
                      </a:cubicBezTo>
                      <a:cubicBezTo>
                        <a:pt x="12" y="13"/>
                        <a:pt x="13" y="16"/>
                        <a:pt x="11" y="16"/>
                      </a:cubicBezTo>
                      <a:cubicBezTo>
                        <a:pt x="10" y="16"/>
                        <a:pt x="8" y="12"/>
                        <a:pt x="8" y="11"/>
                      </a:cubicBezTo>
                      <a:cubicBezTo>
                        <a:pt x="7" y="10"/>
                        <a:pt x="5" y="10"/>
                        <a:pt x="5" y="8"/>
                      </a:cubicBezTo>
                      <a:cubicBezTo>
                        <a:pt x="5" y="8"/>
                        <a:pt x="5" y="8"/>
                        <a:pt x="4" y="7"/>
                      </a:cubicBezTo>
                      <a:cubicBezTo>
                        <a:pt x="4" y="7"/>
                        <a:pt x="4" y="7"/>
                        <a:pt x="4" y="6"/>
                      </a:cubicBezTo>
                      <a:cubicBezTo>
                        <a:pt x="3" y="6"/>
                        <a:pt x="3" y="6"/>
                        <a:pt x="3" y="5"/>
                      </a:cubicBezTo>
                      <a:cubicBezTo>
                        <a:pt x="3" y="5"/>
                        <a:pt x="0" y="2"/>
                        <a:pt x="0" y="2"/>
                      </a:cubicBezTo>
                      <a:cubicBezTo>
                        <a:pt x="0"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4" name="Freeform 254"/>
                <p:cNvSpPr>
                  <a:spLocks/>
                </p:cNvSpPr>
                <p:nvPr>
                  <p:custDataLst>
                    <p:tags r:id="rId240"/>
                  </p:custDataLst>
                </p:nvPr>
              </p:nvSpPr>
              <p:spPr bwMode="gray">
                <a:xfrm>
                  <a:off x="6477631" y="4881018"/>
                  <a:ext cx="40897" cy="66046"/>
                </a:xfrm>
                <a:custGeom>
                  <a:avLst/>
                  <a:gdLst>
                    <a:gd name="T0" fmla="*/ 2 w 4"/>
                    <a:gd name="T1" fmla="*/ 0 h 6"/>
                    <a:gd name="T2" fmla="*/ 0 w 4"/>
                    <a:gd name="T3" fmla="*/ 3 h 6"/>
                    <a:gd name="T4" fmla="*/ 1 w 4"/>
                    <a:gd name="T5" fmla="*/ 6 h 6"/>
                    <a:gd name="T6" fmla="*/ 4 w 4"/>
                    <a:gd name="T7" fmla="*/ 2 h 6"/>
                    <a:gd name="T8" fmla="*/ 2 w 4"/>
                    <a:gd name="T9" fmla="*/ 0 h 6"/>
                    <a:gd name="T10" fmla="*/ 2 w 4"/>
                    <a:gd name="T11" fmla="*/ 0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1"/>
                        <a:pt x="1" y="2"/>
                        <a:pt x="0" y="3"/>
                      </a:cubicBezTo>
                      <a:cubicBezTo>
                        <a:pt x="1" y="4"/>
                        <a:pt x="1" y="5"/>
                        <a:pt x="1" y="6"/>
                      </a:cubicBezTo>
                      <a:cubicBezTo>
                        <a:pt x="2" y="5"/>
                        <a:pt x="4" y="4"/>
                        <a:pt x="4" y="2"/>
                      </a:cubicBezTo>
                      <a:cubicBezTo>
                        <a:pt x="4" y="2"/>
                        <a:pt x="2"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5" name="Freeform 255"/>
                <p:cNvSpPr>
                  <a:spLocks/>
                </p:cNvSpPr>
                <p:nvPr>
                  <p:custDataLst>
                    <p:tags r:id="rId241"/>
                  </p:custDataLst>
                </p:nvPr>
              </p:nvSpPr>
              <p:spPr bwMode="gray">
                <a:xfrm>
                  <a:off x="6981098" y="4365235"/>
                  <a:ext cx="987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1" y="0"/>
                      </a:cubicBezTo>
                      <a:cubicBezTo>
                        <a:pt x="1" y="0"/>
                        <a:pt x="1" y="0"/>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6" name="Freeform 256"/>
                <p:cNvSpPr>
                  <a:spLocks/>
                </p:cNvSpPr>
                <p:nvPr>
                  <p:custDataLst>
                    <p:tags r:id="rId242"/>
                  </p:custDataLst>
                </p:nvPr>
              </p:nvSpPr>
              <p:spPr bwMode="gray">
                <a:xfrm>
                  <a:off x="7202511" y="4374670"/>
                  <a:ext cx="9871" cy="12580"/>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7" name="Freeform 257"/>
                <p:cNvSpPr>
                  <a:spLocks/>
                </p:cNvSpPr>
                <p:nvPr>
                  <p:custDataLst>
                    <p:tags r:id="rId243"/>
                  </p:custDataLst>
                </p:nvPr>
              </p:nvSpPr>
              <p:spPr bwMode="gray">
                <a:xfrm>
                  <a:off x="7212382" y="4409265"/>
                  <a:ext cx="19744" cy="22015"/>
                </a:xfrm>
                <a:custGeom>
                  <a:avLst/>
                  <a:gdLst>
                    <a:gd name="T0" fmla="*/ 1 w 2"/>
                    <a:gd name="T1" fmla="*/ 0 h 2"/>
                    <a:gd name="T2" fmla="*/ 2 w 2"/>
                    <a:gd name="T3" fmla="*/ 2 h 2"/>
                    <a:gd name="T4" fmla="*/ 0 w 2"/>
                    <a:gd name="T5" fmla="*/ 1 h 2"/>
                    <a:gd name="T6" fmla="*/ 0 w 2"/>
                    <a:gd name="T7" fmla="*/ 1 h 2"/>
                    <a:gd name="T8" fmla="*/ 1 w 2"/>
                    <a:gd name="T9" fmla="*/ 0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1"/>
                        <a:pt x="2" y="1"/>
                        <a:pt x="2" y="2"/>
                      </a:cubicBezTo>
                      <a:cubicBezTo>
                        <a:pt x="1" y="2"/>
                        <a:pt x="0" y="1"/>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8" name="Freeform 258"/>
                <p:cNvSpPr>
                  <a:spLocks/>
                </p:cNvSpPr>
                <p:nvPr>
                  <p:custDataLst>
                    <p:tags r:id="rId244"/>
                  </p:custDataLst>
                </p:nvPr>
              </p:nvSpPr>
              <p:spPr bwMode="gray">
                <a:xfrm>
                  <a:off x="7171485" y="4332212"/>
                  <a:ext cx="2115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1"/>
                        <a:pt x="1" y="1"/>
                        <a:pt x="0" y="0"/>
                      </a:cubicBezTo>
                      <a:cubicBezTo>
                        <a:pt x="0" y="1"/>
                        <a:pt x="1" y="2"/>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29" name="Freeform 259"/>
                <p:cNvSpPr>
                  <a:spLocks/>
                </p:cNvSpPr>
                <p:nvPr>
                  <p:custDataLst>
                    <p:tags r:id="rId245"/>
                  </p:custDataLst>
                </p:nvPr>
              </p:nvSpPr>
              <p:spPr bwMode="gray">
                <a:xfrm>
                  <a:off x="7141869" y="4286609"/>
                  <a:ext cx="19744" cy="33023"/>
                </a:xfrm>
                <a:custGeom>
                  <a:avLst/>
                  <a:gdLst>
                    <a:gd name="T0" fmla="*/ 0 w 2"/>
                    <a:gd name="T1" fmla="*/ 0 h 3"/>
                    <a:gd name="T2" fmla="*/ 0 w 2"/>
                    <a:gd name="T3" fmla="*/ 2 h 3"/>
                    <a:gd name="T4" fmla="*/ 2 w 2"/>
                    <a:gd name="T5" fmla="*/ 3 h 3"/>
                    <a:gd name="T6" fmla="*/ 0 w 2"/>
                    <a:gd name="T7" fmla="*/ 0 h 3"/>
                    <a:gd name="T8" fmla="*/ 0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0" y="2"/>
                        <a:pt x="0" y="2"/>
                      </a:cubicBezTo>
                      <a:cubicBezTo>
                        <a:pt x="0" y="2"/>
                        <a:pt x="1" y="3"/>
                        <a:pt x="2" y="3"/>
                      </a:cubicBezTo>
                      <a:cubicBezTo>
                        <a:pt x="2"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0" name="Freeform 260"/>
                <p:cNvSpPr>
                  <a:spLocks/>
                </p:cNvSpPr>
                <p:nvPr>
                  <p:custDataLst>
                    <p:tags r:id="rId246"/>
                  </p:custDataLst>
                </p:nvPr>
              </p:nvSpPr>
              <p:spPr bwMode="gray">
                <a:xfrm>
                  <a:off x="7061484" y="4050731"/>
                  <a:ext cx="40897" cy="56611"/>
                </a:xfrm>
                <a:custGeom>
                  <a:avLst/>
                  <a:gdLst>
                    <a:gd name="T0" fmla="*/ 0 w 4"/>
                    <a:gd name="T1" fmla="*/ 1 h 5"/>
                    <a:gd name="T2" fmla="*/ 2 w 4"/>
                    <a:gd name="T3" fmla="*/ 5 h 5"/>
                    <a:gd name="T4" fmla="*/ 4 w 4"/>
                    <a:gd name="T5" fmla="*/ 2 h 5"/>
                    <a:gd name="T6" fmla="*/ 1 w 4"/>
                    <a:gd name="T7" fmla="*/ 0 h 5"/>
                    <a:gd name="T8" fmla="*/ 1 w 4"/>
                    <a:gd name="T9" fmla="*/ 0 h 5"/>
                    <a:gd name="T10" fmla="*/ 0 w 4"/>
                    <a:gd name="T11" fmla="*/ 1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3"/>
                        <a:pt x="0" y="5"/>
                        <a:pt x="2" y="5"/>
                      </a:cubicBezTo>
                      <a:cubicBezTo>
                        <a:pt x="4" y="5"/>
                        <a:pt x="4" y="4"/>
                        <a:pt x="4" y="2"/>
                      </a:cubicBezTo>
                      <a:cubicBezTo>
                        <a:pt x="4" y="0"/>
                        <a:pt x="1" y="0"/>
                        <a:pt x="1" y="0"/>
                      </a:cubicBez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1" name="Freeform 261"/>
                <p:cNvSpPr>
                  <a:spLocks/>
                </p:cNvSpPr>
                <p:nvPr>
                  <p:custDataLst>
                    <p:tags r:id="rId247"/>
                  </p:custDataLst>
                </p:nvPr>
              </p:nvSpPr>
              <p:spPr bwMode="gray">
                <a:xfrm>
                  <a:off x="7071355" y="3973678"/>
                  <a:ext cx="11282" cy="11008"/>
                </a:xfrm>
                <a:custGeom>
                  <a:avLst/>
                  <a:gdLst>
                    <a:gd name="T0" fmla="*/ 0 w 1"/>
                    <a:gd name="T1" fmla="*/ 0 h 1"/>
                    <a:gd name="T2" fmla="*/ 0 w 1"/>
                    <a:gd name="T3" fmla="*/ 1 h 1"/>
                    <a:gd name="T4" fmla="*/ 0 w 1"/>
                    <a:gd name="T5" fmla="*/ 1 h 1"/>
                    <a:gd name="T6" fmla="*/ 0 w 1"/>
                    <a:gd name="T7" fmla="*/ 1 h 1"/>
                    <a:gd name="T8" fmla="*/ 1 w 1"/>
                    <a:gd name="T9" fmla="*/ 0 h 1"/>
                    <a:gd name="T10" fmla="*/ 0 w 1"/>
                    <a:gd name="T11" fmla="*/ 0 h 1"/>
                    <a:gd name="T12" fmla="*/ 0 w 1"/>
                    <a:gd name="T13" fmla="*/ 0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lnTo>
                        <a:pt x="0" y="1"/>
                      </a:lnTo>
                      <a:lnTo>
                        <a:pt x="0" y="1"/>
                      </a:lnTo>
                      <a:cubicBezTo>
                        <a:pt x="0" y="1"/>
                        <a:pt x="0" y="1"/>
                        <a:pt x="0" y="1"/>
                      </a:cubicBezTo>
                      <a:cubicBezTo>
                        <a:pt x="1" y="1"/>
                        <a:pt x="1" y="1"/>
                        <a:pt x="1" y="0"/>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2" name="Freeform 262"/>
                <p:cNvSpPr>
                  <a:spLocks/>
                </p:cNvSpPr>
                <p:nvPr>
                  <p:custDataLst>
                    <p:tags r:id="rId248"/>
                  </p:custDataLst>
                </p:nvPr>
              </p:nvSpPr>
              <p:spPr bwMode="gray">
                <a:xfrm>
                  <a:off x="6871096" y="4252013"/>
                  <a:ext cx="39488" cy="80199"/>
                </a:xfrm>
                <a:custGeom>
                  <a:avLst/>
                  <a:gdLst>
                    <a:gd name="T0" fmla="*/ 2 w 4"/>
                    <a:gd name="T1" fmla="*/ 0 h 7"/>
                    <a:gd name="T2" fmla="*/ 0 w 4"/>
                    <a:gd name="T3" fmla="*/ 3 h 7"/>
                    <a:gd name="T4" fmla="*/ 4 w 4"/>
                    <a:gd name="T5" fmla="*/ 7 h 7"/>
                    <a:gd name="T6" fmla="*/ 4 w 4"/>
                    <a:gd name="T7" fmla="*/ 7 h 7"/>
                    <a:gd name="T8" fmla="*/ 4 w 4"/>
                    <a:gd name="T9" fmla="*/ 4 h 7"/>
                    <a:gd name="T10" fmla="*/ 4 w 4"/>
                    <a:gd name="T11" fmla="*/ 4 h 7"/>
                    <a:gd name="T12" fmla="*/ 2 w 4"/>
                    <a:gd name="T13" fmla="*/ 0 h 7"/>
                    <a:gd name="T14" fmla="*/ 2 w 4"/>
                    <a:gd name="T15" fmla="*/ 0 h 7"/>
                    <a:gd name="T16" fmla="*/ 2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2" y="0"/>
                      </a:moveTo>
                      <a:cubicBezTo>
                        <a:pt x="1" y="1"/>
                        <a:pt x="0" y="2"/>
                        <a:pt x="0" y="3"/>
                      </a:cubicBezTo>
                      <a:cubicBezTo>
                        <a:pt x="0" y="5"/>
                        <a:pt x="2" y="7"/>
                        <a:pt x="4" y="7"/>
                      </a:cubicBezTo>
                      <a:lnTo>
                        <a:pt x="4" y="7"/>
                      </a:lnTo>
                      <a:lnTo>
                        <a:pt x="4" y="4"/>
                      </a:lnTo>
                      <a:lnTo>
                        <a:pt x="4" y="4"/>
                      </a:lnTo>
                      <a:cubicBezTo>
                        <a:pt x="4" y="2"/>
                        <a:pt x="3"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3" name="Freeform 263"/>
                <p:cNvSpPr>
                  <a:spLocks/>
                </p:cNvSpPr>
                <p:nvPr>
                  <p:custDataLst>
                    <p:tags r:id="rId249"/>
                  </p:custDataLst>
                </p:nvPr>
              </p:nvSpPr>
              <p:spPr bwMode="gray">
                <a:xfrm>
                  <a:off x="6941610" y="4163953"/>
                  <a:ext cx="90258" cy="155679"/>
                </a:xfrm>
                <a:custGeom>
                  <a:avLst/>
                  <a:gdLst>
                    <a:gd name="T0" fmla="*/ 7 w 9"/>
                    <a:gd name="T1" fmla="*/ 0 h 14"/>
                    <a:gd name="T2" fmla="*/ 9 w 9"/>
                    <a:gd name="T3" fmla="*/ 6 h 14"/>
                    <a:gd name="T4" fmla="*/ 6 w 9"/>
                    <a:gd name="T5" fmla="*/ 14 h 14"/>
                    <a:gd name="T6" fmla="*/ 4 w 9"/>
                    <a:gd name="T7" fmla="*/ 13 h 14"/>
                    <a:gd name="T8" fmla="*/ 3 w 9"/>
                    <a:gd name="T9" fmla="*/ 13 h 14"/>
                    <a:gd name="T10" fmla="*/ 2 w 9"/>
                    <a:gd name="T11" fmla="*/ 13 h 14"/>
                    <a:gd name="T12" fmla="*/ 1 w 9"/>
                    <a:gd name="T13" fmla="*/ 14 h 14"/>
                    <a:gd name="T14" fmla="*/ 0 w 9"/>
                    <a:gd name="T15" fmla="*/ 13 h 14"/>
                    <a:gd name="T16" fmla="*/ 2 w 9"/>
                    <a:gd name="T17" fmla="*/ 8 h 14"/>
                    <a:gd name="T18" fmla="*/ 2 w 9"/>
                    <a:gd name="T19" fmla="*/ 4 h 14"/>
                    <a:gd name="T20" fmla="*/ 4 w 9"/>
                    <a:gd name="T21" fmla="*/ 3 h 14"/>
                    <a:gd name="T22" fmla="*/ 7 w 9"/>
                    <a:gd name="T23" fmla="*/ 0 h 14"/>
                    <a:gd name="T24" fmla="*/ 7 w 9"/>
                    <a:gd name="T25" fmla="*/ 0 h 14"/>
                    <a:gd name="T26" fmla="*/ 7 w 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4">
                      <a:moveTo>
                        <a:pt x="7" y="0"/>
                      </a:moveTo>
                      <a:cubicBezTo>
                        <a:pt x="8" y="2"/>
                        <a:pt x="9" y="4"/>
                        <a:pt x="9" y="6"/>
                      </a:cubicBezTo>
                      <a:cubicBezTo>
                        <a:pt x="9" y="10"/>
                        <a:pt x="6" y="11"/>
                        <a:pt x="6" y="14"/>
                      </a:cubicBezTo>
                      <a:cubicBezTo>
                        <a:pt x="5" y="14"/>
                        <a:pt x="4" y="13"/>
                        <a:pt x="4" y="13"/>
                      </a:cubicBezTo>
                      <a:cubicBezTo>
                        <a:pt x="3" y="13"/>
                        <a:pt x="3" y="13"/>
                        <a:pt x="3" y="13"/>
                      </a:cubicBezTo>
                      <a:cubicBezTo>
                        <a:pt x="3" y="13"/>
                        <a:pt x="2" y="13"/>
                        <a:pt x="2" y="13"/>
                      </a:cubicBezTo>
                      <a:cubicBezTo>
                        <a:pt x="2" y="13"/>
                        <a:pt x="1" y="14"/>
                        <a:pt x="1" y="14"/>
                      </a:cubicBezTo>
                      <a:cubicBezTo>
                        <a:pt x="0" y="14"/>
                        <a:pt x="0" y="13"/>
                        <a:pt x="0" y="13"/>
                      </a:cubicBezTo>
                      <a:cubicBezTo>
                        <a:pt x="0" y="11"/>
                        <a:pt x="2" y="9"/>
                        <a:pt x="2" y="8"/>
                      </a:cubicBezTo>
                      <a:cubicBezTo>
                        <a:pt x="2" y="6"/>
                        <a:pt x="1" y="5"/>
                        <a:pt x="2" y="4"/>
                      </a:cubicBezTo>
                      <a:cubicBezTo>
                        <a:pt x="2" y="3"/>
                        <a:pt x="3" y="3"/>
                        <a:pt x="4" y="3"/>
                      </a:cubicBezTo>
                      <a:cubicBezTo>
                        <a:pt x="6" y="2"/>
                        <a:pt x="6" y="1"/>
                        <a:pt x="7" y="0"/>
                      </a:cubicBezTo>
                      <a:lnTo>
                        <a:pt x="7" y="0"/>
                      </a:lnTo>
                      <a:lnTo>
                        <a:pt x="7"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4" name="Freeform 264"/>
                <p:cNvSpPr>
                  <a:spLocks/>
                </p:cNvSpPr>
                <p:nvPr>
                  <p:custDataLst>
                    <p:tags r:id="rId250"/>
                  </p:custDataLst>
                </p:nvPr>
              </p:nvSpPr>
              <p:spPr bwMode="gray">
                <a:xfrm>
                  <a:off x="7000842" y="4129357"/>
                  <a:ext cx="101540" cy="268900"/>
                </a:xfrm>
                <a:custGeom>
                  <a:avLst/>
                  <a:gdLst>
                    <a:gd name="T0" fmla="*/ 1 w 10"/>
                    <a:gd name="T1" fmla="*/ 22 h 24"/>
                    <a:gd name="T2" fmla="*/ 0 w 10"/>
                    <a:gd name="T3" fmla="*/ 20 h 24"/>
                    <a:gd name="T4" fmla="*/ 3 w 10"/>
                    <a:gd name="T5" fmla="*/ 10 h 24"/>
                    <a:gd name="T6" fmla="*/ 6 w 10"/>
                    <a:gd name="T7" fmla="*/ 0 h 24"/>
                    <a:gd name="T8" fmla="*/ 9 w 10"/>
                    <a:gd name="T9" fmla="*/ 1 h 24"/>
                    <a:gd name="T10" fmla="*/ 9 w 10"/>
                    <a:gd name="T11" fmla="*/ 4 h 24"/>
                    <a:gd name="T12" fmla="*/ 6 w 10"/>
                    <a:gd name="T13" fmla="*/ 9 h 24"/>
                    <a:gd name="T14" fmla="*/ 10 w 10"/>
                    <a:gd name="T15" fmla="*/ 14 h 24"/>
                    <a:gd name="T16" fmla="*/ 7 w 10"/>
                    <a:gd name="T17" fmla="*/ 17 h 24"/>
                    <a:gd name="T18" fmla="*/ 6 w 10"/>
                    <a:gd name="T19" fmla="*/ 17 h 24"/>
                    <a:gd name="T20" fmla="*/ 1 w 10"/>
                    <a:gd name="T21" fmla="*/ 22 h 24"/>
                    <a:gd name="T22" fmla="*/ 1 w 10"/>
                    <a:gd name="T23" fmla="*/ 22 h 24"/>
                    <a:gd name="T24" fmla="*/ 1 w 10"/>
                    <a:gd name="T2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 y="22"/>
                      </a:moveTo>
                      <a:cubicBezTo>
                        <a:pt x="0" y="22"/>
                        <a:pt x="0" y="21"/>
                        <a:pt x="0" y="20"/>
                      </a:cubicBezTo>
                      <a:cubicBezTo>
                        <a:pt x="0" y="15"/>
                        <a:pt x="3" y="15"/>
                        <a:pt x="3" y="10"/>
                      </a:cubicBezTo>
                      <a:cubicBezTo>
                        <a:pt x="3" y="8"/>
                        <a:pt x="5" y="0"/>
                        <a:pt x="6" y="0"/>
                      </a:cubicBezTo>
                      <a:cubicBezTo>
                        <a:pt x="8" y="0"/>
                        <a:pt x="9" y="1"/>
                        <a:pt x="9" y="1"/>
                      </a:cubicBezTo>
                      <a:cubicBezTo>
                        <a:pt x="9" y="3"/>
                        <a:pt x="9" y="3"/>
                        <a:pt x="9" y="4"/>
                      </a:cubicBezTo>
                      <a:cubicBezTo>
                        <a:pt x="9" y="7"/>
                        <a:pt x="6" y="6"/>
                        <a:pt x="6" y="9"/>
                      </a:cubicBezTo>
                      <a:cubicBezTo>
                        <a:pt x="6" y="11"/>
                        <a:pt x="10" y="12"/>
                        <a:pt x="10" y="14"/>
                      </a:cubicBezTo>
                      <a:cubicBezTo>
                        <a:pt x="10" y="16"/>
                        <a:pt x="8" y="17"/>
                        <a:pt x="7" y="17"/>
                      </a:cubicBezTo>
                      <a:cubicBezTo>
                        <a:pt x="7" y="17"/>
                        <a:pt x="6" y="17"/>
                        <a:pt x="6" y="17"/>
                      </a:cubicBezTo>
                      <a:cubicBezTo>
                        <a:pt x="4" y="18"/>
                        <a:pt x="5" y="24"/>
                        <a:pt x="1" y="22"/>
                      </a:cubicBezTo>
                      <a:lnTo>
                        <a:pt x="1" y="22"/>
                      </a:lnTo>
                      <a:lnTo>
                        <a:pt x="1" y="2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5" name="Freeform 265"/>
                <p:cNvSpPr>
                  <a:spLocks/>
                </p:cNvSpPr>
                <p:nvPr>
                  <p:custDataLst>
                    <p:tags r:id="rId251"/>
                  </p:custDataLst>
                </p:nvPr>
              </p:nvSpPr>
              <p:spPr bwMode="gray">
                <a:xfrm>
                  <a:off x="8931504" y="3490916"/>
                  <a:ext cx="31026" cy="33023"/>
                </a:xfrm>
                <a:custGeom>
                  <a:avLst/>
                  <a:gdLst>
                    <a:gd name="T0" fmla="*/ 0 w 3"/>
                    <a:gd name="T1" fmla="*/ 1 h 3"/>
                    <a:gd name="T2" fmla="*/ 1 w 3"/>
                    <a:gd name="T3" fmla="*/ 1 h 3"/>
                    <a:gd name="T4" fmla="*/ 2 w 3"/>
                    <a:gd name="T5" fmla="*/ 3 h 3"/>
                    <a:gd name="T6" fmla="*/ 3 w 3"/>
                    <a:gd name="T7" fmla="*/ 1 h 3"/>
                    <a:gd name="T8" fmla="*/ 2 w 3"/>
                    <a:gd name="T9" fmla="*/ 0 h 3"/>
                    <a:gd name="T10" fmla="*/ 1 w 3"/>
                    <a:gd name="T11" fmla="*/ 0 h 3"/>
                    <a:gd name="T12" fmla="*/ 0 w 3"/>
                    <a:gd name="T13" fmla="*/ 1 h 3"/>
                    <a:gd name="T14" fmla="*/ 0 w 3"/>
                    <a:gd name="T15" fmla="*/ 1 h 3"/>
                    <a:gd name="T16" fmla="*/ 0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1"/>
                      </a:moveTo>
                      <a:cubicBezTo>
                        <a:pt x="0" y="1"/>
                        <a:pt x="1" y="1"/>
                        <a:pt x="1" y="1"/>
                      </a:cubicBezTo>
                      <a:cubicBezTo>
                        <a:pt x="1" y="2"/>
                        <a:pt x="1" y="3"/>
                        <a:pt x="2" y="3"/>
                      </a:cubicBezTo>
                      <a:cubicBezTo>
                        <a:pt x="2" y="3"/>
                        <a:pt x="3" y="2"/>
                        <a:pt x="3" y="1"/>
                      </a:cubicBezTo>
                      <a:cubicBezTo>
                        <a:pt x="3" y="0"/>
                        <a:pt x="2" y="0"/>
                        <a:pt x="2" y="0"/>
                      </a:cubicBezTo>
                      <a:cubicBezTo>
                        <a:pt x="2" y="0"/>
                        <a:pt x="1" y="0"/>
                        <a:pt x="1" y="0"/>
                      </a:cubicBez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6" name="Freeform 266"/>
                <p:cNvSpPr>
                  <a:spLocks/>
                </p:cNvSpPr>
                <p:nvPr>
                  <p:custDataLst>
                    <p:tags r:id="rId252"/>
                  </p:custDataLst>
                </p:nvPr>
              </p:nvSpPr>
              <p:spPr bwMode="gray">
                <a:xfrm>
                  <a:off x="9021761" y="3423299"/>
                  <a:ext cx="160771" cy="111647"/>
                </a:xfrm>
                <a:custGeom>
                  <a:avLst/>
                  <a:gdLst>
                    <a:gd name="T0" fmla="*/ 0 w 16"/>
                    <a:gd name="T1" fmla="*/ 0 h 10"/>
                    <a:gd name="T2" fmla="*/ 4 w 16"/>
                    <a:gd name="T3" fmla="*/ 4 h 10"/>
                    <a:gd name="T4" fmla="*/ 6 w 16"/>
                    <a:gd name="T5" fmla="*/ 3 h 10"/>
                    <a:gd name="T6" fmla="*/ 7 w 16"/>
                    <a:gd name="T7" fmla="*/ 8 h 10"/>
                    <a:gd name="T8" fmla="*/ 13 w 16"/>
                    <a:gd name="T9" fmla="*/ 10 h 10"/>
                    <a:gd name="T10" fmla="*/ 16 w 16"/>
                    <a:gd name="T11" fmla="*/ 7 h 10"/>
                    <a:gd name="T12" fmla="*/ 14 w 16"/>
                    <a:gd name="T13" fmla="*/ 6 h 10"/>
                    <a:gd name="T14" fmla="*/ 13 w 16"/>
                    <a:gd name="T15" fmla="*/ 6 h 10"/>
                    <a:gd name="T16" fmla="*/ 7 w 16"/>
                    <a:gd name="T17" fmla="*/ 1 h 10"/>
                    <a:gd name="T18" fmla="*/ 6 w 16"/>
                    <a:gd name="T19" fmla="*/ 2 h 10"/>
                    <a:gd name="T20" fmla="*/ 5 w 16"/>
                    <a:gd name="T21" fmla="*/ 1 h 10"/>
                    <a:gd name="T22" fmla="*/ 0 w 16"/>
                    <a:gd name="T23" fmla="*/ 0 h 10"/>
                    <a:gd name="T24" fmla="*/ 0 w 16"/>
                    <a:gd name="T25" fmla="*/ 0 h 10"/>
                    <a:gd name="T26" fmla="*/ 0 w 16"/>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0">
                      <a:moveTo>
                        <a:pt x="0" y="0"/>
                      </a:moveTo>
                      <a:cubicBezTo>
                        <a:pt x="0" y="2"/>
                        <a:pt x="3" y="4"/>
                        <a:pt x="4" y="4"/>
                      </a:cubicBezTo>
                      <a:cubicBezTo>
                        <a:pt x="5" y="4"/>
                        <a:pt x="5" y="4"/>
                        <a:pt x="6" y="3"/>
                      </a:cubicBezTo>
                      <a:cubicBezTo>
                        <a:pt x="7" y="4"/>
                        <a:pt x="7" y="6"/>
                        <a:pt x="7" y="8"/>
                      </a:cubicBezTo>
                      <a:cubicBezTo>
                        <a:pt x="7" y="9"/>
                        <a:pt x="12" y="10"/>
                        <a:pt x="13" y="10"/>
                      </a:cubicBezTo>
                      <a:cubicBezTo>
                        <a:pt x="14" y="10"/>
                        <a:pt x="16" y="9"/>
                        <a:pt x="16" y="7"/>
                      </a:cubicBezTo>
                      <a:cubicBezTo>
                        <a:pt x="16" y="7"/>
                        <a:pt x="15" y="6"/>
                        <a:pt x="14" y="6"/>
                      </a:cubicBezTo>
                      <a:cubicBezTo>
                        <a:pt x="14" y="6"/>
                        <a:pt x="13" y="6"/>
                        <a:pt x="13" y="6"/>
                      </a:cubicBezTo>
                      <a:cubicBezTo>
                        <a:pt x="11" y="6"/>
                        <a:pt x="10" y="1"/>
                        <a:pt x="7" y="1"/>
                      </a:cubicBezTo>
                      <a:cubicBezTo>
                        <a:pt x="7" y="1"/>
                        <a:pt x="7" y="2"/>
                        <a:pt x="6" y="2"/>
                      </a:cubicBezTo>
                      <a:cubicBezTo>
                        <a:pt x="6" y="2"/>
                        <a:pt x="5" y="1"/>
                        <a:pt x="5" y="1"/>
                      </a:cubicBezTo>
                      <a:cubicBezTo>
                        <a:pt x="3" y="0"/>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7" name="Freeform 267"/>
                <p:cNvSpPr>
                  <a:spLocks/>
                </p:cNvSpPr>
                <p:nvPr>
                  <p:custDataLst>
                    <p:tags r:id="rId253"/>
                  </p:custDataLst>
                </p:nvPr>
              </p:nvSpPr>
              <p:spPr bwMode="gray">
                <a:xfrm>
                  <a:off x="8982274" y="3569543"/>
                  <a:ext cx="29615" cy="22015"/>
                </a:xfrm>
                <a:custGeom>
                  <a:avLst/>
                  <a:gdLst>
                    <a:gd name="T0" fmla="*/ 0 w 3"/>
                    <a:gd name="T1" fmla="*/ 1 h 2"/>
                    <a:gd name="T2" fmla="*/ 2 w 3"/>
                    <a:gd name="T3" fmla="*/ 2 h 2"/>
                    <a:gd name="T4" fmla="*/ 3 w 3"/>
                    <a:gd name="T5" fmla="*/ 1 h 2"/>
                    <a:gd name="T6" fmla="*/ 0 w 3"/>
                    <a:gd name="T7" fmla="*/ 0 h 2"/>
                    <a:gd name="T8" fmla="*/ 0 w 3"/>
                    <a:gd name="T9" fmla="*/ 1 h 2"/>
                    <a:gd name="T10" fmla="*/ 0 w 3"/>
                    <a:gd name="T11" fmla="*/ 1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0" y="1"/>
                        <a:pt x="1" y="2"/>
                        <a:pt x="2" y="2"/>
                      </a:cubicBezTo>
                      <a:cubicBezTo>
                        <a:pt x="2" y="2"/>
                        <a:pt x="3" y="1"/>
                        <a:pt x="3" y="1"/>
                      </a:cubicBezTo>
                      <a:cubicBezTo>
                        <a:pt x="1" y="1"/>
                        <a:pt x="0" y="1"/>
                        <a:pt x="0"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8" name="Freeform 268"/>
                <p:cNvSpPr>
                  <a:spLocks/>
                </p:cNvSpPr>
                <p:nvPr>
                  <p:custDataLst>
                    <p:tags r:id="rId254"/>
                  </p:custDataLst>
                </p:nvPr>
              </p:nvSpPr>
              <p:spPr bwMode="gray">
                <a:xfrm>
                  <a:off x="9031632" y="3602565"/>
                  <a:ext cx="231285" cy="55038"/>
                </a:xfrm>
                <a:custGeom>
                  <a:avLst/>
                  <a:gdLst>
                    <a:gd name="T0" fmla="*/ 1 w 23"/>
                    <a:gd name="T1" fmla="*/ 0 h 5"/>
                    <a:gd name="T2" fmla="*/ 0 w 23"/>
                    <a:gd name="T3" fmla="*/ 1 h 5"/>
                    <a:gd name="T4" fmla="*/ 6 w 23"/>
                    <a:gd name="T5" fmla="*/ 2 h 5"/>
                    <a:gd name="T6" fmla="*/ 12 w 23"/>
                    <a:gd name="T7" fmla="*/ 5 h 5"/>
                    <a:gd name="T8" fmla="*/ 16 w 23"/>
                    <a:gd name="T9" fmla="*/ 5 h 5"/>
                    <a:gd name="T10" fmla="*/ 23 w 23"/>
                    <a:gd name="T11" fmla="*/ 3 h 5"/>
                    <a:gd name="T12" fmla="*/ 20 w 23"/>
                    <a:gd name="T13" fmla="*/ 2 h 5"/>
                    <a:gd name="T14" fmla="*/ 20 w 23"/>
                    <a:gd name="T15" fmla="*/ 2 h 5"/>
                    <a:gd name="T16" fmla="*/ 15 w 23"/>
                    <a:gd name="T17" fmla="*/ 2 h 5"/>
                    <a:gd name="T18" fmla="*/ 15 w 23"/>
                    <a:gd name="T19" fmla="*/ 2 h 5"/>
                    <a:gd name="T20" fmla="*/ 12 w 23"/>
                    <a:gd name="T21" fmla="*/ 1 h 5"/>
                    <a:gd name="T22" fmla="*/ 7 w 23"/>
                    <a:gd name="T23" fmla="*/ 1 h 5"/>
                    <a:gd name="T24" fmla="*/ 1 w 23"/>
                    <a:gd name="T25" fmla="*/ 0 h 5"/>
                    <a:gd name="T26" fmla="*/ 1 w 23"/>
                    <a:gd name="T27" fmla="*/ 0 h 5"/>
                    <a:gd name="T28" fmla="*/ 1 w 23"/>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
                      <a:moveTo>
                        <a:pt x="1" y="0"/>
                      </a:moveTo>
                      <a:cubicBezTo>
                        <a:pt x="1" y="0"/>
                        <a:pt x="0" y="0"/>
                        <a:pt x="0" y="1"/>
                      </a:cubicBezTo>
                      <a:cubicBezTo>
                        <a:pt x="0" y="3"/>
                        <a:pt x="5" y="2"/>
                        <a:pt x="6" y="2"/>
                      </a:cubicBezTo>
                      <a:cubicBezTo>
                        <a:pt x="8" y="4"/>
                        <a:pt x="10" y="4"/>
                        <a:pt x="12" y="5"/>
                      </a:cubicBezTo>
                      <a:cubicBezTo>
                        <a:pt x="16" y="5"/>
                        <a:pt x="15" y="5"/>
                        <a:pt x="16" y="5"/>
                      </a:cubicBezTo>
                      <a:cubicBezTo>
                        <a:pt x="18" y="5"/>
                        <a:pt x="22" y="5"/>
                        <a:pt x="23" y="3"/>
                      </a:cubicBezTo>
                      <a:cubicBezTo>
                        <a:pt x="22" y="2"/>
                        <a:pt x="21" y="2"/>
                        <a:pt x="20" y="2"/>
                      </a:cubicBezTo>
                      <a:lnTo>
                        <a:pt x="20" y="2"/>
                      </a:lnTo>
                      <a:lnTo>
                        <a:pt x="15" y="2"/>
                      </a:lnTo>
                      <a:lnTo>
                        <a:pt x="15" y="2"/>
                      </a:lnTo>
                      <a:cubicBezTo>
                        <a:pt x="14" y="2"/>
                        <a:pt x="13" y="1"/>
                        <a:pt x="12" y="1"/>
                      </a:cubicBezTo>
                      <a:cubicBezTo>
                        <a:pt x="10" y="0"/>
                        <a:pt x="9" y="1"/>
                        <a:pt x="7" y="1"/>
                      </a:cubicBezTo>
                      <a:cubicBezTo>
                        <a:pt x="5" y="1"/>
                        <a:pt x="3" y="0"/>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39" name="Freeform 269"/>
                <p:cNvSpPr>
                  <a:spLocks/>
                </p:cNvSpPr>
                <p:nvPr>
                  <p:custDataLst>
                    <p:tags r:id="rId255"/>
                  </p:custDataLst>
                </p:nvPr>
              </p:nvSpPr>
              <p:spPr bwMode="gray">
                <a:xfrm>
                  <a:off x="9274199" y="3637163"/>
                  <a:ext cx="9872" cy="9435"/>
                </a:xfrm>
                <a:custGeom>
                  <a:avLst/>
                  <a:gdLst>
                    <a:gd name="T0" fmla="*/ 0 w 1"/>
                    <a:gd name="T1" fmla="*/ 1 h 1"/>
                    <a:gd name="T2" fmla="*/ 1 w 1"/>
                    <a:gd name="T3" fmla="*/ 1 h 1"/>
                    <a:gd name="T4" fmla="*/ 1 w 1"/>
                    <a:gd name="T5" fmla="*/ 0 h 1"/>
                    <a:gd name="T6" fmla="*/ 0 w 1"/>
                    <a:gd name="T7" fmla="*/ 1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1" y="1"/>
                        <a:pt x="1" y="1"/>
                      </a:cubicBezTo>
                      <a:cubicBezTo>
                        <a:pt x="1" y="1"/>
                        <a:pt x="1" y="1"/>
                        <a:pt x="1"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0" name="Freeform 270"/>
                <p:cNvSpPr>
                  <a:spLocks/>
                </p:cNvSpPr>
                <p:nvPr>
                  <p:custDataLst>
                    <p:tags r:id="rId256"/>
                  </p:custDataLst>
                </p:nvPr>
              </p:nvSpPr>
              <p:spPr bwMode="gray">
                <a:xfrm>
                  <a:off x="8860990" y="3681192"/>
                  <a:ext cx="9871" cy="22015"/>
                </a:xfrm>
                <a:custGeom>
                  <a:avLst/>
                  <a:gdLst>
                    <a:gd name="T0" fmla="*/ 0 w 1"/>
                    <a:gd name="T1" fmla="*/ 1 h 2"/>
                    <a:gd name="T2" fmla="*/ 0 w 1"/>
                    <a:gd name="T3" fmla="*/ 2 h 2"/>
                    <a:gd name="T4" fmla="*/ 0 w 1"/>
                    <a:gd name="T5" fmla="*/ 2 h 2"/>
                    <a:gd name="T6" fmla="*/ 1 w 1"/>
                    <a:gd name="T7" fmla="*/ 2 h 2"/>
                    <a:gd name="T8" fmla="*/ 1 w 1"/>
                    <a:gd name="T9" fmla="*/ 2 h 2"/>
                    <a:gd name="T10" fmla="*/ 1 w 1"/>
                    <a:gd name="T11" fmla="*/ 1 h 2"/>
                    <a:gd name="T12" fmla="*/ 1 w 1"/>
                    <a:gd name="T13" fmla="*/ 1 h 2"/>
                    <a:gd name="T14" fmla="*/ 0 w 1"/>
                    <a:gd name="T15" fmla="*/ 0 h 2"/>
                    <a:gd name="T16" fmla="*/ 0 w 1"/>
                    <a:gd name="T17" fmla="*/ 1 h 2"/>
                    <a:gd name="T18" fmla="*/ 0 w 1"/>
                    <a:gd name="T19" fmla="*/ 1 h 2"/>
                    <a:gd name="T20" fmla="*/ 0 w 1"/>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0" y="1"/>
                      </a:moveTo>
                      <a:lnTo>
                        <a:pt x="0" y="2"/>
                      </a:lnTo>
                      <a:lnTo>
                        <a:pt x="0" y="2"/>
                      </a:lnTo>
                      <a:cubicBezTo>
                        <a:pt x="0" y="2"/>
                        <a:pt x="1" y="2"/>
                        <a:pt x="1" y="2"/>
                      </a:cubicBezTo>
                      <a:lnTo>
                        <a:pt x="1" y="2"/>
                      </a:lnTo>
                      <a:lnTo>
                        <a:pt x="1" y="1"/>
                      </a:lnTo>
                      <a:lnTo>
                        <a:pt x="1" y="1"/>
                      </a:lnTo>
                      <a:cubicBezTo>
                        <a:pt x="1" y="0"/>
                        <a:pt x="1"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1" name="Freeform 271"/>
                <p:cNvSpPr>
                  <a:spLocks/>
                </p:cNvSpPr>
                <p:nvPr>
                  <p:custDataLst>
                    <p:tags r:id="rId257"/>
                  </p:custDataLst>
                </p:nvPr>
              </p:nvSpPr>
              <p:spPr bwMode="gray">
                <a:xfrm>
                  <a:off x="8829964" y="3626154"/>
                  <a:ext cx="9871" cy="31450"/>
                </a:xfrm>
                <a:custGeom>
                  <a:avLst/>
                  <a:gdLst>
                    <a:gd name="T0" fmla="*/ 1 w 1"/>
                    <a:gd name="T1" fmla="*/ 0 h 3"/>
                    <a:gd name="T2" fmla="*/ 0 w 1"/>
                    <a:gd name="T3" fmla="*/ 2 h 3"/>
                    <a:gd name="T4" fmla="*/ 0 w 1"/>
                    <a:gd name="T5" fmla="*/ 2 h 3"/>
                    <a:gd name="T6" fmla="*/ 0 w 1"/>
                    <a:gd name="T7" fmla="*/ 3 h 3"/>
                    <a:gd name="T8" fmla="*/ 0 w 1"/>
                    <a:gd name="T9" fmla="*/ 3 h 3"/>
                    <a:gd name="T10" fmla="*/ 1 w 1"/>
                    <a:gd name="T11" fmla="*/ 2 h 3"/>
                    <a:gd name="T12" fmla="*/ 1 w 1"/>
                    <a:gd name="T13" fmla="*/ 2 h 3"/>
                    <a:gd name="T14" fmla="*/ 1 w 1"/>
                    <a:gd name="T15" fmla="*/ 0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0" y="2"/>
                        <a:pt x="0" y="2"/>
                        <a:pt x="0" y="2"/>
                      </a:cubicBezTo>
                      <a:lnTo>
                        <a:pt x="0" y="2"/>
                      </a:lnTo>
                      <a:lnTo>
                        <a:pt x="0" y="3"/>
                      </a:lnTo>
                      <a:lnTo>
                        <a:pt x="0" y="3"/>
                      </a:lnTo>
                      <a:cubicBezTo>
                        <a:pt x="0" y="3"/>
                        <a:pt x="1" y="3"/>
                        <a:pt x="1" y="2"/>
                      </a:cubicBezTo>
                      <a:lnTo>
                        <a:pt x="1" y="2"/>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2" name="Freeform 272"/>
                <p:cNvSpPr>
                  <a:spLocks/>
                </p:cNvSpPr>
                <p:nvPr>
                  <p:custDataLst>
                    <p:tags r:id="rId258"/>
                  </p:custDataLst>
                </p:nvPr>
              </p:nvSpPr>
              <p:spPr bwMode="gray">
                <a:xfrm>
                  <a:off x="8880733" y="3737802"/>
                  <a:ext cx="21154" cy="22015"/>
                </a:xfrm>
                <a:custGeom>
                  <a:avLst/>
                  <a:gdLst>
                    <a:gd name="T0" fmla="*/ 0 w 2"/>
                    <a:gd name="T1" fmla="*/ 2 h 2"/>
                    <a:gd name="T2" fmla="*/ 2 w 2"/>
                    <a:gd name="T3" fmla="*/ 2 h 2"/>
                    <a:gd name="T4" fmla="*/ 2 w 2"/>
                    <a:gd name="T5" fmla="*/ 2 h 2"/>
                    <a:gd name="T6" fmla="*/ 2 w 2"/>
                    <a:gd name="T7" fmla="*/ 0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2"/>
                      </a:lnTo>
                      <a:lnTo>
                        <a:pt x="2" y="2"/>
                      </a:lnTo>
                      <a:cubicBezTo>
                        <a:pt x="2" y="1"/>
                        <a:pt x="2" y="1"/>
                        <a:pt x="2" y="0"/>
                      </a:cubicBezTo>
                      <a:cubicBezTo>
                        <a:pt x="0" y="0"/>
                        <a:pt x="1"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3" name="Freeform 273"/>
                <p:cNvSpPr>
                  <a:spLocks/>
                </p:cNvSpPr>
                <p:nvPr>
                  <p:custDataLst>
                    <p:tags r:id="rId259"/>
                  </p:custDataLst>
                </p:nvPr>
              </p:nvSpPr>
              <p:spPr bwMode="gray">
                <a:xfrm>
                  <a:off x="8880735" y="3770823"/>
                  <a:ext cx="31026" cy="11009"/>
                </a:xfrm>
                <a:custGeom>
                  <a:avLst/>
                  <a:gdLst>
                    <a:gd name="T0" fmla="*/ 1 w 3"/>
                    <a:gd name="T1" fmla="*/ 1 h 1"/>
                    <a:gd name="T2" fmla="*/ 3 w 3"/>
                    <a:gd name="T3" fmla="*/ 0 h 1"/>
                    <a:gd name="T4" fmla="*/ 0 w 3"/>
                    <a:gd name="T5" fmla="*/ 0 h 1"/>
                    <a:gd name="T6" fmla="*/ 1 w 3"/>
                    <a:gd name="T7" fmla="*/ 1 h 1"/>
                    <a:gd name="T8" fmla="*/ 1 w 3"/>
                    <a:gd name="T9" fmla="*/ 1 h 1"/>
                    <a:gd name="T10" fmla="*/ 1 w 3"/>
                    <a:gd name="T11" fmla="*/ 1 h 1"/>
                  </a:gdLst>
                  <a:ahLst/>
                  <a:cxnLst>
                    <a:cxn ang="0">
                      <a:pos x="T0" y="T1"/>
                    </a:cxn>
                    <a:cxn ang="0">
                      <a:pos x="T2" y="T3"/>
                    </a:cxn>
                    <a:cxn ang="0">
                      <a:pos x="T4" y="T5"/>
                    </a:cxn>
                    <a:cxn ang="0">
                      <a:pos x="T6" y="T7"/>
                    </a:cxn>
                    <a:cxn ang="0">
                      <a:pos x="T8" y="T9"/>
                    </a:cxn>
                    <a:cxn ang="0">
                      <a:pos x="T10" y="T11"/>
                    </a:cxn>
                  </a:cxnLst>
                  <a:rect l="0" t="0" r="r" b="b"/>
                  <a:pathLst>
                    <a:path w="3" h="1">
                      <a:moveTo>
                        <a:pt x="1" y="1"/>
                      </a:moveTo>
                      <a:cubicBezTo>
                        <a:pt x="2" y="1"/>
                        <a:pt x="2" y="1"/>
                        <a:pt x="3" y="0"/>
                      </a:cubicBezTo>
                      <a:cubicBezTo>
                        <a:pt x="2" y="0"/>
                        <a:pt x="1" y="0"/>
                        <a:pt x="0" y="0"/>
                      </a:cubicBezTo>
                      <a:cubicBezTo>
                        <a:pt x="1" y="1"/>
                        <a:pt x="1" y="1"/>
                        <a:pt x="1" y="1"/>
                      </a:cubicBezTo>
                      <a:lnTo>
                        <a:pt x="1" y="1"/>
                      </a:lnTo>
                      <a:lnTo>
                        <a:pt x="1" y="1"/>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4" name="Freeform 274"/>
                <p:cNvSpPr>
                  <a:spLocks/>
                </p:cNvSpPr>
                <p:nvPr>
                  <p:custDataLst>
                    <p:tags r:id="rId260"/>
                  </p:custDataLst>
                </p:nvPr>
              </p:nvSpPr>
              <p:spPr bwMode="gray">
                <a:xfrm>
                  <a:off x="8700219" y="4072747"/>
                  <a:ext cx="40897" cy="34595"/>
                </a:xfrm>
                <a:custGeom>
                  <a:avLst/>
                  <a:gdLst>
                    <a:gd name="T0" fmla="*/ 0 w 4"/>
                    <a:gd name="T1" fmla="*/ 0 h 3"/>
                    <a:gd name="T2" fmla="*/ 4 w 4"/>
                    <a:gd name="T3" fmla="*/ 2 h 3"/>
                    <a:gd name="T4" fmla="*/ 3 w 4"/>
                    <a:gd name="T5" fmla="*/ 3 h 3"/>
                    <a:gd name="T6" fmla="*/ 0 w 4"/>
                    <a:gd name="T7" fmla="*/ 1 h 3"/>
                    <a:gd name="T8" fmla="*/ 0 w 4"/>
                    <a:gd name="T9" fmla="*/ 1 h 3"/>
                    <a:gd name="T10" fmla="*/ 0 w 4"/>
                    <a:gd name="T11" fmla="*/ 0 h 3"/>
                    <a:gd name="T12" fmla="*/ 0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0"/>
                      </a:moveTo>
                      <a:cubicBezTo>
                        <a:pt x="1" y="2"/>
                        <a:pt x="2" y="2"/>
                        <a:pt x="4" y="2"/>
                      </a:cubicBezTo>
                      <a:cubicBezTo>
                        <a:pt x="4" y="3"/>
                        <a:pt x="3" y="3"/>
                        <a:pt x="3" y="3"/>
                      </a:cubicBezTo>
                      <a:cubicBezTo>
                        <a:pt x="2" y="3"/>
                        <a:pt x="0" y="2"/>
                        <a:pt x="0" y="1"/>
                      </a:cubicBez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5" name="Freeform 275"/>
                <p:cNvSpPr>
                  <a:spLocks/>
                </p:cNvSpPr>
                <p:nvPr>
                  <p:custDataLst>
                    <p:tags r:id="rId261"/>
                  </p:custDataLst>
                </p:nvPr>
              </p:nvSpPr>
              <p:spPr bwMode="gray">
                <a:xfrm>
                  <a:off x="8137521" y="3626154"/>
                  <a:ext cx="100129" cy="66046"/>
                </a:xfrm>
                <a:custGeom>
                  <a:avLst/>
                  <a:gdLst>
                    <a:gd name="T0" fmla="*/ 0 w 10"/>
                    <a:gd name="T1" fmla="*/ 3 h 6"/>
                    <a:gd name="T2" fmla="*/ 1 w 10"/>
                    <a:gd name="T3" fmla="*/ 2 h 6"/>
                    <a:gd name="T4" fmla="*/ 6 w 10"/>
                    <a:gd name="T5" fmla="*/ 0 h 6"/>
                    <a:gd name="T6" fmla="*/ 10 w 10"/>
                    <a:gd name="T7" fmla="*/ 2 h 6"/>
                    <a:gd name="T8" fmla="*/ 9 w 10"/>
                    <a:gd name="T9" fmla="*/ 3 h 6"/>
                    <a:gd name="T10" fmla="*/ 10 w 10"/>
                    <a:gd name="T11" fmla="*/ 5 h 6"/>
                    <a:gd name="T12" fmla="*/ 8 w 10"/>
                    <a:gd name="T13" fmla="*/ 4 h 6"/>
                    <a:gd name="T14" fmla="*/ 6 w 10"/>
                    <a:gd name="T15" fmla="*/ 6 h 6"/>
                    <a:gd name="T16" fmla="*/ 0 w 10"/>
                    <a:gd name="T17" fmla="*/ 3 h 6"/>
                    <a:gd name="T18" fmla="*/ 0 w 10"/>
                    <a:gd name="T19" fmla="*/ 3 h 6"/>
                    <a:gd name="T20" fmla="*/ 0 w 10"/>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3"/>
                      </a:moveTo>
                      <a:cubicBezTo>
                        <a:pt x="0" y="3"/>
                        <a:pt x="0" y="2"/>
                        <a:pt x="1" y="2"/>
                      </a:cubicBezTo>
                      <a:cubicBezTo>
                        <a:pt x="3" y="0"/>
                        <a:pt x="4" y="0"/>
                        <a:pt x="6" y="0"/>
                      </a:cubicBezTo>
                      <a:cubicBezTo>
                        <a:pt x="8" y="0"/>
                        <a:pt x="10" y="1"/>
                        <a:pt x="10" y="2"/>
                      </a:cubicBezTo>
                      <a:cubicBezTo>
                        <a:pt x="10" y="3"/>
                        <a:pt x="9" y="3"/>
                        <a:pt x="9" y="3"/>
                      </a:cubicBezTo>
                      <a:cubicBezTo>
                        <a:pt x="9" y="4"/>
                        <a:pt x="10" y="5"/>
                        <a:pt x="10" y="5"/>
                      </a:cubicBezTo>
                      <a:cubicBezTo>
                        <a:pt x="9" y="5"/>
                        <a:pt x="9" y="4"/>
                        <a:pt x="8" y="4"/>
                      </a:cubicBezTo>
                      <a:cubicBezTo>
                        <a:pt x="7" y="4"/>
                        <a:pt x="7" y="6"/>
                        <a:pt x="6" y="6"/>
                      </a:cubicBezTo>
                      <a:cubicBezTo>
                        <a:pt x="4" y="6"/>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6" name="Freeform 276"/>
                <p:cNvSpPr>
                  <a:spLocks/>
                </p:cNvSpPr>
                <p:nvPr>
                  <p:custDataLst>
                    <p:tags r:id="rId262"/>
                  </p:custDataLst>
                </p:nvPr>
              </p:nvSpPr>
              <p:spPr bwMode="gray">
                <a:xfrm>
                  <a:off x="8137521" y="3512932"/>
                  <a:ext cx="19744" cy="22015"/>
                </a:xfrm>
                <a:custGeom>
                  <a:avLst/>
                  <a:gdLst>
                    <a:gd name="T0" fmla="*/ 0 w 2"/>
                    <a:gd name="T1" fmla="*/ 2 h 2"/>
                    <a:gd name="T2" fmla="*/ 2 w 2"/>
                    <a:gd name="T3" fmla="*/ 2 h 2"/>
                    <a:gd name="T4" fmla="*/ 2 w 2"/>
                    <a:gd name="T5" fmla="*/ 2 h 2"/>
                    <a:gd name="T6" fmla="*/ 2 w 2"/>
                    <a:gd name="T7" fmla="*/ 1 h 2"/>
                    <a:gd name="T8" fmla="*/ 2 w 2"/>
                    <a:gd name="T9" fmla="*/ 1 h 2"/>
                    <a:gd name="T10" fmla="*/ 2 w 2"/>
                    <a:gd name="T11" fmla="*/ 0 h 2"/>
                    <a:gd name="T12" fmla="*/ 2 w 2"/>
                    <a:gd name="T13" fmla="*/ 0 h 2"/>
                    <a:gd name="T14" fmla="*/ 0 w 2"/>
                    <a:gd name="T15" fmla="*/ 2 h 2"/>
                    <a:gd name="T16" fmla="*/ 0 w 2"/>
                    <a:gd name="T17" fmla="*/ 2 h 2"/>
                    <a:gd name="T18" fmla="*/ 0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2"/>
                      </a:moveTo>
                      <a:lnTo>
                        <a:pt x="2" y="2"/>
                      </a:lnTo>
                      <a:lnTo>
                        <a:pt x="2" y="2"/>
                      </a:lnTo>
                      <a:cubicBezTo>
                        <a:pt x="2" y="2"/>
                        <a:pt x="2" y="1"/>
                        <a:pt x="2" y="1"/>
                      </a:cubicBezTo>
                      <a:lnTo>
                        <a:pt x="2" y="1"/>
                      </a:lnTo>
                      <a:lnTo>
                        <a:pt x="2" y="0"/>
                      </a:lnTo>
                      <a:lnTo>
                        <a:pt x="2" y="0"/>
                      </a:lnTo>
                      <a:cubicBezTo>
                        <a:pt x="1" y="0"/>
                        <a:pt x="0" y="0"/>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7" name="Freeform 277"/>
                <p:cNvSpPr>
                  <a:spLocks/>
                </p:cNvSpPr>
                <p:nvPr>
                  <p:custDataLst>
                    <p:tags r:id="rId263"/>
                  </p:custDataLst>
                </p:nvPr>
              </p:nvSpPr>
              <p:spPr bwMode="gray">
                <a:xfrm>
                  <a:off x="8147392" y="3379268"/>
                  <a:ext cx="9871" cy="11008"/>
                </a:xfrm>
                <a:custGeom>
                  <a:avLst/>
                  <a:gdLst>
                    <a:gd name="T0" fmla="*/ 0 w 1"/>
                    <a:gd name="T1" fmla="*/ 1 h 1"/>
                    <a:gd name="T2" fmla="*/ 1 w 1"/>
                    <a:gd name="T3" fmla="*/ 1 h 1"/>
                    <a:gd name="T4" fmla="*/ 1 w 1"/>
                    <a:gd name="T5" fmla="*/ 1 h 1"/>
                    <a:gd name="T6" fmla="*/ 1 w 1"/>
                    <a:gd name="T7" fmla="*/ 1 h 1"/>
                    <a:gd name="T8" fmla="*/ 1 w 1"/>
                    <a:gd name="T9" fmla="*/ 0 h 1"/>
                    <a:gd name="T10" fmla="*/ 0 w 1"/>
                    <a:gd name="T11" fmla="*/ 1 h 1"/>
                    <a:gd name="T12" fmla="*/ 0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1" y="1"/>
                      </a:lnTo>
                      <a:lnTo>
                        <a:pt x="1" y="1"/>
                      </a:lnTo>
                      <a:lnTo>
                        <a:pt x="1" y="1"/>
                      </a:lnTo>
                      <a:cubicBezTo>
                        <a:pt x="1" y="1"/>
                        <a:pt x="1" y="0"/>
                        <a:pt x="1" y="0"/>
                      </a:cubicBezTo>
                      <a:cubicBezTo>
                        <a:pt x="1"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8" name="Freeform 278"/>
                <p:cNvSpPr>
                  <a:spLocks/>
                </p:cNvSpPr>
                <p:nvPr>
                  <p:custDataLst>
                    <p:tags r:id="rId264"/>
                  </p:custDataLst>
                </p:nvPr>
              </p:nvSpPr>
              <p:spPr bwMode="gray">
                <a:xfrm>
                  <a:off x="8278548" y="3299070"/>
                  <a:ext cx="100129" cy="80199"/>
                </a:xfrm>
                <a:custGeom>
                  <a:avLst/>
                  <a:gdLst>
                    <a:gd name="T0" fmla="*/ 7 w 10"/>
                    <a:gd name="T1" fmla="*/ 6 h 7"/>
                    <a:gd name="T2" fmla="*/ 9 w 10"/>
                    <a:gd name="T3" fmla="*/ 7 h 7"/>
                    <a:gd name="T4" fmla="*/ 10 w 10"/>
                    <a:gd name="T5" fmla="*/ 5 h 7"/>
                    <a:gd name="T6" fmla="*/ 3 w 10"/>
                    <a:gd name="T7" fmla="*/ 0 h 7"/>
                    <a:gd name="T8" fmla="*/ 0 w 10"/>
                    <a:gd name="T9" fmla="*/ 1 h 7"/>
                    <a:gd name="T10" fmla="*/ 7 w 10"/>
                    <a:gd name="T11" fmla="*/ 6 h 7"/>
                    <a:gd name="T12" fmla="*/ 7 w 10"/>
                    <a:gd name="T13" fmla="*/ 6 h 7"/>
                    <a:gd name="T14" fmla="*/ 7 w 10"/>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6"/>
                      </a:moveTo>
                      <a:cubicBezTo>
                        <a:pt x="8" y="6"/>
                        <a:pt x="8" y="7"/>
                        <a:pt x="9" y="7"/>
                      </a:cubicBezTo>
                      <a:cubicBezTo>
                        <a:pt x="10" y="7"/>
                        <a:pt x="10" y="6"/>
                        <a:pt x="10" y="5"/>
                      </a:cubicBezTo>
                      <a:cubicBezTo>
                        <a:pt x="10" y="1"/>
                        <a:pt x="6" y="0"/>
                        <a:pt x="3" y="0"/>
                      </a:cubicBezTo>
                      <a:cubicBezTo>
                        <a:pt x="1" y="0"/>
                        <a:pt x="1" y="1"/>
                        <a:pt x="0" y="1"/>
                      </a:cubicBezTo>
                      <a:cubicBezTo>
                        <a:pt x="2" y="3"/>
                        <a:pt x="3" y="6"/>
                        <a:pt x="7" y="6"/>
                      </a:cubicBezTo>
                      <a:lnTo>
                        <a:pt x="7" y="6"/>
                      </a:lnTo>
                      <a:lnTo>
                        <a:pt x="7"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49" name="Freeform 279"/>
                <p:cNvSpPr>
                  <a:spLocks/>
                </p:cNvSpPr>
                <p:nvPr>
                  <p:custDataLst>
                    <p:tags r:id="rId265"/>
                  </p:custDataLst>
                </p:nvPr>
              </p:nvSpPr>
              <p:spPr bwMode="gray">
                <a:xfrm>
                  <a:off x="8217906" y="3311651"/>
                  <a:ext cx="100129" cy="78626"/>
                </a:xfrm>
                <a:custGeom>
                  <a:avLst/>
                  <a:gdLst>
                    <a:gd name="T0" fmla="*/ 5 w 10"/>
                    <a:gd name="T1" fmla="*/ 1 h 7"/>
                    <a:gd name="T2" fmla="*/ 6 w 10"/>
                    <a:gd name="T3" fmla="*/ 3 h 7"/>
                    <a:gd name="T4" fmla="*/ 10 w 10"/>
                    <a:gd name="T5" fmla="*/ 5 h 7"/>
                    <a:gd name="T6" fmla="*/ 8 w 10"/>
                    <a:gd name="T7" fmla="*/ 7 h 7"/>
                    <a:gd name="T8" fmla="*/ 6 w 10"/>
                    <a:gd name="T9" fmla="*/ 5 h 7"/>
                    <a:gd name="T10" fmla="*/ 4 w 10"/>
                    <a:gd name="T11" fmla="*/ 5 h 7"/>
                    <a:gd name="T12" fmla="*/ 0 w 10"/>
                    <a:gd name="T13" fmla="*/ 3 h 7"/>
                    <a:gd name="T14" fmla="*/ 1 w 10"/>
                    <a:gd name="T15" fmla="*/ 2 h 7"/>
                    <a:gd name="T16" fmla="*/ 0 w 10"/>
                    <a:gd name="T17" fmla="*/ 1 h 7"/>
                    <a:gd name="T18" fmla="*/ 5 w 10"/>
                    <a:gd name="T19" fmla="*/ 1 h 7"/>
                    <a:gd name="T20" fmla="*/ 5 w 10"/>
                    <a:gd name="T21" fmla="*/ 1 h 7"/>
                    <a:gd name="T22" fmla="*/ 5 w 10"/>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5" y="1"/>
                      </a:moveTo>
                      <a:cubicBezTo>
                        <a:pt x="6" y="2"/>
                        <a:pt x="5" y="2"/>
                        <a:pt x="6" y="3"/>
                      </a:cubicBezTo>
                      <a:cubicBezTo>
                        <a:pt x="7" y="4"/>
                        <a:pt x="10" y="3"/>
                        <a:pt x="10" y="5"/>
                      </a:cubicBezTo>
                      <a:cubicBezTo>
                        <a:pt x="10" y="6"/>
                        <a:pt x="9" y="7"/>
                        <a:pt x="8" y="7"/>
                      </a:cubicBezTo>
                      <a:cubicBezTo>
                        <a:pt x="6" y="7"/>
                        <a:pt x="6" y="6"/>
                        <a:pt x="6" y="5"/>
                      </a:cubicBezTo>
                      <a:cubicBezTo>
                        <a:pt x="5" y="5"/>
                        <a:pt x="4" y="5"/>
                        <a:pt x="4" y="5"/>
                      </a:cubicBezTo>
                      <a:cubicBezTo>
                        <a:pt x="3" y="5"/>
                        <a:pt x="1" y="3"/>
                        <a:pt x="0" y="3"/>
                      </a:cubicBezTo>
                      <a:cubicBezTo>
                        <a:pt x="0" y="2"/>
                        <a:pt x="1" y="2"/>
                        <a:pt x="1" y="2"/>
                      </a:cubicBezTo>
                      <a:cubicBezTo>
                        <a:pt x="1" y="1"/>
                        <a:pt x="0" y="2"/>
                        <a:pt x="0" y="1"/>
                      </a:cubicBezTo>
                      <a:cubicBezTo>
                        <a:pt x="0" y="0"/>
                        <a:pt x="5" y="1"/>
                        <a:pt x="5" y="1"/>
                      </a:cubicBezTo>
                      <a:lnTo>
                        <a:pt x="5" y="1"/>
                      </a:lnTo>
                      <a:lnTo>
                        <a:pt x="5"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0" name="Freeform 280"/>
                <p:cNvSpPr>
                  <a:spLocks/>
                </p:cNvSpPr>
                <p:nvPr>
                  <p:custDataLst>
                    <p:tags r:id="rId266"/>
                  </p:custDataLst>
                </p:nvPr>
              </p:nvSpPr>
              <p:spPr bwMode="gray">
                <a:xfrm>
                  <a:off x="8237650" y="3368261"/>
                  <a:ext cx="40897" cy="33023"/>
                </a:xfrm>
                <a:custGeom>
                  <a:avLst/>
                  <a:gdLst>
                    <a:gd name="T0" fmla="*/ 4 w 4"/>
                    <a:gd name="T1" fmla="*/ 2 h 3"/>
                    <a:gd name="T2" fmla="*/ 3 w 4"/>
                    <a:gd name="T3" fmla="*/ 3 h 3"/>
                    <a:gd name="T4" fmla="*/ 0 w 4"/>
                    <a:gd name="T5" fmla="*/ 2 h 3"/>
                    <a:gd name="T6" fmla="*/ 4 w 4"/>
                    <a:gd name="T7" fmla="*/ 2 h 3"/>
                    <a:gd name="T8" fmla="*/ 4 w 4"/>
                    <a:gd name="T9" fmla="*/ 2 h 3"/>
                    <a:gd name="T10" fmla="*/ 4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4" y="2"/>
                      </a:moveTo>
                      <a:cubicBezTo>
                        <a:pt x="4" y="2"/>
                        <a:pt x="3" y="3"/>
                        <a:pt x="3" y="3"/>
                      </a:cubicBezTo>
                      <a:cubicBezTo>
                        <a:pt x="1" y="3"/>
                        <a:pt x="1" y="2"/>
                        <a:pt x="0" y="2"/>
                      </a:cubicBezTo>
                      <a:cubicBezTo>
                        <a:pt x="2" y="2"/>
                        <a:pt x="4" y="0"/>
                        <a:pt x="4" y="2"/>
                      </a:cubicBezTo>
                      <a:lnTo>
                        <a:pt x="4" y="2"/>
                      </a:lnTo>
                      <a:lnTo>
                        <a:pt x="4"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1" name="Freeform 281"/>
                <p:cNvSpPr>
                  <a:spLocks/>
                </p:cNvSpPr>
                <p:nvPr>
                  <p:custDataLst>
                    <p:tags r:id="rId267"/>
                  </p:custDataLst>
                </p:nvPr>
              </p:nvSpPr>
              <p:spPr bwMode="gray">
                <a:xfrm>
                  <a:off x="8258804" y="3412292"/>
                  <a:ext cx="9872" cy="11009"/>
                </a:xfrm>
                <a:custGeom>
                  <a:avLst/>
                  <a:gdLst>
                    <a:gd name="T0" fmla="*/ 0 w 1"/>
                    <a:gd name="T1" fmla="*/ 1 h 1"/>
                    <a:gd name="T2" fmla="*/ 0 w 1"/>
                    <a:gd name="T3" fmla="*/ 1 h 1"/>
                    <a:gd name="T4" fmla="*/ 1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1" y="1"/>
                      </a:ln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2" name="Freeform 282"/>
                <p:cNvSpPr>
                  <a:spLocks/>
                </p:cNvSpPr>
                <p:nvPr>
                  <p:custDataLst>
                    <p:tags r:id="rId268"/>
                  </p:custDataLst>
                </p:nvPr>
              </p:nvSpPr>
              <p:spPr bwMode="gray">
                <a:xfrm>
                  <a:off x="8237650" y="3446886"/>
                  <a:ext cx="80384" cy="31450"/>
                </a:xfrm>
                <a:custGeom>
                  <a:avLst/>
                  <a:gdLst>
                    <a:gd name="T0" fmla="*/ 0 w 8"/>
                    <a:gd name="T1" fmla="*/ 3 h 3"/>
                    <a:gd name="T2" fmla="*/ 3 w 8"/>
                    <a:gd name="T3" fmla="*/ 1 h 3"/>
                    <a:gd name="T4" fmla="*/ 5 w 8"/>
                    <a:gd name="T5" fmla="*/ 1 h 3"/>
                    <a:gd name="T6" fmla="*/ 5 w 8"/>
                    <a:gd name="T7" fmla="*/ 1 h 3"/>
                    <a:gd name="T8" fmla="*/ 6 w 8"/>
                    <a:gd name="T9" fmla="*/ 1 h 3"/>
                    <a:gd name="T10" fmla="*/ 6 w 8"/>
                    <a:gd name="T11" fmla="*/ 1 h 3"/>
                    <a:gd name="T12" fmla="*/ 8 w 8"/>
                    <a:gd name="T13" fmla="*/ 0 h 3"/>
                    <a:gd name="T14" fmla="*/ 8 w 8"/>
                    <a:gd name="T15" fmla="*/ 0 h 3"/>
                    <a:gd name="T16" fmla="*/ 0 w 8"/>
                    <a:gd name="T17" fmla="*/ 3 h 3"/>
                    <a:gd name="T18" fmla="*/ 0 w 8"/>
                    <a:gd name="T19" fmla="*/ 3 h 3"/>
                    <a:gd name="T20" fmla="*/ 0 w 8"/>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0" y="3"/>
                      </a:moveTo>
                      <a:cubicBezTo>
                        <a:pt x="0" y="1"/>
                        <a:pt x="2" y="1"/>
                        <a:pt x="3" y="1"/>
                      </a:cubicBezTo>
                      <a:cubicBezTo>
                        <a:pt x="4" y="1"/>
                        <a:pt x="4" y="1"/>
                        <a:pt x="5" y="1"/>
                      </a:cubicBezTo>
                      <a:lnTo>
                        <a:pt x="5" y="1"/>
                      </a:lnTo>
                      <a:lnTo>
                        <a:pt x="6" y="1"/>
                      </a:lnTo>
                      <a:lnTo>
                        <a:pt x="6" y="1"/>
                      </a:lnTo>
                      <a:cubicBezTo>
                        <a:pt x="6" y="0"/>
                        <a:pt x="7" y="0"/>
                        <a:pt x="8" y="0"/>
                      </a:cubicBezTo>
                      <a:cubicBezTo>
                        <a:pt x="8" y="0"/>
                        <a:pt x="8" y="0"/>
                        <a:pt x="8" y="0"/>
                      </a:cubicBezTo>
                      <a:cubicBezTo>
                        <a:pt x="8" y="3"/>
                        <a:pt x="2"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3" name="Freeform 283"/>
                <p:cNvSpPr>
                  <a:spLocks/>
                </p:cNvSpPr>
                <p:nvPr>
                  <p:custDataLst>
                    <p:tags r:id="rId269"/>
                  </p:custDataLst>
                </p:nvPr>
              </p:nvSpPr>
              <p:spPr bwMode="gray">
                <a:xfrm>
                  <a:off x="8278547" y="3467330"/>
                  <a:ext cx="69104" cy="80197"/>
                </a:xfrm>
                <a:custGeom>
                  <a:avLst/>
                  <a:gdLst>
                    <a:gd name="T0" fmla="*/ 0 w 7"/>
                    <a:gd name="T1" fmla="*/ 1 h 7"/>
                    <a:gd name="T2" fmla="*/ 0 w 7"/>
                    <a:gd name="T3" fmla="*/ 3 h 7"/>
                    <a:gd name="T4" fmla="*/ 3 w 7"/>
                    <a:gd name="T5" fmla="*/ 7 h 7"/>
                    <a:gd name="T6" fmla="*/ 6 w 7"/>
                    <a:gd name="T7" fmla="*/ 5 h 7"/>
                    <a:gd name="T8" fmla="*/ 6 w 7"/>
                    <a:gd name="T9" fmla="*/ 5 h 7"/>
                    <a:gd name="T10" fmla="*/ 7 w 7"/>
                    <a:gd name="T11" fmla="*/ 2 h 7"/>
                    <a:gd name="T12" fmla="*/ 7 w 7"/>
                    <a:gd name="T13" fmla="*/ 2 h 7"/>
                    <a:gd name="T14" fmla="*/ 7 w 7"/>
                    <a:gd name="T15" fmla="*/ 2 h 7"/>
                    <a:gd name="T16" fmla="*/ 3 w 7"/>
                    <a:gd name="T17" fmla="*/ 0 h 7"/>
                    <a:gd name="T18" fmla="*/ 0 w 7"/>
                    <a:gd name="T19" fmla="*/ 1 h 7"/>
                    <a:gd name="T20" fmla="*/ 0 w 7"/>
                    <a:gd name="T21" fmla="*/ 1 h 7"/>
                    <a:gd name="T22" fmla="*/ 0 w 7"/>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1"/>
                      </a:moveTo>
                      <a:cubicBezTo>
                        <a:pt x="0" y="2"/>
                        <a:pt x="0" y="2"/>
                        <a:pt x="0" y="3"/>
                      </a:cubicBezTo>
                      <a:cubicBezTo>
                        <a:pt x="0" y="5"/>
                        <a:pt x="1" y="7"/>
                        <a:pt x="3" y="7"/>
                      </a:cubicBezTo>
                      <a:cubicBezTo>
                        <a:pt x="5" y="7"/>
                        <a:pt x="6" y="7"/>
                        <a:pt x="6" y="5"/>
                      </a:cubicBezTo>
                      <a:lnTo>
                        <a:pt x="6" y="5"/>
                      </a:lnTo>
                      <a:lnTo>
                        <a:pt x="7" y="2"/>
                      </a:lnTo>
                      <a:lnTo>
                        <a:pt x="7" y="2"/>
                      </a:lnTo>
                      <a:lnTo>
                        <a:pt x="7" y="2"/>
                      </a:lnTo>
                      <a:cubicBezTo>
                        <a:pt x="5" y="2"/>
                        <a:pt x="5" y="0"/>
                        <a:pt x="3" y="0"/>
                      </a:cubicBezTo>
                      <a:cubicBezTo>
                        <a:pt x="2" y="0"/>
                        <a:pt x="1"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4" name="Freeform 284"/>
                <p:cNvSpPr>
                  <a:spLocks/>
                </p:cNvSpPr>
                <p:nvPr>
                  <p:custDataLst>
                    <p:tags r:id="rId270"/>
                  </p:custDataLst>
                </p:nvPr>
              </p:nvSpPr>
              <p:spPr bwMode="gray">
                <a:xfrm>
                  <a:off x="8388550" y="4050732"/>
                  <a:ext cx="9872" cy="22015"/>
                </a:xfrm>
                <a:custGeom>
                  <a:avLst/>
                  <a:gdLst>
                    <a:gd name="T0" fmla="*/ 1 w 1"/>
                    <a:gd name="T1" fmla="*/ 2 h 2"/>
                    <a:gd name="T2" fmla="*/ 1 w 1"/>
                    <a:gd name="T3" fmla="*/ 0 h 2"/>
                    <a:gd name="T4" fmla="*/ 0 w 1"/>
                    <a:gd name="T5" fmla="*/ 0 h 2"/>
                    <a:gd name="T6" fmla="*/ 1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1"/>
                        <a:pt x="1" y="1"/>
                        <a:pt x="1" y="0"/>
                      </a:cubicBezTo>
                      <a:cubicBezTo>
                        <a:pt x="1" y="0"/>
                        <a:pt x="1" y="0"/>
                        <a:pt x="0"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5" name="Freeform 285"/>
                <p:cNvSpPr>
                  <a:spLocks/>
                </p:cNvSpPr>
                <p:nvPr>
                  <p:custDataLst>
                    <p:tags r:id="rId271"/>
                  </p:custDataLst>
                </p:nvPr>
              </p:nvSpPr>
              <p:spPr bwMode="gray">
                <a:xfrm>
                  <a:off x="8419575" y="3794412"/>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0"/>
                        <a:pt x="1" y="0"/>
                      </a:cubicBezTo>
                      <a:cubicBezTo>
                        <a:pt x="1" y="0"/>
                        <a:pt x="1" y="1"/>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6" name="Freeform 286"/>
                <p:cNvSpPr>
                  <a:spLocks/>
                </p:cNvSpPr>
                <p:nvPr>
                  <p:custDataLst>
                    <p:tags r:id="rId272"/>
                  </p:custDataLst>
                </p:nvPr>
              </p:nvSpPr>
              <p:spPr bwMode="gray">
                <a:xfrm>
                  <a:off x="7543796" y="3871464"/>
                  <a:ext cx="191797" cy="157251"/>
                </a:xfrm>
                <a:custGeom>
                  <a:avLst/>
                  <a:gdLst>
                    <a:gd name="T0" fmla="*/ 2 w 19"/>
                    <a:gd name="T1" fmla="*/ 9 h 14"/>
                    <a:gd name="T2" fmla="*/ 0 w 19"/>
                    <a:gd name="T3" fmla="*/ 3 h 14"/>
                    <a:gd name="T4" fmla="*/ 1 w 19"/>
                    <a:gd name="T5" fmla="*/ 1 h 14"/>
                    <a:gd name="T6" fmla="*/ 2 w 19"/>
                    <a:gd name="T7" fmla="*/ 3 h 14"/>
                    <a:gd name="T8" fmla="*/ 5 w 19"/>
                    <a:gd name="T9" fmla="*/ 2 h 14"/>
                    <a:gd name="T10" fmla="*/ 5 w 19"/>
                    <a:gd name="T11" fmla="*/ 2 h 14"/>
                    <a:gd name="T12" fmla="*/ 8 w 19"/>
                    <a:gd name="T13" fmla="*/ 2 h 14"/>
                    <a:gd name="T14" fmla="*/ 8 w 19"/>
                    <a:gd name="T15" fmla="*/ 2 h 14"/>
                    <a:gd name="T16" fmla="*/ 10 w 19"/>
                    <a:gd name="T17" fmla="*/ 0 h 14"/>
                    <a:gd name="T18" fmla="*/ 17 w 19"/>
                    <a:gd name="T19" fmla="*/ 4 h 14"/>
                    <a:gd name="T20" fmla="*/ 16 w 19"/>
                    <a:gd name="T21" fmla="*/ 5 h 14"/>
                    <a:gd name="T22" fmla="*/ 19 w 19"/>
                    <a:gd name="T23" fmla="*/ 7 h 14"/>
                    <a:gd name="T24" fmla="*/ 19 w 19"/>
                    <a:gd name="T25" fmla="*/ 9 h 14"/>
                    <a:gd name="T26" fmla="*/ 10 w 19"/>
                    <a:gd name="T27" fmla="*/ 14 h 14"/>
                    <a:gd name="T28" fmla="*/ 8 w 19"/>
                    <a:gd name="T29" fmla="*/ 13 h 14"/>
                    <a:gd name="T30" fmla="*/ 2 w 19"/>
                    <a:gd name="T31" fmla="*/ 9 h 14"/>
                    <a:gd name="T32" fmla="*/ 2 w 19"/>
                    <a:gd name="T33" fmla="*/ 9 h 14"/>
                    <a:gd name="T34" fmla="*/ 2 w 19"/>
                    <a:gd name="T3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4">
                      <a:moveTo>
                        <a:pt x="2" y="9"/>
                      </a:moveTo>
                      <a:cubicBezTo>
                        <a:pt x="1" y="7"/>
                        <a:pt x="0" y="6"/>
                        <a:pt x="0" y="3"/>
                      </a:cubicBezTo>
                      <a:cubicBezTo>
                        <a:pt x="0" y="2"/>
                        <a:pt x="0" y="1"/>
                        <a:pt x="1" y="1"/>
                      </a:cubicBezTo>
                      <a:cubicBezTo>
                        <a:pt x="2" y="1"/>
                        <a:pt x="2" y="3"/>
                        <a:pt x="2" y="3"/>
                      </a:cubicBezTo>
                      <a:cubicBezTo>
                        <a:pt x="3" y="3"/>
                        <a:pt x="4" y="2"/>
                        <a:pt x="5" y="2"/>
                      </a:cubicBezTo>
                      <a:lnTo>
                        <a:pt x="5" y="2"/>
                      </a:lnTo>
                      <a:lnTo>
                        <a:pt x="8" y="2"/>
                      </a:lnTo>
                      <a:lnTo>
                        <a:pt x="8" y="2"/>
                      </a:lnTo>
                      <a:cubicBezTo>
                        <a:pt x="9" y="1"/>
                        <a:pt x="9" y="0"/>
                        <a:pt x="10" y="0"/>
                      </a:cubicBezTo>
                      <a:cubicBezTo>
                        <a:pt x="13" y="0"/>
                        <a:pt x="15" y="3"/>
                        <a:pt x="17" y="4"/>
                      </a:cubicBezTo>
                      <a:cubicBezTo>
                        <a:pt x="16" y="4"/>
                        <a:pt x="16" y="5"/>
                        <a:pt x="16" y="5"/>
                      </a:cubicBezTo>
                      <a:cubicBezTo>
                        <a:pt x="16" y="5"/>
                        <a:pt x="18" y="7"/>
                        <a:pt x="19" y="7"/>
                      </a:cubicBezTo>
                      <a:cubicBezTo>
                        <a:pt x="19" y="8"/>
                        <a:pt x="18" y="9"/>
                        <a:pt x="19" y="9"/>
                      </a:cubicBezTo>
                      <a:cubicBezTo>
                        <a:pt x="16" y="11"/>
                        <a:pt x="14" y="14"/>
                        <a:pt x="10" y="14"/>
                      </a:cubicBezTo>
                      <a:cubicBezTo>
                        <a:pt x="9" y="14"/>
                        <a:pt x="8" y="13"/>
                        <a:pt x="8" y="13"/>
                      </a:cubicBezTo>
                      <a:cubicBezTo>
                        <a:pt x="6" y="11"/>
                        <a:pt x="3" y="11"/>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7" name="Freeform 287"/>
                <p:cNvSpPr>
                  <a:spLocks/>
                </p:cNvSpPr>
                <p:nvPr>
                  <p:custDataLst>
                    <p:tags r:id="rId273"/>
                  </p:custDataLst>
                </p:nvPr>
              </p:nvSpPr>
              <p:spPr bwMode="gray">
                <a:xfrm>
                  <a:off x="7745465" y="3512932"/>
                  <a:ext cx="59231" cy="34595"/>
                </a:xfrm>
                <a:custGeom>
                  <a:avLst/>
                  <a:gdLst>
                    <a:gd name="T0" fmla="*/ 0 w 6"/>
                    <a:gd name="T1" fmla="*/ 0 h 3"/>
                    <a:gd name="T2" fmla="*/ 6 w 6"/>
                    <a:gd name="T3" fmla="*/ 3 h 3"/>
                    <a:gd name="T4" fmla="*/ 6 w 6"/>
                    <a:gd name="T5" fmla="*/ 2 h 3"/>
                    <a:gd name="T6" fmla="*/ 0 w 6"/>
                    <a:gd name="T7" fmla="*/ 0 h 3"/>
                    <a:gd name="T8" fmla="*/ 0 w 6"/>
                    <a:gd name="T9" fmla="*/ 0 h 3"/>
                    <a:gd name="T10" fmla="*/ 0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0" y="0"/>
                      </a:moveTo>
                      <a:cubicBezTo>
                        <a:pt x="1" y="1"/>
                        <a:pt x="4" y="3"/>
                        <a:pt x="6" y="3"/>
                      </a:cubicBezTo>
                      <a:cubicBezTo>
                        <a:pt x="6" y="3"/>
                        <a:pt x="6" y="3"/>
                        <a:pt x="6" y="2"/>
                      </a:cubicBezTo>
                      <a:cubicBezTo>
                        <a:pt x="6" y="1"/>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8" name="Freeform 288"/>
                <p:cNvSpPr>
                  <a:spLocks/>
                </p:cNvSpPr>
                <p:nvPr>
                  <p:custDataLst>
                    <p:tags r:id="rId274"/>
                  </p:custDataLst>
                </p:nvPr>
              </p:nvSpPr>
              <p:spPr bwMode="gray">
                <a:xfrm>
                  <a:off x="7735594" y="3547527"/>
                  <a:ext cx="19744" cy="33023"/>
                </a:xfrm>
                <a:custGeom>
                  <a:avLst/>
                  <a:gdLst>
                    <a:gd name="T0" fmla="*/ 1 w 2"/>
                    <a:gd name="T1" fmla="*/ 1 h 3"/>
                    <a:gd name="T2" fmla="*/ 0 w 2"/>
                    <a:gd name="T3" fmla="*/ 3 h 3"/>
                    <a:gd name="T4" fmla="*/ 1 w 2"/>
                    <a:gd name="T5" fmla="*/ 3 h 3"/>
                    <a:gd name="T6" fmla="*/ 2 w 2"/>
                    <a:gd name="T7" fmla="*/ 2 h 3"/>
                    <a:gd name="T8" fmla="*/ 2 w 2"/>
                    <a:gd name="T9" fmla="*/ 2 h 3"/>
                    <a:gd name="T10" fmla="*/ 2 w 2"/>
                    <a:gd name="T11" fmla="*/ 0 h 3"/>
                    <a:gd name="T12" fmla="*/ 1 w 2"/>
                    <a:gd name="T13" fmla="*/ 1 h 3"/>
                    <a:gd name="T14" fmla="*/ 1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1" y="1"/>
                      </a:moveTo>
                      <a:cubicBezTo>
                        <a:pt x="1" y="1"/>
                        <a:pt x="0" y="2"/>
                        <a:pt x="0" y="3"/>
                      </a:cubicBezTo>
                      <a:cubicBezTo>
                        <a:pt x="1" y="3"/>
                        <a:pt x="1" y="3"/>
                        <a:pt x="1" y="3"/>
                      </a:cubicBezTo>
                      <a:cubicBezTo>
                        <a:pt x="2" y="3"/>
                        <a:pt x="2" y="2"/>
                        <a:pt x="2" y="2"/>
                      </a:cubicBezTo>
                      <a:lnTo>
                        <a:pt x="2" y="2"/>
                      </a:lnTo>
                      <a:lnTo>
                        <a:pt x="2" y="0"/>
                      </a:ln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59" name="Freeform 289"/>
                <p:cNvSpPr>
                  <a:spLocks/>
                </p:cNvSpPr>
                <p:nvPr>
                  <p:custDataLst>
                    <p:tags r:id="rId275"/>
                  </p:custDataLst>
                </p:nvPr>
              </p:nvSpPr>
              <p:spPr bwMode="gray">
                <a:xfrm>
                  <a:off x="7755338" y="3558535"/>
                  <a:ext cx="119873" cy="78626"/>
                </a:xfrm>
                <a:custGeom>
                  <a:avLst/>
                  <a:gdLst>
                    <a:gd name="T0" fmla="*/ 1 w 12"/>
                    <a:gd name="T1" fmla="*/ 2 h 7"/>
                    <a:gd name="T2" fmla="*/ 4 w 12"/>
                    <a:gd name="T3" fmla="*/ 0 h 7"/>
                    <a:gd name="T4" fmla="*/ 7 w 12"/>
                    <a:gd name="T5" fmla="*/ 1 h 7"/>
                    <a:gd name="T6" fmla="*/ 12 w 12"/>
                    <a:gd name="T7" fmla="*/ 5 h 7"/>
                    <a:gd name="T8" fmla="*/ 11 w 12"/>
                    <a:gd name="T9" fmla="*/ 6 h 7"/>
                    <a:gd name="T10" fmla="*/ 11 w 12"/>
                    <a:gd name="T11" fmla="*/ 6 h 7"/>
                    <a:gd name="T12" fmla="*/ 6 w 12"/>
                    <a:gd name="T13" fmla="*/ 6 h 7"/>
                    <a:gd name="T14" fmla="*/ 6 w 12"/>
                    <a:gd name="T15" fmla="*/ 6 h 7"/>
                    <a:gd name="T16" fmla="*/ 2 w 12"/>
                    <a:gd name="T17" fmla="*/ 7 h 7"/>
                    <a:gd name="T18" fmla="*/ 0 w 12"/>
                    <a:gd name="T19" fmla="*/ 5 h 7"/>
                    <a:gd name="T20" fmla="*/ 0 w 12"/>
                    <a:gd name="T21" fmla="*/ 3 h 7"/>
                    <a:gd name="T22" fmla="*/ 0 w 12"/>
                    <a:gd name="T23" fmla="*/ 2 h 7"/>
                    <a:gd name="T24" fmla="*/ 1 w 12"/>
                    <a:gd name="T25" fmla="*/ 2 h 7"/>
                    <a:gd name="T26" fmla="*/ 1 w 12"/>
                    <a:gd name="T27" fmla="*/ 2 h 7"/>
                    <a:gd name="T28" fmla="*/ 1 w 12"/>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7">
                      <a:moveTo>
                        <a:pt x="1" y="2"/>
                      </a:moveTo>
                      <a:cubicBezTo>
                        <a:pt x="2" y="2"/>
                        <a:pt x="3" y="0"/>
                        <a:pt x="4" y="0"/>
                      </a:cubicBezTo>
                      <a:cubicBezTo>
                        <a:pt x="6" y="0"/>
                        <a:pt x="6" y="1"/>
                        <a:pt x="7" y="1"/>
                      </a:cubicBezTo>
                      <a:cubicBezTo>
                        <a:pt x="9" y="2"/>
                        <a:pt x="12" y="3"/>
                        <a:pt x="12" y="5"/>
                      </a:cubicBezTo>
                      <a:cubicBezTo>
                        <a:pt x="12" y="6"/>
                        <a:pt x="11" y="6"/>
                        <a:pt x="11" y="6"/>
                      </a:cubicBezTo>
                      <a:lnTo>
                        <a:pt x="11" y="6"/>
                      </a:lnTo>
                      <a:lnTo>
                        <a:pt x="6" y="6"/>
                      </a:lnTo>
                      <a:lnTo>
                        <a:pt x="6" y="6"/>
                      </a:lnTo>
                      <a:cubicBezTo>
                        <a:pt x="4" y="6"/>
                        <a:pt x="4" y="7"/>
                        <a:pt x="2" y="7"/>
                      </a:cubicBezTo>
                      <a:cubicBezTo>
                        <a:pt x="1" y="7"/>
                        <a:pt x="0" y="6"/>
                        <a:pt x="0" y="5"/>
                      </a:cubicBezTo>
                      <a:cubicBezTo>
                        <a:pt x="0" y="4"/>
                        <a:pt x="0" y="4"/>
                        <a:pt x="0" y="3"/>
                      </a:cubicBezTo>
                      <a:cubicBezTo>
                        <a:pt x="0" y="3"/>
                        <a:pt x="0" y="2"/>
                        <a:pt x="0" y="2"/>
                      </a:cubicBezTo>
                      <a:cubicBezTo>
                        <a:pt x="0" y="2"/>
                        <a:pt x="0"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0" name="Freeform 290"/>
                <p:cNvSpPr>
                  <a:spLocks/>
                </p:cNvSpPr>
                <p:nvPr>
                  <p:custDataLst>
                    <p:tags r:id="rId276"/>
                  </p:custDataLst>
                </p:nvPr>
              </p:nvSpPr>
              <p:spPr bwMode="gray">
                <a:xfrm>
                  <a:off x="7714439" y="4016136"/>
                  <a:ext cx="21155"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1"/>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1" name="Freeform 291"/>
                <p:cNvSpPr>
                  <a:spLocks/>
                </p:cNvSpPr>
                <p:nvPr>
                  <p:custDataLst>
                    <p:tags r:id="rId277"/>
                  </p:custDataLst>
                </p:nvPr>
              </p:nvSpPr>
              <p:spPr bwMode="gray">
                <a:xfrm>
                  <a:off x="7776491" y="3917069"/>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2" name="Freeform 292"/>
                <p:cNvSpPr>
                  <a:spLocks/>
                </p:cNvSpPr>
                <p:nvPr>
                  <p:custDataLst>
                    <p:tags r:id="rId278"/>
                  </p:custDataLst>
                </p:nvPr>
              </p:nvSpPr>
              <p:spPr bwMode="gray">
                <a:xfrm>
                  <a:off x="7804697" y="3893481"/>
                  <a:ext cx="21155" cy="23588"/>
                </a:xfrm>
                <a:custGeom>
                  <a:avLst/>
                  <a:gdLst>
                    <a:gd name="T0" fmla="*/ 0 w 2"/>
                    <a:gd name="T1" fmla="*/ 2 h 2"/>
                    <a:gd name="T2" fmla="*/ 2 w 2"/>
                    <a:gd name="T3" fmla="*/ 1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1" y="2"/>
                        <a:pt x="1" y="1"/>
                        <a:pt x="2" y="1"/>
                      </a:cubicBezTo>
                      <a:cubicBezTo>
                        <a:pt x="1" y="1"/>
                        <a:pt x="1" y="1"/>
                        <a:pt x="2" y="0"/>
                      </a:cubicBezTo>
                      <a:lnTo>
                        <a:pt x="2" y="0"/>
                      </a:lnTo>
                      <a:lnTo>
                        <a:pt x="0" y="0"/>
                      </a:lnTo>
                      <a:lnTo>
                        <a:pt x="0" y="0"/>
                      </a:lnTo>
                      <a:cubicBezTo>
                        <a:pt x="0" y="1"/>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3" name="Freeform 293"/>
                <p:cNvSpPr>
                  <a:spLocks/>
                </p:cNvSpPr>
                <p:nvPr>
                  <p:custDataLst>
                    <p:tags r:id="rId279"/>
                  </p:custDataLst>
                </p:nvPr>
              </p:nvSpPr>
              <p:spPr bwMode="gray">
                <a:xfrm>
                  <a:off x="7825851" y="3827435"/>
                  <a:ext cx="483722" cy="201281"/>
                </a:xfrm>
                <a:custGeom>
                  <a:avLst/>
                  <a:gdLst>
                    <a:gd name="T0" fmla="*/ 2 w 48"/>
                    <a:gd name="T1" fmla="*/ 13 h 18"/>
                    <a:gd name="T2" fmla="*/ 2 w 48"/>
                    <a:gd name="T3" fmla="*/ 12 h 18"/>
                    <a:gd name="T4" fmla="*/ 4 w 48"/>
                    <a:gd name="T5" fmla="*/ 8 h 18"/>
                    <a:gd name="T6" fmla="*/ 5 w 48"/>
                    <a:gd name="T7" fmla="*/ 5 h 18"/>
                    <a:gd name="T8" fmla="*/ 8 w 48"/>
                    <a:gd name="T9" fmla="*/ 9 h 18"/>
                    <a:gd name="T10" fmla="*/ 12 w 48"/>
                    <a:gd name="T11" fmla="*/ 11 h 18"/>
                    <a:gd name="T12" fmla="*/ 17 w 48"/>
                    <a:gd name="T13" fmla="*/ 7 h 18"/>
                    <a:gd name="T14" fmla="*/ 26 w 48"/>
                    <a:gd name="T15" fmla="*/ 11 h 18"/>
                    <a:gd name="T16" fmla="*/ 26 w 48"/>
                    <a:gd name="T17" fmla="*/ 11 h 18"/>
                    <a:gd name="T18" fmla="*/ 27 w 48"/>
                    <a:gd name="T19" fmla="*/ 11 h 18"/>
                    <a:gd name="T20" fmla="*/ 27 w 48"/>
                    <a:gd name="T21" fmla="*/ 11 h 18"/>
                    <a:gd name="T22" fmla="*/ 27 w 48"/>
                    <a:gd name="T23" fmla="*/ 9 h 18"/>
                    <a:gd name="T24" fmla="*/ 29 w 48"/>
                    <a:gd name="T25" fmla="*/ 8 h 18"/>
                    <a:gd name="T26" fmla="*/ 36 w 48"/>
                    <a:gd name="T27" fmla="*/ 12 h 18"/>
                    <a:gd name="T28" fmla="*/ 37 w 48"/>
                    <a:gd name="T29" fmla="*/ 13 h 18"/>
                    <a:gd name="T30" fmla="*/ 42 w 48"/>
                    <a:gd name="T31" fmla="*/ 15 h 18"/>
                    <a:gd name="T32" fmla="*/ 47 w 48"/>
                    <a:gd name="T33" fmla="*/ 18 h 18"/>
                    <a:gd name="T34" fmla="*/ 48 w 48"/>
                    <a:gd name="T35" fmla="*/ 16 h 18"/>
                    <a:gd name="T36" fmla="*/ 47 w 48"/>
                    <a:gd name="T37" fmla="*/ 10 h 18"/>
                    <a:gd name="T38" fmla="*/ 43 w 48"/>
                    <a:gd name="T39" fmla="*/ 6 h 18"/>
                    <a:gd name="T40" fmla="*/ 38 w 48"/>
                    <a:gd name="T41" fmla="*/ 4 h 18"/>
                    <a:gd name="T42" fmla="*/ 26 w 48"/>
                    <a:gd name="T43" fmla="*/ 0 h 18"/>
                    <a:gd name="T44" fmla="*/ 20 w 48"/>
                    <a:gd name="T45" fmla="*/ 3 h 18"/>
                    <a:gd name="T46" fmla="*/ 20 w 48"/>
                    <a:gd name="T47" fmla="*/ 1 h 18"/>
                    <a:gd name="T48" fmla="*/ 20 w 48"/>
                    <a:gd name="T49" fmla="*/ 1 h 18"/>
                    <a:gd name="T50" fmla="*/ 5 w 48"/>
                    <a:gd name="T51" fmla="*/ 1 h 18"/>
                    <a:gd name="T52" fmla="*/ 5 w 48"/>
                    <a:gd name="T53" fmla="*/ 1 h 18"/>
                    <a:gd name="T54" fmla="*/ 4 w 48"/>
                    <a:gd name="T55" fmla="*/ 4 h 18"/>
                    <a:gd name="T56" fmla="*/ 4 w 48"/>
                    <a:gd name="T57" fmla="*/ 4 h 18"/>
                    <a:gd name="T58" fmla="*/ 0 w 48"/>
                    <a:gd name="T59" fmla="*/ 7 h 18"/>
                    <a:gd name="T60" fmla="*/ 1 w 48"/>
                    <a:gd name="T61" fmla="*/ 8 h 18"/>
                    <a:gd name="T62" fmla="*/ 2 w 48"/>
                    <a:gd name="T63" fmla="*/ 9 h 18"/>
                    <a:gd name="T64" fmla="*/ 2 w 48"/>
                    <a:gd name="T65" fmla="*/ 11 h 18"/>
                    <a:gd name="T66" fmla="*/ 2 w 48"/>
                    <a:gd name="T67" fmla="*/ 11 h 18"/>
                    <a:gd name="T68" fmla="*/ 2 w 48"/>
                    <a:gd name="T69" fmla="*/ 13 h 18"/>
                    <a:gd name="T70" fmla="*/ 2 w 48"/>
                    <a:gd name="T7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8">
                      <a:moveTo>
                        <a:pt x="2" y="13"/>
                      </a:moveTo>
                      <a:cubicBezTo>
                        <a:pt x="2" y="12"/>
                        <a:pt x="2" y="12"/>
                        <a:pt x="2" y="12"/>
                      </a:cubicBezTo>
                      <a:cubicBezTo>
                        <a:pt x="2" y="11"/>
                        <a:pt x="4" y="8"/>
                        <a:pt x="4" y="8"/>
                      </a:cubicBezTo>
                      <a:cubicBezTo>
                        <a:pt x="4" y="7"/>
                        <a:pt x="4" y="5"/>
                        <a:pt x="5" y="5"/>
                      </a:cubicBezTo>
                      <a:cubicBezTo>
                        <a:pt x="6" y="5"/>
                        <a:pt x="7" y="9"/>
                        <a:pt x="8" y="9"/>
                      </a:cubicBezTo>
                      <a:cubicBezTo>
                        <a:pt x="9" y="11"/>
                        <a:pt x="11" y="11"/>
                        <a:pt x="12" y="11"/>
                      </a:cubicBezTo>
                      <a:cubicBezTo>
                        <a:pt x="15" y="11"/>
                        <a:pt x="15" y="7"/>
                        <a:pt x="17" y="7"/>
                      </a:cubicBezTo>
                      <a:cubicBezTo>
                        <a:pt x="19" y="10"/>
                        <a:pt x="23" y="10"/>
                        <a:pt x="26" y="11"/>
                      </a:cubicBezTo>
                      <a:lnTo>
                        <a:pt x="26" y="11"/>
                      </a:lnTo>
                      <a:lnTo>
                        <a:pt x="27" y="11"/>
                      </a:lnTo>
                      <a:lnTo>
                        <a:pt x="27" y="11"/>
                      </a:lnTo>
                      <a:cubicBezTo>
                        <a:pt x="27" y="10"/>
                        <a:pt x="27" y="10"/>
                        <a:pt x="27" y="9"/>
                      </a:cubicBezTo>
                      <a:cubicBezTo>
                        <a:pt x="27" y="8"/>
                        <a:pt x="28" y="8"/>
                        <a:pt x="29" y="8"/>
                      </a:cubicBezTo>
                      <a:cubicBezTo>
                        <a:pt x="33" y="8"/>
                        <a:pt x="33" y="12"/>
                        <a:pt x="36" y="12"/>
                      </a:cubicBezTo>
                      <a:cubicBezTo>
                        <a:pt x="36" y="13"/>
                        <a:pt x="36" y="13"/>
                        <a:pt x="37" y="13"/>
                      </a:cubicBezTo>
                      <a:cubicBezTo>
                        <a:pt x="39" y="13"/>
                        <a:pt x="41" y="14"/>
                        <a:pt x="42" y="15"/>
                      </a:cubicBezTo>
                      <a:cubicBezTo>
                        <a:pt x="43" y="16"/>
                        <a:pt x="45" y="18"/>
                        <a:pt x="47" y="18"/>
                      </a:cubicBezTo>
                      <a:cubicBezTo>
                        <a:pt x="47" y="18"/>
                        <a:pt x="48" y="17"/>
                        <a:pt x="48" y="16"/>
                      </a:cubicBezTo>
                      <a:cubicBezTo>
                        <a:pt x="48" y="13"/>
                        <a:pt x="47" y="13"/>
                        <a:pt x="47" y="10"/>
                      </a:cubicBezTo>
                      <a:cubicBezTo>
                        <a:pt x="44" y="10"/>
                        <a:pt x="44" y="8"/>
                        <a:pt x="43" y="6"/>
                      </a:cubicBezTo>
                      <a:cubicBezTo>
                        <a:pt x="42" y="4"/>
                        <a:pt x="40" y="4"/>
                        <a:pt x="38" y="4"/>
                      </a:cubicBezTo>
                      <a:cubicBezTo>
                        <a:pt x="32" y="4"/>
                        <a:pt x="31" y="0"/>
                        <a:pt x="26" y="0"/>
                      </a:cubicBezTo>
                      <a:cubicBezTo>
                        <a:pt x="24" y="0"/>
                        <a:pt x="23" y="3"/>
                        <a:pt x="20" y="3"/>
                      </a:cubicBezTo>
                      <a:cubicBezTo>
                        <a:pt x="20" y="3"/>
                        <a:pt x="20" y="1"/>
                        <a:pt x="20" y="1"/>
                      </a:cubicBezTo>
                      <a:lnTo>
                        <a:pt x="20" y="1"/>
                      </a:lnTo>
                      <a:lnTo>
                        <a:pt x="5" y="1"/>
                      </a:lnTo>
                      <a:lnTo>
                        <a:pt x="5" y="1"/>
                      </a:lnTo>
                      <a:cubicBezTo>
                        <a:pt x="5" y="2"/>
                        <a:pt x="4" y="3"/>
                        <a:pt x="4" y="4"/>
                      </a:cubicBezTo>
                      <a:cubicBezTo>
                        <a:pt x="4" y="4"/>
                        <a:pt x="4" y="4"/>
                        <a:pt x="4" y="4"/>
                      </a:cubicBezTo>
                      <a:cubicBezTo>
                        <a:pt x="3" y="6"/>
                        <a:pt x="0" y="6"/>
                        <a:pt x="0" y="7"/>
                      </a:cubicBezTo>
                      <a:cubicBezTo>
                        <a:pt x="0" y="8"/>
                        <a:pt x="1" y="8"/>
                        <a:pt x="1" y="8"/>
                      </a:cubicBezTo>
                      <a:cubicBezTo>
                        <a:pt x="2" y="9"/>
                        <a:pt x="2" y="9"/>
                        <a:pt x="2" y="9"/>
                      </a:cubicBezTo>
                      <a:cubicBezTo>
                        <a:pt x="1" y="10"/>
                        <a:pt x="2" y="11"/>
                        <a:pt x="2" y="11"/>
                      </a:cubicBezTo>
                      <a:lnTo>
                        <a:pt x="2" y="11"/>
                      </a:lnTo>
                      <a:lnTo>
                        <a:pt x="2" y="13"/>
                      </a:lnTo>
                      <a:lnTo>
                        <a:pt x="2" y="1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4" name="Freeform 294"/>
                <p:cNvSpPr>
                  <a:spLocks/>
                </p:cNvSpPr>
                <p:nvPr>
                  <p:custDataLst>
                    <p:tags r:id="rId280"/>
                  </p:custDataLst>
                </p:nvPr>
              </p:nvSpPr>
              <p:spPr bwMode="gray">
                <a:xfrm>
                  <a:off x="7916108" y="3973678"/>
                  <a:ext cx="21154" cy="11008"/>
                </a:xfrm>
                <a:custGeom>
                  <a:avLst/>
                  <a:gdLst>
                    <a:gd name="T0" fmla="*/ 0 w 2"/>
                    <a:gd name="T1" fmla="*/ 0 h 1"/>
                    <a:gd name="T2" fmla="*/ 0 w 2"/>
                    <a:gd name="T3" fmla="*/ 0 h 1"/>
                    <a:gd name="T4" fmla="*/ 1 w 2"/>
                    <a:gd name="T5" fmla="*/ 1 h 1"/>
                    <a:gd name="T6" fmla="*/ 2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0" y="0"/>
                        <a:pt x="0" y="0"/>
                      </a:cubicBezTo>
                      <a:cubicBezTo>
                        <a:pt x="0" y="1"/>
                        <a:pt x="1" y="1"/>
                        <a:pt x="1" y="1"/>
                      </a:cubicBezTo>
                      <a:cubicBezTo>
                        <a:pt x="1" y="1"/>
                        <a:pt x="2" y="1"/>
                        <a:pt x="2" y="1"/>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5" name="Freeform 295"/>
                <p:cNvSpPr>
                  <a:spLocks/>
                </p:cNvSpPr>
                <p:nvPr>
                  <p:custDataLst>
                    <p:tags r:id="rId281"/>
                  </p:custDataLst>
                </p:nvPr>
              </p:nvSpPr>
              <p:spPr bwMode="gray">
                <a:xfrm>
                  <a:off x="7947134" y="3961098"/>
                  <a:ext cx="19744" cy="23588"/>
                </a:xfrm>
                <a:custGeom>
                  <a:avLst/>
                  <a:gdLst>
                    <a:gd name="T0" fmla="*/ 0 w 2"/>
                    <a:gd name="T1" fmla="*/ 1 h 2"/>
                    <a:gd name="T2" fmla="*/ 0 w 2"/>
                    <a:gd name="T3" fmla="*/ 2 h 2"/>
                    <a:gd name="T4" fmla="*/ 0 w 2"/>
                    <a:gd name="T5" fmla="*/ 2 h 2"/>
                    <a:gd name="T6" fmla="*/ 2 w 2"/>
                    <a:gd name="T7" fmla="*/ 2 h 2"/>
                    <a:gd name="T8" fmla="*/ 2 w 2"/>
                    <a:gd name="T9" fmla="*/ 2 h 2"/>
                    <a:gd name="T10" fmla="*/ 2 w 2"/>
                    <a:gd name="T11" fmla="*/ 1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1"/>
                        <a:pt x="0" y="1"/>
                        <a:pt x="0" y="2"/>
                      </a:cubicBezTo>
                      <a:lnTo>
                        <a:pt x="0" y="2"/>
                      </a:lnTo>
                      <a:lnTo>
                        <a:pt x="2" y="2"/>
                      </a:lnTo>
                      <a:lnTo>
                        <a:pt x="2" y="2"/>
                      </a:lnTo>
                      <a:cubicBezTo>
                        <a:pt x="2" y="1"/>
                        <a:pt x="2" y="1"/>
                        <a:pt x="2" y="1"/>
                      </a:cubicBezTo>
                      <a:cubicBezTo>
                        <a:pt x="0" y="1"/>
                        <a:pt x="1"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6" name="Freeform 296"/>
                <p:cNvSpPr>
                  <a:spLocks/>
                </p:cNvSpPr>
                <p:nvPr>
                  <p:custDataLst>
                    <p:tags r:id="rId282"/>
                  </p:custDataLst>
                </p:nvPr>
              </p:nvSpPr>
              <p:spPr bwMode="gray">
                <a:xfrm>
                  <a:off x="7845594" y="3961098"/>
                  <a:ext cx="60642" cy="55038"/>
                </a:xfrm>
                <a:custGeom>
                  <a:avLst/>
                  <a:gdLst>
                    <a:gd name="T0" fmla="*/ 0 w 6"/>
                    <a:gd name="T1" fmla="*/ 4 h 5"/>
                    <a:gd name="T2" fmla="*/ 1 w 6"/>
                    <a:gd name="T3" fmla="*/ 5 h 5"/>
                    <a:gd name="T4" fmla="*/ 1 w 6"/>
                    <a:gd name="T5" fmla="*/ 4 h 5"/>
                    <a:gd name="T6" fmla="*/ 6 w 6"/>
                    <a:gd name="T7" fmla="*/ 1 h 5"/>
                    <a:gd name="T8" fmla="*/ 6 w 6"/>
                    <a:gd name="T9" fmla="*/ 0 h 5"/>
                    <a:gd name="T10" fmla="*/ 0 w 6"/>
                    <a:gd name="T11" fmla="*/ 4 h 5"/>
                    <a:gd name="T12" fmla="*/ 0 w 6"/>
                    <a:gd name="T13" fmla="*/ 4 h 5"/>
                    <a:gd name="T14" fmla="*/ 0 w 6"/>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0" y="4"/>
                      </a:moveTo>
                      <a:cubicBezTo>
                        <a:pt x="0" y="4"/>
                        <a:pt x="0" y="5"/>
                        <a:pt x="1" y="5"/>
                      </a:cubicBezTo>
                      <a:cubicBezTo>
                        <a:pt x="1" y="5"/>
                        <a:pt x="1" y="4"/>
                        <a:pt x="1" y="4"/>
                      </a:cubicBezTo>
                      <a:cubicBezTo>
                        <a:pt x="2" y="2"/>
                        <a:pt x="6" y="4"/>
                        <a:pt x="6" y="1"/>
                      </a:cubicBezTo>
                      <a:cubicBezTo>
                        <a:pt x="6" y="1"/>
                        <a:pt x="6" y="1"/>
                        <a:pt x="6" y="0"/>
                      </a:cubicBezTo>
                      <a:cubicBezTo>
                        <a:pt x="4"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7" name="Freeform 297"/>
                <p:cNvSpPr>
                  <a:spLocks/>
                </p:cNvSpPr>
                <p:nvPr>
                  <p:custDataLst>
                    <p:tags r:id="rId283"/>
                  </p:custDataLst>
                </p:nvPr>
              </p:nvSpPr>
              <p:spPr bwMode="gray">
                <a:xfrm>
                  <a:off x="7975339" y="3984685"/>
                  <a:ext cx="11282" cy="11009"/>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8" name="Freeform 298"/>
                <p:cNvSpPr>
                  <a:spLocks/>
                </p:cNvSpPr>
                <p:nvPr>
                  <p:custDataLst>
                    <p:tags r:id="rId284"/>
                  </p:custDataLst>
                </p:nvPr>
              </p:nvSpPr>
              <p:spPr bwMode="gray">
                <a:xfrm>
                  <a:off x="8378677" y="4072747"/>
                  <a:ext cx="9871" cy="11009"/>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69" name="Freeform 299"/>
                <p:cNvSpPr>
                  <a:spLocks/>
                </p:cNvSpPr>
                <p:nvPr>
                  <p:custDataLst>
                    <p:tags r:id="rId285"/>
                  </p:custDataLst>
                </p:nvPr>
              </p:nvSpPr>
              <p:spPr bwMode="gray">
                <a:xfrm>
                  <a:off x="8539448" y="433221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0" name="Freeform 300"/>
                <p:cNvSpPr>
                  <a:spLocks/>
                </p:cNvSpPr>
                <p:nvPr>
                  <p:custDataLst>
                    <p:tags r:id="rId286"/>
                  </p:custDataLst>
                </p:nvPr>
              </p:nvSpPr>
              <p:spPr bwMode="gray">
                <a:xfrm>
                  <a:off x="8529576" y="4354226"/>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1" y="0"/>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1" name="Freeform 301"/>
                <p:cNvSpPr>
                  <a:spLocks/>
                </p:cNvSpPr>
                <p:nvPr>
                  <p:custDataLst>
                    <p:tags r:id="rId287"/>
                  </p:custDataLst>
                </p:nvPr>
              </p:nvSpPr>
              <p:spPr bwMode="gray">
                <a:xfrm>
                  <a:off x="8741117" y="4476882"/>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2" name="Freeform 302"/>
                <p:cNvSpPr>
                  <a:spLocks/>
                </p:cNvSpPr>
                <p:nvPr>
                  <p:custDataLst>
                    <p:tags r:id="rId288"/>
                  </p:custDataLst>
                </p:nvPr>
              </p:nvSpPr>
              <p:spPr bwMode="gray">
                <a:xfrm>
                  <a:off x="8631116" y="4297617"/>
                  <a:ext cx="47950" cy="122656"/>
                </a:xfrm>
                <a:custGeom>
                  <a:avLst/>
                  <a:gdLst>
                    <a:gd name="T0" fmla="*/ 0 w 5"/>
                    <a:gd name="T1" fmla="*/ 8 h 11"/>
                    <a:gd name="T2" fmla="*/ 4 w 5"/>
                    <a:gd name="T3" fmla="*/ 0 h 11"/>
                    <a:gd name="T4" fmla="*/ 4 w 5"/>
                    <a:gd name="T5" fmla="*/ 3 h 11"/>
                    <a:gd name="T6" fmla="*/ 1 w 5"/>
                    <a:gd name="T7" fmla="*/ 10 h 11"/>
                    <a:gd name="T8" fmla="*/ 0 w 5"/>
                    <a:gd name="T9" fmla="*/ 11 h 11"/>
                    <a:gd name="T10" fmla="*/ 0 w 5"/>
                    <a:gd name="T11" fmla="*/ 8 h 11"/>
                    <a:gd name="T12" fmla="*/ 0 w 5"/>
                    <a:gd name="T13" fmla="*/ 8 h 11"/>
                    <a:gd name="T14" fmla="*/ 0 w 5"/>
                    <a:gd name="T15" fmla="*/ 8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1">
                      <a:moveTo>
                        <a:pt x="0" y="8"/>
                      </a:moveTo>
                      <a:cubicBezTo>
                        <a:pt x="0" y="6"/>
                        <a:pt x="3" y="1"/>
                        <a:pt x="4" y="0"/>
                      </a:cubicBezTo>
                      <a:cubicBezTo>
                        <a:pt x="5" y="1"/>
                        <a:pt x="4" y="2"/>
                        <a:pt x="4" y="3"/>
                      </a:cubicBezTo>
                      <a:cubicBezTo>
                        <a:pt x="4" y="6"/>
                        <a:pt x="1" y="7"/>
                        <a:pt x="1" y="10"/>
                      </a:cubicBezTo>
                      <a:cubicBezTo>
                        <a:pt x="1" y="11"/>
                        <a:pt x="0" y="11"/>
                        <a:pt x="0" y="11"/>
                      </a:cubicBezTo>
                      <a:cubicBezTo>
                        <a:pt x="0" y="10"/>
                        <a:pt x="0" y="9"/>
                        <a:pt x="0" y="8"/>
                      </a:cubicBezTo>
                      <a:lnTo>
                        <a:pt x="0" y="8"/>
                      </a:lnTo>
                      <a:lnTo>
                        <a:pt x="0"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3" name="Freeform 303"/>
                <p:cNvSpPr>
                  <a:spLocks/>
                </p:cNvSpPr>
                <p:nvPr>
                  <p:custDataLst>
                    <p:tags r:id="rId289"/>
                  </p:custDataLst>
                </p:nvPr>
              </p:nvSpPr>
              <p:spPr bwMode="gray">
                <a:xfrm>
                  <a:off x="8580345" y="4343219"/>
                  <a:ext cx="39488" cy="77053"/>
                </a:xfrm>
                <a:custGeom>
                  <a:avLst/>
                  <a:gdLst>
                    <a:gd name="T0" fmla="*/ 2 w 4"/>
                    <a:gd name="T1" fmla="*/ 7 h 7"/>
                    <a:gd name="T2" fmla="*/ 2 w 4"/>
                    <a:gd name="T3" fmla="*/ 4 h 7"/>
                    <a:gd name="T4" fmla="*/ 0 w 4"/>
                    <a:gd name="T5" fmla="*/ 3 h 7"/>
                    <a:gd name="T6" fmla="*/ 4 w 4"/>
                    <a:gd name="T7" fmla="*/ 0 h 7"/>
                    <a:gd name="T8" fmla="*/ 4 w 4"/>
                    <a:gd name="T9" fmla="*/ 1 h 7"/>
                    <a:gd name="T10" fmla="*/ 4 w 4"/>
                    <a:gd name="T11" fmla="*/ 1 h 7"/>
                    <a:gd name="T12" fmla="*/ 3 w 4"/>
                    <a:gd name="T13" fmla="*/ 4 h 7"/>
                    <a:gd name="T14" fmla="*/ 3 w 4"/>
                    <a:gd name="T15" fmla="*/ 4 h 7"/>
                    <a:gd name="T16" fmla="*/ 4 w 4"/>
                    <a:gd name="T17" fmla="*/ 4 h 7"/>
                    <a:gd name="T18" fmla="*/ 2 w 4"/>
                    <a:gd name="T19" fmla="*/ 7 h 7"/>
                    <a:gd name="T20" fmla="*/ 2 w 4"/>
                    <a:gd name="T21" fmla="*/ 7 h 7"/>
                    <a:gd name="T22" fmla="*/ 2 w 4"/>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2" y="7"/>
                      </a:moveTo>
                      <a:cubicBezTo>
                        <a:pt x="2" y="5"/>
                        <a:pt x="3" y="6"/>
                        <a:pt x="2" y="4"/>
                      </a:cubicBezTo>
                      <a:cubicBezTo>
                        <a:pt x="1" y="4"/>
                        <a:pt x="0" y="3"/>
                        <a:pt x="0" y="3"/>
                      </a:cubicBezTo>
                      <a:cubicBezTo>
                        <a:pt x="0" y="2"/>
                        <a:pt x="1" y="2"/>
                        <a:pt x="4" y="0"/>
                      </a:cubicBezTo>
                      <a:cubicBezTo>
                        <a:pt x="4" y="0"/>
                        <a:pt x="4" y="1"/>
                        <a:pt x="4" y="1"/>
                      </a:cubicBezTo>
                      <a:lnTo>
                        <a:pt x="4" y="1"/>
                      </a:lnTo>
                      <a:lnTo>
                        <a:pt x="3" y="4"/>
                      </a:lnTo>
                      <a:lnTo>
                        <a:pt x="3" y="4"/>
                      </a:lnTo>
                      <a:cubicBezTo>
                        <a:pt x="3" y="4"/>
                        <a:pt x="4" y="4"/>
                        <a:pt x="4" y="4"/>
                      </a:cubicBezTo>
                      <a:cubicBezTo>
                        <a:pt x="4" y="6"/>
                        <a:pt x="3"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4" name="Freeform 304"/>
                <p:cNvSpPr>
                  <a:spLocks/>
                </p:cNvSpPr>
                <p:nvPr>
                  <p:custDataLst>
                    <p:tags r:id="rId290"/>
                  </p:custDataLst>
                </p:nvPr>
              </p:nvSpPr>
              <p:spPr bwMode="gray">
                <a:xfrm>
                  <a:off x="8931503" y="4487890"/>
                  <a:ext cx="21154" cy="45603"/>
                </a:xfrm>
                <a:custGeom>
                  <a:avLst/>
                  <a:gdLst>
                    <a:gd name="T0" fmla="*/ 0 w 2"/>
                    <a:gd name="T1" fmla="*/ 4 h 4"/>
                    <a:gd name="T2" fmla="*/ 0 w 2"/>
                    <a:gd name="T3" fmla="*/ 0 h 4"/>
                    <a:gd name="T4" fmla="*/ 2 w 2"/>
                    <a:gd name="T5" fmla="*/ 0 h 4"/>
                    <a:gd name="T6" fmla="*/ 2 w 2"/>
                    <a:gd name="T7" fmla="*/ 0 h 4"/>
                    <a:gd name="T8" fmla="*/ 0 w 2"/>
                    <a:gd name="T9" fmla="*/ 4 h 4"/>
                    <a:gd name="T10" fmla="*/ 0 w 2"/>
                    <a:gd name="T11" fmla="*/ 4 h 4"/>
                    <a:gd name="T12" fmla="*/ 0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4"/>
                      </a:moveTo>
                      <a:lnTo>
                        <a:pt x="0" y="0"/>
                      </a:lnTo>
                      <a:lnTo>
                        <a:pt x="2" y="0"/>
                      </a:lnTo>
                      <a:lnTo>
                        <a:pt x="2" y="0"/>
                      </a:lnTo>
                      <a:cubicBezTo>
                        <a:pt x="2" y="1"/>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5" name="Freeform 306"/>
                <p:cNvSpPr>
                  <a:spLocks/>
                </p:cNvSpPr>
                <p:nvPr>
                  <p:custDataLst>
                    <p:tags r:id="rId291"/>
                  </p:custDataLst>
                </p:nvPr>
              </p:nvSpPr>
              <p:spPr bwMode="gray">
                <a:xfrm>
                  <a:off x="8811630" y="4465874"/>
                  <a:ext cx="69104" cy="144672"/>
                </a:xfrm>
                <a:custGeom>
                  <a:avLst/>
                  <a:gdLst>
                    <a:gd name="T0" fmla="*/ 1 w 7"/>
                    <a:gd name="T1" fmla="*/ 3 h 13"/>
                    <a:gd name="T2" fmla="*/ 0 w 7"/>
                    <a:gd name="T3" fmla="*/ 7 h 13"/>
                    <a:gd name="T4" fmla="*/ 0 w 7"/>
                    <a:gd name="T5" fmla="*/ 7 h 13"/>
                    <a:gd name="T6" fmla="*/ 0 w 7"/>
                    <a:gd name="T7" fmla="*/ 11 h 13"/>
                    <a:gd name="T8" fmla="*/ 3 w 7"/>
                    <a:gd name="T9" fmla="*/ 13 h 13"/>
                    <a:gd name="T10" fmla="*/ 7 w 7"/>
                    <a:gd name="T11" fmla="*/ 7 h 13"/>
                    <a:gd name="T12" fmla="*/ 4 w 7"/>
                    <a:gd name="T13" fmla="*/ 4 h 13"/>
                    <a:gd name="T14" fmla="*/ 3 w 7"/>
                    <a:gd name="T15" fmla="*/ 1 h 13"/>
                    <a:gd name="T16" fmla="*/ 1 w 7"/>
                    <a:gd name="T17" fmla="*/ 0 h 13"/>
                    <a:gd name="T18" fmla="*/ 1 w 7"/>
                    <a:gd name="T19" fmla="*/ 1 h 13"/>
                    <a:gd name="T20" fmla="*/ 1 w 7"/>
                    <a:gd name="T21" fmla="*/ 3 h 13"/>
                    <a:gd name="T22" fmla="*/ 1 w 7"/>
                    <a:gd name="T23" fmla="*/ 3 h 13"/>
                    <a:gd name="T24" fmla="*/ 1 w 7"/>
                    <a:gd name="T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1" y="3"/>
                      </a:moveTo>
                      <a:lnTo>
                        <a:pt x="0" y="7"/>
                      </a:lnTo>
                      <a:lnTo>
                        <a:pt x="0" y="7"/>
                      </a:lnTo>
                      <a:cubicBezTo>
                        <a:pt x="1" y="8"/>
                        <a:pt x="0" y="9"/>
                        <a:pt x="0" y="11"/>
                      </a:cubicBezTo>
                      <a:cubicBezTo>
                        <a:pt x="0" y="11"/>
                        <a:pt x="2" y="13"/>
                        <a:pt x="3" y="13"/>
                      </a:cubicBezTo>
                      <a:cubicBezTo>
                        <a:pt x="5" y="13"/>
                        <a:pt x="7" y="8"/>
                        <a:pt x="7" y="7"/>
                      </a:cubicBezTo>
                      <a:cubicBezTo>
                        <a:pt x="7" y="5"/>
                        <a:pt x="5" y="4"/>
                        <a:pt x="4" y="4"/>
                      </a:cubicBezTo>
                      <a:cubicBezTo>
                        <a:pt x="3" y="3"/>
                        <a:pt x="4" y="2"/>
                        <a:pt x="3" y="1"/>
                      </a:cubicBezTo>
                      <a:cubicBezTo>
                        <a:pt x="3" y="1"/>
                        <a:pt x="1" y="0"/>
                        <a:pt x="1" y="0"/>
                      </a:cubicBezTo>
                      <a:cubicBezTo>
                        <a:pt x="1" y="0"/>
                        <a:pt x="1" y="1"/>
                        <a:pt x="1" y="1"/>
                      </a:cubicBezTo>
                      <a:cubicBezTo>
                        <a:pt x="1"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6" name="Freeform 307"/>
                <p:cNvSpPr>
                  <a:spLocks/>
                </p:cNvSpPr>
                <p:nvPr>
                  <p:custDataLst>
                    <p:tags r:id="rId292"/>
                  </p:custDataLst>
                </p:nvPr>
              </p:nvSpPr>
              <p:spPr bwMode="gray">
                <a:xfrm>
                  <a:off x="8860990" y="4487890"/>
                  <a:ext cx="40897" cy="45603"/>
                </a:xfrm>
                <a:custGeom>
                  <a:avLst/>
                  <a:gdLst>
                    <a:gd name="T0" fmla="*/ 0 w 4"/>
                    <a:gd name="T1" fmla="*/ 1 h 4"/>
                    <a:gd name="T2" fmla="*/ 3 w 4"/>
                    <a:gd name="T3" fmla="*/ 4 h 4"/>
                    <a:gd name="T4" fmla="*/ 4 w 4"/>
                    <a:gd name="T5" fmla="*/ 3 h 4"/>
                    <a:gd name="T6" fmla="*/ 0 w 4"/>
                    <a:gd name="T7" fmla="*/ 0 h 4"/>
                    <a:gd name="T8" fmla="*/ 0 w 4"/>
                    <a:gd name="T9" fmla="*/ 1 h 4"/>
                    <a:gd name="T10" fmla="*/ 0 w 4"/>
                    <a:gd name="T11" fmla="*/ 1 h 4"/>
                    <a:gd name="T12" fmla="*/ 0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1"/>
                      </a:moveTo>
                      <a:cubicBezTo>
                        <a:pt x="0" y="2"/>
                        <a:pt x="2" y="4"/>
                        <a:pt x="3" y="4"/>
                      </a:cubicBezTo>
                      <a:cubicBezTo>
                        <a:pt x="4" y="4"/>
                        <a:pt x="4" y="3"/>
                        <a:pt x="4" y="3"/>
                      </a:cubicBezTo>
                      <a:cubicBezTo>
                        <a:pt x="4" y="2"/>
                        <a:pt x="2"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7" name="Freeform 308"/>
                <p:cNvSpPr>
                  <a:spLocks/>
                </p:cNvSpPr>
                <p:nvPr>
                  <p:custDataLst>
                    <p:tags r:id="rId293"/>
                  </p:custDataLst>
                </p:nvPr>
              </p:nvSpPr>
              <p:spPr bwMode="gray">
                <a:xfrm>
                  <a:off x="8820091" y="4442288"/>
                  <a:ext cx="40898" cy="45602"/>
                </a:xfrm>
                <a:custGeom>
                  <a:avLst/>
                  <a:gdLst>
                    <a:gd name="T0" fmla="*/ 0 w 4"/>
                    <a:gd name="T1" fmla="*/ 1 h 4"/>
                    <a:gd name="T2" fmla="*/ 3 w 4"/>
                    <a:gd name="T3" fmla="*/ 4 h 4"/>
                    <a:gd name="T4" fmla="*/ 4 w 4"/>
                    <a:gd name="T5" fmla="*/ 3 h 4"/>
                    <a:gd name="T6" fmla="*/ 2 w 4"/>
                    <a:gd name="T7" fmla="*/ 2 h 4"/>
                    <a:gd name="T8" fmla="*/ 2 w 4"/>
                    <a:gd name="T9" fmla="*/ 0 h 4"/>
                    <a:gd name="T10" fmla="*/ 1 w 4"/>
                    <a:gd name="T11" fmla="*/ 0 h 4"/>
                    <a:gd name="T12" fmla="*/ 0 w 4"/>
                    <a:gd name="T13" fmla="*/ 1 h 4"/>
                    <a:gd name="T14" fmla="*/ 0 w 4"/>
                    <a:gd name="T15" fmla="*/ 1 h 4"/>
                    <a:gd name="T16" fmla="*/ 0 w 4"/>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1"/>
                      </a:moveTo>
                      <a:cubicBezTo>
                        <a:pt x="0" y="1"/>
                        <a:pt x="2" y="3"/>
                        <a:pt x="3" y="4"/>
                      </a:cubicBezTo>
                      <a:cubicBezTo>
                        <a:pt x="3" y="4"/>
                        <a:pt x="4" y="3"/>
                        <a:pt x="4" y="3"/>
                      </a:cubicBezTo>
                      <a:cubicBezTo>
                        <a:pt x="4" y="2"/>
                        <a:pt x="3" y="2"/>
                        <a:pt x="2" y="2"/>
                      </a:cubicBezTo>
                      <a:cubicBezTo>
                        <a:pt x="2" y="2"/>
                        <a:pt x="2" y="1"/>
                        <a:pt x="2" y="0"/>
                      </a:cubicBezTo>
                      <a:cubicBezTo>
                        <a:pt x="2" y="0"/>
                        <a:pt x="1" y="0"/>
                        <a:pt x="1" y="0"/>
                      </a:cubicBezTo>
                      <a:cubicBezTo>
                        <a:pt x="0" y="0"/>
                        <a:pt x="0" y="1"/>
                        <a:pt x="0" y="1"/>
                      </a:cubicBezTo>
                      <a:lnTo>
                        <a:pt x="0" y="1"/>
                      </a:lnTo>
                      <a:lnTo>
                        <a:pt x="0" y="1"/>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8" name="Freeform 309"/>
                <p:cNvSpPr>
                  <a:spLocks/>
                </p:cNvSpPr>
                <p:nvPr>
                  <p:custDataLst>
                    <p:tags r:id="rId294"/>
                  </p:custDataLst>
                </p:nvPr>
              </p:nvSpPr>
              <p:spPr bwMode="gray">
                <a:xfrm>
                  <a:off x="8829963" y="4308623"/>
                  <a:ext cx="101540" cy="190275"/>
                </a:xfrm>
                <a:custGeom>
                  <a:avLst/>
                  <a:gdLst>
                    <a:gd name="T0" fmla="*/ 1 w 10"/>
                    <a:gd name="T1" fmla="*/ 6 h 17"/>
                    <a:gd name="T2" fmla="*/ 0 w 10"/>
                    <a:gd name="T3" fmla="*/ 7 h 17"/>
                    <a:gd name="T4" fmla="*/ 0 w 10"/>
                    <a:gd name="T5" fmla="*/ 7 h 17"/>
                    <a:gd name="T6" fmla="*/ 0 w 10"/>
                    <a:gd name="T7" fmla="*/ 9 h 17"/>
                    <a:gd name="T8" fmla="*/ 1 w 10"/>
                    <a:gd name="T9" fmla="*/ 9 h 17"/>
                    <a:gd name="T10" fmla="*/ 1 w 10"/>
                    <a:gd name="T11" fmla="*/ 9 h 17"/>
                    <a:gd name="T12" fmla="*/ 1 w 10"/>
                    <a:gd name="T13" fmla="*/ 7 h 17"/>
                    <a:gd name="T14" fmla="*/ 2 w 10"/>
                    <a:gd name="T15" fmla="*/ 6 h 17"/>
                    <a:gd name="T16" fmla="*/ 3 w 10"/>
                    <a:gd name="T17" fmla="*/ 7 h 17"/>
                    <a:gd name="T18" fmla="*/ 2 w 10"/>
                    <a:gd name="T19" fmla="*/ 10 h 17"/>
                    <a:gd name="T20" fmla="*/ 3 w 10"/>
                    <a:gd name="T21" fmla="*/ 12 h 17"/>
                    <a:gd name="T22" fmla="*/ 2 w 10"/>
                    <a:gd name="T23" fmla="*/ 13 h 17"/>
                    <a:gd name="T24" fmla="*/ 7 w 10"/>
                    <a:gd name="T25" fmla="*/ 17 h 17"/>
                    <a:gd name="T26" fmla="*/ 10 w 10"/>
                    <a:gd name="T27" fmla="*/ 12 h 17"/>
                    <a:gd name="T28" fmla="*/ 8 w 10"/>
                    <a:gd name="T29" fmla="*/ 10 h 17"/>
                    <a:gd name="T30" fmla="*/ 9 w 10"/>
                    <a:gd name="T31" fmla="*/ 10 h 17"/>
                    <a:gd name="T32" fmla="*/ 9 w 10"/>
                    <a:gd name="T33" fmla="*/ 10 h 17"/>
                    <a:gd name="T34" fmla="*/ 9 w 10"/>
                    <a:gd name="T35" fmla="*/ 6 h 17"/>
                    <a:gd name="T36" fmla="*/ 9 w 10"/>
                    <a:gd name="T37" fmla="*/ 6 h 17"/>
                    <a:gd name="T38" fmla="*/ 7 w 10"/>
                    <a:gd name="T39" fmla="*/ 0 h 17"/>
                    <a:gd name="T40" fmla="*/ 6 w 10"/>
                    <a:gd name="T41" fmla="*/ 0 h 17"/>
                    <a:gd name="T42" fmla="*/ 5 w 10"/>
                    <a:gd name="T43" fmla="*/ 3 h 17"/>
                    <a:gd name="T44" fmla="*/ 1 w 10"/>
                    <a:gd name="T45" fmla="*/ 6 h 17"/>
                    <a:gd name="T46" fmla="*/ 1 w 10"/>
                    <a:gd name="T47" fmla="*/ 6 h 17"/>
                    <a:gd name="T48" fmla="*/ 1 w 10"/>
                    <a:gd name="T49"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7">
                      <a:moveTo>
                        <a:pt x="1" y="6"/>
                      </a:moveTo>
                      <a:cubicBezTo>
                        <a:pt x="1" y="7"/>
                        <a:pt x="0" y="7"/>
                        <a:pt x="0" y="7"/>
                      </a:cubicBezTo>
                      <a:lnTo>
                        <a:pt x="0" y="7"/>
                      </a:lnTo>
                      <a:lnTo>
                        <a:pt x="0" y="9"/>
                      </a:lnTo>
                      <a:lnTo>
                        <a:pt x="1" y="9"/>
                      </a:lnTo>
                      <a:lnTo>
                        <a:pt x="1" y="9"/>
                      </a:lnTo>
                      <a:cubicBezTo>
                        <a:pt x="1" y="7"/>
                        <a:pt x="1" y="7"/>
                        <a:pt x="1" y="7"/>
                      </a:cubicBezTo>
                      <a:cubicBezTo>
                        <a:pt x="1" y="7"/>
                        <a:pt x="1" y="6"/>
                        <a:pt x="2" y="6"/>
                      </a:cubicBezTo>
                      <a:cubicBezTo>
                        <a:pt x="2" y="6"/>
                        <a:pt x="3" y="7"/>
                        <a:pt x="3" y="7"/>
                      </a:cubicBezTo>
                      <a:cubicBezTo>
                        <a:pt x="2" y="8"/>
                        <a:pt x="2" y="8"/>
                        <a:pt x="2" y="10"/>
                      </a:cubicBezTo>
                      <a:cubicBezTo>
                        <a:pt x="2" y="11"/>
                        <a:pt x="3" y="11"/>
                        <a:pt x="3" y="12"/>
                      </a:cubicBezTo>
                      <a:cubicBezTo>
                        <a:pt x="2" y="12"/>
                        <a:pt x="2" y="13"/>
                        <a:pt x="2" y="13"/>
                      </a:cubicBezTo>
                      <a:cubicBezTo>
                        <a:pt x="2" y="15"/>
                        <a:pt x="6" y="17"/>
                        <a:pt x="7" y="17"/>
                      </a:cubicBezTo>
                      <a:cubicBezTo>
                        <a:pt x="8" y="17"/>
                        <a:pt x="10" y="13"/>
                        <a:pt x="10" y="12"/>
                      </a:cubicBezTo>
                      <a:cubicBezTo>
                        <a:pt x="10" y="12"/>
                        <a:pt x="8" y="11"/>
                        <a:pt x="8" y="10"/>
                      </a:cubicBezTo>
                      <a:cubicBezTo>
                        <a:pt x="8" y="10"/>
                        <a:pt x="8" y="10"/>
                        <a:pt x="9" y="10"/>
                      </a:cubicBezTo>
                      <a:lnTo>
                        <a:pt x="9" y="10"/>
                      </a:lnTo>
                      <a:lnTo>
                        <a:pt x="9" y="6"/>
                      </a:lnTo>
                      <a:lnTo>
                        <a:pt x="9" y="6"/>
                      </a:lnTo>
                      <a:cubicBezTo>
                        <a:pt x="9" y="4"/>
                        <a:pt x="7" y="2"/>
                        <a:pt x="7" y="0"/>
                      </a:cubicBezTo>
                      <a:cubicBezTo>
                        <a:pt x="7" y="0"/>
                        <a:pt x="7" y="0"/>
                        <a:pt x="6" y="0"/>
                      </a:cubicBezTo>
                      <a:cubicBezTo>
                        <a:pt x="6" y="1"/>
                        <a:pt x="6" y="2"/>
                        <a:pt x="5" y="3"/>
                      </a:cubicBezTo>
                      <a:cubicBezTo>
                        <a:pt x="4" y="5"/>
                        <a:pt x="4" y="6"/>
                        <a:pt x="1" y="6"/>
                      </a:cubicBezTo>
                      <a:lnTo>
                        <a:pt x="1" y="6"/>
                      </a:lnTo>
                      <a:lnTo>
                        <a:pt x="1"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79" name="Freeform 310"/>
                <p:cNvSpPr>
                  <a:spLocks/>
                </p:cNvSpPr>
                <p:nvPr>
                  <p:custDataLst>
                    <p:tags r:id="rId295"/>
                  </p:custDataLst>
                </p:nvPr>
              </p:nvSpPr>
              <p:spPr bwMode="gray">
                <a:xfrm>
                  <a:off x="8851117" y="4343219"/>
                  <a:ext cx="987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0" name="Freeform 311"/>
                <p:cNvSpPr>
                  <a:spLocks/>
                </p:cNvSpPr>
                <p:nvPr>
                  <p:custDataLst>
                    <p:tags r:id="rId296"/>
                  </p:custDataLst>
                </p:nvPr>
              </p:nvSpPr>
              <p:spPr bwMode="gray">
                <a:xfrm>
                  <a:off x="8298292" y="4824408"/>
                  <a:ext cx="49360" cy="56611"/>
                </a:xfrm>
                <a:custGeom>
                  <a:avLst/>
                  <a:gdLst>
                    <a:gd name="T0" fmla="*/ 4 w 5"/>
                    <a:gd name="T1" fmla="*/ 0 h 5"/>
                    <a:gd name="T2" fmla="*/ 5 w 5"/>
                    <a:gd name="T3" fmla="*/ 1 h 5"/>
                    <a:gd name="T4" fmla="*/ 0 w 5"/>
                    <a:gd name="T5" fmla="*/ 5 h 5"/>
                    <a:gd name="T6" fmla="*/ 4 w 5"/>
                    <a:gd name="T7" fmla="*/ 0 h 5"/>
                    <a:gd name="T8" fmla="*/ 4 w 5"/>
                    <a:gd name="T9" fmla="*/ 0 h 5"/>
                    <a:gd name="T10" fmla="*/ 4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4" y="0"/>
                      </a:moveTo>
                      <a:cubicBezTo>
                        <a:pt x="5" y="0"/>
                        <a:pt x="5" y="1"/>
                        <a:pt x="5" y="1"/>
                      </a:cubicBezTo>
                      <a:cubicBezTo>
                        <a:pt x="4" y="3"/>
                        <a:pt x="1" y="4"/>
                        <a:pt x="0" y="5"/>
                      </a:cubicBezTo>
                      <a:cubicBezTo>
                        <a:pt x="0" y="2"/>
                        <a:pt x="3" y="2"/>
                        <a:pt x="4" y="0"/>
                      </a:cubicBezTo>
                      <a:lnTo>
                        <a:pt x="4" y="0"/>
                      </a:lnTo>
                      <a:lnTo>
                        <a:pt x="4"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1" name="Freeform 312"/>
                <p:cNvSpPr>
                  <a:spLocks/>
                </p:cNvSpPr>
                <p:nvPr>
                  <p:custDataLst>
                    <p:tags r:id="rId297"/>
                  </p:custDataLst>
                </p:nvPr>
              </p:nvSpPr>
              <p:spPr bwMode="gray">
                <a:xfrm>
                  <a:off x="8347651" y="4634133"/>
                  <a:ext cx="101540" cy="190274"/>
                </a:xfrm>
                <a:custGeom>
                  <a:avLst/>
                  <a:gdLst>
                    <a:gd name="T0" fmla="*/ 1 w 10"/>
                    <a:gd name="T1" fmla="*/ 11 h 17"/>
                    <a:gd name="T2" fmla="*/ 1 w 10"/>
                    <a:gd name="T3" fmla="*/ 11 h 17"/>
                    <a:gd name="T4" fmla="*/ 1 w 10"/>
                    <a:gd name="T5" fmla="*/ 8 h 17"/>
                    <a:gd name="T6" fmla="*/ 5 w 10"/>
                    <a:gd name="T7" fmla="*/ 4 h 17"/>
                    <a:gd name="T8" fmla="*/ 8 w 10"/>
                    <a:gd name="T9" fmla="*/ 0 h 17"/>
                    <a:gd name="T10" fmla="*/ 10 w 10"/>
                    <a:gd name="T11" fmla="*/ 1 h 17"/>
                    <a:gd name="T12" fmla="*/ 8 w 10"/>
                    <a:gd name="T13" fmla="*/ 7 h 17"/>
                    <a:gd name="T14" fmla="*/ 8 w 10"/>
                    <a:gd name="T15" fmla="*/ 7 h 17"/>
                    <a:gd name="T16" fmla="*/ 9 w 10"/>
                    <a:gd name="T17" fmla="*/ 8 h 17"/>
                    <a:gd name="T18" fmla="*/ 9 w 10"/>
                    <a:gd name="T19" fmla="*/ 8 h 17"/>
                    <a:gd name="T20" fmla="*/ 4 w 10"/>
                    <a:gd name="T21" fmla="*/ 15 h 17"/>
                    <a:gd name="T22" fmla="*/ 4 w 10"/>
                    <a:gd name="T23" fmla="*/ 15 h 17"/>
                    <a:gd name="T24" fmla="*/ 3 w 10"/>
                    <a:gd name="T25" fmla="*/ 16 h 17"/>
                    <a:gd name="T26" fmla="*/ 3 w 10"/>
                    <a:gd name="T27" fmla="*/ 16 h 17"/>
                    <a:gd name="T28" fmla="*/ 2 w 10"/>
                    <a:gd name="T29" fmla="*/ 16 h 17"/>
                    <a:gd name="T30" fmla="*/ 0 w 10"/>
                    <a:gd name="T31" fmla="*/ 16 h 17"/>
                    <a:gd name="T32" fmla="*/ 1 w 10"/>
                    <a:gd name="T33" fmla="*/ 11 h 17"/>
                    <a:gd name="T34" fmla="*/ 1 w 10"/>
                    <a:gd name="T35" fmla="*/ 11 h 17"/>
                    <a:gd name="T36" fmla="*/ 1 w 10"/>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7">
                      <a:moveTo>
                        <a:pt x="1" y="11"/>
                      </a:moveTo>
                      <a:cubicBezTo>
                        <a:pt x="1" y="11"/>
                        <a:pt x="1" y="11"/>
                        <a:pt x="1" y="11"/>
                      </a:cubicBezTo>
                      <a:cubicBezTo>
                        <a:pt x="1" y="10"/>
                        <a:pt x="1" y="9"/>
                        <a:pt x="1" y="8"/>
                      </a:cubicBezTo>
                      <a:cubicBezTo>
                        <a:pt x="2" y="6"/>
                        <a:pt x="5" y="6"/>
                        <a:pt x="5" y="4"/>
                      </a:cubicBezTo>
                      <a:cubicBezTo>
                        <a:pt x="5" y="4"/>
                        <a:pt x="8" y="0"/>
                        <a:pt x="8" y="0"/>
                      </a:cubicBezTo>
                      <a:cubicBezTo>
                        <a:pt x="9" y="0"/>
                        <a:pt x="9" y="1"/>
                        <a:pt x="10" y="1"/>
                      </a:cubicBezTo>
                      <a:cubicBezTo>
                        <a:pt x="9" y="2"/>
                        <a:pt x="8" y="5"/>
                        <a:pt x="8" y="7"/>
                      </a:cubicBezTo>
                      <a:lnTo>
                        <a:pt x="8" y="7"/>
                      </a:lnTo>
                      <a:lnTo>
                        <a:pt x="9" y="8"/>
                      </a:lnTo>
                      <a:lnTo>
                        <a:pt x="9" y="8"/>
                      </a:lnTo>
                      <a:cubicBezTo>
                        <a:pt x="8" y="10"/>
                        <a:pt x="4" y="12"/>
                        <a:pt x="4" y="15"/>
                      </a:cubicBezTo>
                      <a:cubicBezTo>
                        <a:pt x="4" y="15"/>
                        <a:pt x="4" y="15"/>
                        <a:pt x="4" y="15"/>
                      </a:cubicBezTo>
                      <a:cubicBezTo>
                        <a:pt x="4" y="16"/>
                        <a:pt x="3" y="16"/>
                        <a:pt x="3" y="16"/>
                      </a:cubicBezTo>
                      <a:cubicBezTo>
                        <a:pt x="3" y="16"/>
                        <a:pt x="3" y="16"/>
                        <a:pt x="3" y="16"/>
                      </a:cubicBezTo>
                      <a:cubicBezTo>
                        <a:pt x="2" y="16"/>
                        <a:pt x="2" y="16"/>
                        <a:pt x="2" y="16"/>
                      </a:cubicBezTo>
                      <a:cubicBezTo>
                        <a:pt x="1" y="16"/>
                        <a:pt x="0" y="17"/>
                        <a:pt x="0" y="16"/>
                      </a:cubicBezTo>
                      <a:cubicBezTo>
                        <a:pt x="0" y="14"/>
                        <a:pt x="1" y="13"/>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2" name="Freeform 313"/>
                <p:cNvSpPr>
                  <a:spLocks/>
                </p:cNvSpPr>
                <p:nvPr>
                  <p:custDataLst>
                    <p:tags r:id="rId298"/>
                  </p:custDataLst>
                </p:nvPr>
              </p:nvSpPr>
              <p:spPr bwMode="gray">
                <a:xfrm>
                  <a:off x="8086750" y="4767798"/>
                  <a:ext cx="60642" cy="56611"/>
                </a:xfrm>
                <a:custGeom>
                  <a:avLst/>
                  <a:gdLst>
                    <a:gd name="T0" fmla="*/ 1 w 6"/>
                    <a:gd name="T1" fmla="*/ 1 h 5"/>
                    <a:gd name="T2" fmla="*/ 4 w 6"/>
                    <a:gd name="T3" fmla="*/ 4 h 5"/>
                    <a:gd name="T4" fmla="*/ 6 w 6"/>
                    <a:gd name="T5" fmla="*/ 3 h 5"/>
                    <a:gd name="T6" fmla="*/ 6 w 6"/>
                    <a:gd name="T7" fmla="*/ 1 h 5"/>
                    <a:gd name="T8" fmla="*/ 3 w 6"/>
                    <a:gd name="T9" fmla="*/ 0 h 5"/>
                    <a:gd name="T10" fmla="*/ 1 w 6"/>
                    <a:gd name="T11" fmla="*/ 1 h 5"/>
                    <a:gd name="T12" fmla="*/ 1 w 6"/>
                    <a:gd name="T13" fmla="*/ 1 h 5"/>
                    <a:gd name="T14" fmla="*/ 1 w 6"/>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1"/>
                      </a:moveTo>
                      <a:cubicBezTo>
                        <a:pt x="0" y="4"/>
                        <a:pt x="3" y="3"/>
                        <a:pt x="4" y="4"/>
                      </a:cubicBezTo>
                      <a:cubicBezTo>
                        <a:pt x="4" y="5"/>
                        <a:pt x="6" y="4"/>
                        <a:pt x="6" y="3"/>
                      </a:cubicBezTo>
                      <a:cubicBezTo>
                        <a:pt x="6" y="3"/>
                        <a:pt x="6" y="1"/>
                        <a:pt x="6" y="1"/>
                      </a:cubicBezTo>
                      <a:cubicBezTo>
                        <a:pt x="5" y="0"/>
                        <a:pt x="4" y="0"/>
                        <a:pt x="3" y="0"/>
                      </a:cubicBezTo>
                      <a:cubicBezTo>
                        <a:pt x="2" y="0"/>
                        <a:pt x="2" y="1"/>
                        <a:pt x="1" y="1"/>
                      </a:cubicBez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3" name="Freeform 317"/>
                <p:cNvSpPr>
                  <a:spLocks/>
                </p:cNvSpPr>
                <p:nvPr>
                  <p:custDataLst>
                    <p:tags r:id="rId299"/>
                  </p:custDataLst>
                </p:nvPr>
              </p:nvSpPr>
              <p:spPr bwMode="gray">
                <a:xfrm>
                  <a:off x="8590218" y="3928075"/>
                  <a:ext cx="19744" cy="33023"/>
                </a:xfrm>
                <a:custGeom>
                  <a:avLst/>
                  <a:gdLst>
                    <a:gd name="T0" fmla="*/ 0 w 2"/>
                    <a:gd name="T1" fmla="*/ 2 h 3"/>
                    <a:gd name="T2" fmla="*/ 0 w 2"/>
                    <a:gd name="T3" fmla="*/ 1 h 3"/>
                    <a:gd name="T4" fmla="*/ 1 w 2"/>
                    <a:gd name="T5" fmla="*/ 1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0" y="1"/>
                        <a:pt x="0" y="1"/>
                      </a:cubicBezTo>
                      <a:cubicBezTo>
                        <a:pt x="0" y="0"/>
                        <a:pt x="1" y="1"/>
                        <a:pt x="1" y="1"/>
                      </a:cubicBezTo>
                      <a:cubicBezTo>
                        <a:pt x="2" y="2"/>
                        <a:pt x="2" y="3"/>
                        <a:pt x="1" y="3"/>
                      </a:cubicBezTo>
                      <a:cubicBezTo>
                        <a:pt x="1" y="3"/>
                        <a:pt x="1" y="3"/>
                        <a:pt x="0" y="2"/>
                      </a:cubicBezTo>
                      <a:lnTo>
                        <a:pt x="0" y="2"/>
                      </a:lnTo>
                      <a:lnTo>
                        <a:pt x="0" y="2"/>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4" name="Freeform 318"/>
                <p:cNvSpPr>
                  <a:spLocks/>
                </p:cNvSpPr>
                <p:nvPr>
                  <p:custDataLst>
                    <p:tags r:id="rId300"/>
                  </p:custDataLst>
                </p:nvPr>
              </p:nvSpPr>
              <p:spPr bwMode="gray">
                <a:xfrm>
                  <a:off x="7937262" y="4634135"/>
                  <a:ext cx="19744" cy="22015"/>
                </a:xfrm>
                <a:custGeom>
                  <a:avLst/>
                  <a:gdLst>
                    <a:gd name="T0" fmla="*/ 0 w 2"/>
                    <a:gd name="T1" fmla="*/ 2 h 2"/>
                    <a:gd name="T2" fmla="*/ 2 w 2"/>
                    <a:gd name="T3" fmla="*/ 2 h 2"/>
                    <a:gd name="T4" fmla="*/ 1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0" y="2"/>
                        <a:pt x="2" y="2"/>
                        <a:pt x="2" y="2"/>
                      </a:cubicBezTo>
                      <a:cubicBezTo>
                        <a:pt x="2" y="1"/>
                        <a:pt x="1" y="1"/>
                        <a:pt x="1" y="0"/>
                      </a:cubicBezTo>
                      <a:cubicBezTo>
                        <a:pt x="1"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5" name="Freeform 319"/>
                <p:cNvSpPr>
                  <a:spLocks/>
                </p:cNvSpPr>
                <p:nvPr>
                  <p:custDataLst>
                    <p:tags r:id="rId301"/>
                  </p:custDataLst>
                </p:nvPr>
              </p:nvSpPr>
              <p:spPr bwMode="gray">
                <a:xfrm>
                  <a:off x="7714438" y="4813401"/>
                  <a:ext cx="11282" cy="22015"/>
                </a:xfrm>
                <a:custGeom>
                  <a:avLst/>
                  <a:gdLst>
                    <a:gd name="T0" fmla="*/ 0 w 1"/>
                    <a:gd name="T1" fmla="*/ 0 h 2"/>
                    <a:gd name="T2" fmla="*/ 1 w 1"/>
                    <a:gd name="T3" fmla="*/ 2 h 2"/>
                    <a:gd name="T4" fmla="*/ 1 w 1"/>
                    <a:gd name="T5" fmla="*/ 0 h 2"/>
                    <a:gd name="T6" fmla="*/ 1 w 1"/>
                    <a:gd name="T7" fmla="*/ 0 h 2"/>
                    <a:gd name="T8" fmla="*/ 0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1"/>
                        <a:pt x="0" y="2"/>
                        <a:pt x="1" y="2"/>
                      </a:cubicBezTo>
                      <a:cubicBezTo>
                        <a:pt x="1" y="1"/>
                        <a:pt x="1" y="1"/>
                        <a:pt x="1" y="0"/>
                      </a:cubicBezTo>
                      <a:lnTo>
                        <a:pt x="1"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6" name="Freeform 320"/>
                <p:cNvSpPr>
                  <a:spLocks/>
                </p:cNvSpPr>
                <p:nvPr>
                  <p:custDataLst>
                    <p:tags r:id="rId302"/>
                  </p:custDataLst>
                </p:nvPr>
              </p:nvSpPr>
              <p:spPr bwMode="gray">
                <a:xfrm>
                  <a:off x="7745465" y="4723767"/>
                  <a:ext cx="19744" cy="20443"/>
                </a:xfrm>
                <a:custGeom>
                  <a:avLst/>
                  <a:gdLst>
                    <a:gd name="T0" fmla="*/ 0 w 2"/>
                    <a:gd name="T1" fmla="*/ 0 h 2"/>
                    <a:gd name="T2" fmla="*/ 1 w 2"/>
                    <a:gd name="T3" fmla="*/ 2 h 2"/>
                    <a:gd name="T4" fmla="*/ 2 w 2"/>
                    <a:gd name="T5" fmla="*/ 1 h 2"/>
                    <a:gd name="T6" fmla="*/ 0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1" y="2"/>
                        <a:pt x="1" y="2"/>
                      </a:cubicBezTo>
                      <a:cubicBezTo>
                        <a:pt x="1" y="2"/>
                        <a:pt x="2" y="2"/>
                        <a:pt x="2" y="1"/>
                      </a:cubicBezTo>
                      <a:cubicBezTo>
                        <a:pt x="2"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7" name="Freeform 321"/>
                <p:cNvSpPr>
                  <a:spLocks/>
                </p:cNvSpPr>
                <p:nvPr>
                  <p:custDataLst>
                    <p:tags r:id="rId303"/>
                  </p:custDataLst>
                </p:nvPr>
              </p:nvSpPr>
              <p:spPr bwMode="gray">
                <a:xfrm>
                  <a:off x="7796235" y="4835416"/>
                  <a:ext cx="1833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2"/>
                        <a:pt x="2"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8" name="Freeform 322"/>
                <p:cNvSpPr>
                  <a:spLocks/>
                </p:cNvSpPr>
                <p:nvPr>
                  <p:custDataLst>
                    <p:tags r:id="rId304"/>
                  </p:custDataLst>
                </p:nvPr>
              </p:nvSpPr>
              <p:spPr bwMode="gray">
                <a:xfrm>
                  <a:off x="7875210" y="4857431"/>
                  <a:ext cx="11282" cy="12580"/>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89" name="Freeform 323"/>
                <p:cNvSpPr>
                  <a:spLocks/>
                </p:cNvSpPr>
                <p:nvPr>
                  <p:custDataLst>
                    <p:tags r:id="rId305"/>
                  </p:custDataLst>
                </p:nvPr>
              </p:nvSpPr>
              <p:spPr bwMode="gray">
                <a:xfrm>
                  <a:off x="7825851" y="4835416"/>
                  <a:ext cx="49359" cy="34595"/>
                </a:xfrm>
                <a:custGeom>
                  <a:avLst/>
                  <a:gdLst>
                    <a:gd name="T0" fmla="*/ 0 w 5"/>
                    <a:gd name="T1" fmla="*/ 2 h 3"/>
                    <a:gd name="T2" fmla="*/ 0 w 5"/>
                    <a:gd name="T3" fmla="*/ 0 h 3"/>
                    <a:gd name="T4" fmla="*/ 1 w 5"/>
                    <a:gd name="T5" fmla="*/ 0 h 3"/>
                    <a:gd name="T6" fmla="*/ 5 w 5"/>
                    <a:gd name="T7" fmla="*/ 1 h 3"/>
                    <a:gd name="T8" fmla="*/ 5 w 5"/>
                    <a:gd name="T9" fmla="*/ 1 h 3"/>
                    <a:gd name="T10" fmla="*/ 5 w 5"/>
                    <a:gd name="T11" fmla="*/ 2 h 3"/>
                    <a:gd name="T12" fmla="*/ 3 w 5"/>
                    <a:gd name="T13" fmla="*/ 3 h 3"/>
                    <a:gd name="T14" fmla="*/ 3 w 5"/>
                    <a:gd name="T15" fmla="*/ 3 h 3"/>
                    <a:gd name="T16" fmla="*/ 1 w 5"/>
                    <a:gd name="T17" fmla="*/ 2 h 3"/>
                    <a:gd name="T18" fmla="*/ 0 w 5"/>
                    <a:gd name="T19" fmla="*/ 2 h 3"/>
                    <a:gd name="T20" fmla="*/ 0 w 5"/>
                    <a:gd name="T21" fmla="*/ 2 h 3"/>
                    <a:gd name="T22" fmla="*/ 0 w 5"/>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2"/>
                      </a:moveTo>
                      <a:cubicBezTo>
                        <a:pt x="0" y="2"/>
                        <a:pt x="0" y="1"/>
                        <a:pt x="0" y="0"/>
                      </a:cubicBezTo>
                      <a:cubicBezTo>
                        <a:pt x="0" y="0"/>
                        <a:pt x="0" y="0"/>
                        <a:pt x="1" y="0"/>
                      </a:cubicBezTo>
                      <a:cubicBezTo>
                        <a:pt x="2" y="0"/>
                        <a:pt x="3" y="1"/>
                        <a:pt x="5" y="1"/>
                      </a:cubicBezTo>
                      <a:lnTo>
                        <a:pt x="5" y="1"/>
                      </a:lnTo>
                      <a:lnTo>
                        <a:pt x="5" y="2"/>
                      </a:lnTo>
                      <a:lnTo>
                        <a:pt x="3" y="3"/>
                      </a:lnTo>
                      <a:lnTo>
                        <a:pt x="3" y="3"/>
                      </a:lnTo>
                      <a:cubicBezTo>
                        <a:pt x="2" y="3"/>
                        <a:pt x="1" y="2"/>
                        <a:pt x="1" y="2"/>
                      </a:cubicBezTo>
                      <a:cubicBezTo>
                        <a:pt x="1" y="2"/>
                        <a:pt x="1"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0" name="Freeform 324"/>
                <p:cNvSpPr>
                  <a:spLocks/>
                </p:cNvSpPr>
                <p:nvPr>
                  <p:custDataLst>
                    <p:tags r:id="rId306"/>
                  </p:custDataLst>
                </p:nvPr>
              </p:nvSpPr>
              <p:spPr bwMode="gray">
                <a:xfrm>
                  <a:off x="7454948" y="4835416"/>
                  <a:ext cx="28206" cy="34595"/>
                </a:xfrm>
                <a:custGeom>
                  <a:avLst/>
                  <a:gdLst>
                    <a:gd name="T0" fmla="*/ 0 w 3"/>
                    <a:gd name="T1" fmla="*/ 3 h 3"/>
                    <a:gd name="T2" fmla="*/ 2 w 3"/>
                    <a:gd name="T3" fmla="*/ 0 h 3"/>
                    <a:gd name="T4" fmla="*/ 3 w 3"/>
                    <a:gd name="T5" fmla="*/ 1 h 3"/>
                    <a:gd name="T6" fmla="*/ 1 w 3"/>
                    <a:gd name="T7" fmla="*/ 3 h 3"/>
                    <a:gd name="T8" fmla="*/ 1 w 3"/>
                    <a:gd name="T9" fmla="*/ 3 h 3"/>
                    <a:gd name="T10" fmla="*/ 0 w 3"/>
                    <a:gd name="T11" fmla="*/ 3 h 3"/>
                    <a:gd name="T12" fmla="*/ 0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3"/>
                      </a:moveTo>
                      <a:cubicBezTo>
                        <a:pt x="0" y="2"/>
                        <a:pt x="1" y="1"/>
                        <a:pt x="2" y="0"/>
                      </a:cubicBezTo>
                      <a:cubicBezTo>
                        <a:pt x="2" y="1"/>
                        <a:pt x="2" y="1"/>
                        <a:pt x="3" y="1"/>
                      </a:cubicBezTo>
                      <a:cubicBezTo>
                        <a:pt x="2" y="2"/>
                        <a:pt x="2" y="3"/>
                        <a:pt x="1" y="3"/>
                      </a:cubicBezTo>
                      <a:lnTo>
                        <a:pt x="1" y="3"/>
                      </a:ln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1" name="Freeform 325"/>
                <p:cNvSpPr>
                  <a:spLocks/>
                </p:cNvSpPr>
                <p:nvPr>
                  <p:custDataLst>
                    <p:tags r:id="rId307"/>
                  </p:custDataLst>
                </p:nvPr>
              </p:nvSpPr>
              <p:spPr bwMode="gray">
                <a:xfrm>
                  <a:off x="7493027" y="4734776"/>
                  <a:ext cx="172053" cy="78626"/>
                </a:xfrm>
                <a:custGeom>
                  <a:avLst/>
                  <a:gdLst>
                    <a:gd name="T0" fmla="*/ 2 w 17"/>
                    <a:gd name="T1" fmla="*/ 3 h 7"/>
                    <a:gd name="T2" fmla="*/ 2 w 17"/>
                    <a:gd name="T3" fmla="*/ 2 h 7"/>
                    <a:gd name="T4" fmla="*/ 5 w 17"/>
                    <a:gd name="T5" fmla="*/ 1 h 7"/>
                    <a:gd name="T6" fmla="*/ 7 w 17"/>
                    <a:gd name="T7" fmla="*/ 2 h 7"/>
                    <a:gd name="T8" fmla="*/ 9 w 17"/>
                    <a:gd name="T9" fmla="*/ 1 h 7"/>
                    <a:gd name="T10" fmla="*/ 14 w 17"/>
                    <a:gd name="T11" fmla="*/ 0 h 7"/>
                    <a:gd name="T12" fmla="*/ 17 w 17"/>
                    <a:gd name="T13" fmla="*/ 2 h 7"/>
                    <a:gd name="T14" fmla="*/ 13 w 17"/>
                    <a:gd name="T15" fmla="*/ 4 h 7"/>
                    <a:gd name="T16" fmla="*/ 11 w 17"/>
                    <a:gd name="T17" fmla="*/ 6 h 7"/>
                    <a:gd name="T18" fmla="*/ 9 w 17"/>
                    <a:gd name="T19" fmla="*/ 6 h 7"/>
                    <a:gd name="T20" fmla="*/ 5 w 17"/>
                    <a:gd name="T21" fmla="*/ 5 h 7"/>
                    <a:gd name="T22" fmla="*/ 3 w 17"/>
                    <a:gd name="T23" fmla="*/ 6 h 7"/>
                    <a:gd name="T24" fmla="*/ 0 w 17"/>
                    <a:gd name="T25" fmla="*/ 7 h 7"/>
                    <a:gd name="T26" fmla="*/ 2 w 17"/>
                    <a:gd name="T27" fmla="*/ 3 h 7"/>
                    <a:gd name="T28" fmla="*/ 2 w 17"/>
                    <a:gd name="T29" fmla="*/ 3 h 7"/>
                    <a:gd name="T30" fmla="*/ 2 w 17"/>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7">
                      <a:moveTo>
                        <a:pt x="2" y="3"/>
                      </a:moveTo>
                      <a:cubicBezTo>
                        <a:pt x="2" y="3"/>
                        <a:pt x="2" y="2"/>
                        <a:pt x="2" y="2"/>
                      </a:cubicBezTo>
                      <a:cubicBezTo>
                        <a:pt x="3" y="2"/>
                        <a:pt x="4" y="1"/>
                        <a:pt x="5" y="1"/>
                      </a:cubicBezTo>
                      <a:cubicBezTo>
                        <a:pt x="6" y="1"/>
                        <a:pt x="6" y="2"/>
                        <a:pt x="7" y="2"/>
                      </a:cubicBezTo>
                      <a:cubicBezTo>
                        <a:pt x="8" y="2"/>
                        <a:pt x="9" y="1"/>
                        <a:pt x="9" y="1"/>
                      </a:cubicBezTo>
                      <a:cubicBezTo>
                        <a:pt x="11" y="1"/>
                        <a:pt x="12" y="0"/>
                        <a:pt x="14" y="0"/>
                      </a:cubicBezTo>
                      <a:cubicBezTo>
                        <a:pt x="14" y="1"/>
                        <a:pt x="17" y="1"/>
                        <a:pt x="17" y="2"/>
                      </a:cubicBezTo>
                      <a:cubicBezTo>
                        <a:pt x="17" y="4"/>
                        <a:pt x="14" y="2"/>
                        <a:pt x="13" y="4"/>
                      </a:cubicBezTo>
                      <a:cubicBezTo>
                        <a:pt x="13" y="4"/>
                        <a:pt x="13" y="6"/>
                        <a:pt x="11" y="6"/>
                      </a:cubicBezTo>
                      <a:cubicBezTo>
                        <a:pt x="10" y="6"/>
                        <a:pt x="9" y="5"/>
                        <a:pt x="9" y="6"/>
                      </a:cubicBezTo>
                      <a:cubicBezTo>
                        <a:pt x="9" y="6"/>
                        <a:pt x="6" y="5"/>
                        <a:pt x="5" y="5"/>
                      </a:cubicBezTo>
                      <a:cubicBezTo>
                        <a:pt x="4" y="5"/>
                        <a:pt x="3" y="5"/>
                        <a:pt x="3" y="6"/>
                      </a:cubicBezTo>
                      <a:cubicBezTo>
                        <a:pt x="2" y="7"/>
                        <a:pt x="1" y="7"/>
                        <a:pt x="0" y="7"/>
                      </a:cubicBezTo>
                      <a:cubicBezTo>
                        <a:pt x="0" y="6"/>
                        <a:pt x="1" y="4"/>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2" name="Freeform 326"/>
                <p:cNvSpPr>
                  <a:spLocks/>
                </p:cNvSpPr>
                <p:nvPr>
                  <p:custDataLst>
                    <p:tags r:id="rId308"/>
                  </p:custDataLst>
                </p:nvPr>
              </p:nvSpPr>
              <p:spPr bwMode="gray">
                <a:xfrm>
                  <a:off x="7273024" y="4835415"/>
                  <a:ext cx="131155" cy="67618"/>
                </a:xfrm>
                <a:custGeom>
                  <a:avLst/>
                  <a:gdLst>
                    <a:gd name="T0" fmla="*/ 2 w 13"/>
                    <a:gd name="T1" fmla="*/ 2 h 6"/>
                    <a:gd name="T2" fmla="*/ 2 w 13"/>
                    <a:gd name="T3" fmla="*/ 1 h 6"/>
                    <a:gd name="T4" fmla="*/ 3 w 13"/>
                    <a:gd name="T5" fmla="*/ 0 h 6"/>
                    <a:gd name="T6" fmla="*/ 3 w 13"/>
                    <a:gd name="T7" fmla="*/ 0 h 6"/>
                    <a:gd name="T8" fmla="*/ 4 w 13"/>
                    <a:gd name="T9" fmla="*/ 0 h 6"/>
                    <a:gd name="T10" fmla="*/ 4 w 13"/>
                    <a:gd name="T11" fmla="*/ 0 h 6"/>
                    <a:gd name="T12" fmla="*/ 4 w 13"/>
                    <a:gd name="T13" fmla="*/ 1 h 6"/>
                    <a:gd name="T14" fmla="*/ 9 w 13"/>
                    <a:gd name="T15" fmla="*/ 0 h 6"/>
                    <a:gd name="T16" fmla="*/ 9 w 13"/>
                    <a:gd name="T17" fmla="*/ 0 h 6"/>
                    <a:gd name="T18" fmla="*/ 12 w 13"/>
                    <a:gd name="T19" fmla="*/ 1 h 6"/>
                    <a:gd name="T20" fmla="*/ 12 w 13"/>
                    <a:gd name="T21" fmla="*/ 1 h 6"/>
                    <a:gd name="T22" fmla="*/ 12 w 13"/>
                    <a:gd name="T23" fmla="*/ 2 h 6"/>
                    <a:gd name="T24" fmla="*/ 13 w 13"/>
                    <a:gd name="T25" fmla="*/ 2 h 6"/>
                    <a:gd name="T26" fmla="*/ 13 w 13"/>
                    <a:gd name="T27" fmla="*/ 2 h 6"/>
                    <a:gd name="T28" fmla="*/ 13 w 13"/>
                    <a:gd name="T29" fmla="*/ 3 h 6"/>
                    <a:gd name="T30" fmla="*/ 13 w 13"/>
                    <a:gd name="T31" fmla="*/ 3 h 6"/>
                    <a:gd name="T32" fmla="*/ 11 w 13"/>
                    <a:gd name="T33" fmla="*/ 5 h 6"/>
                    <a:gd name="T34" fmla="*/ 11 w 13"/>
                    <a:gd name="T35" fmla="*/ 5 h 6"/>
                    <a:gd name="T36" fmla="*/ 8 w 13"/>
                    <a:gd name="T37" fmla="*/ 5 h 6"/>
                    <a:gd name="T38" fmla="*/ 8 w 13"/>
                    <a:gd name="T39" fmla="*/ 5 h 6"/>
                    <a:gd name="T40" fmla="*/ 4 w 13"/>
                    <a:gd name="T41" fmla="*/ 6 h 6"/>
                    <a:gd name="T42" fmla="*/ 2 w 13"/>
                    <a:gd name="T43" fmla="*/ 5 h 6"/>
                    <a:gd name="T44" fmla="*/ 1 w 13"/>
                    <a:gd name="T45" fmla="*/ 6 h 6"/>
                    <a:gd name="T46" fmla="*/ 1 w 13"/>
                    <a:gd name="T47" fmla="*/ 6 h 6"/>
                    <a:gd name="T48" fmla="*/ 0 w 13"/>
                    <a:gd name="T49" fmla="*/ 6 h 6"/>
                    <a:gd name="T50" fmla="*/ 0 w 13"/>
                    <a:gd name="T51" fmla="*/ 6 h 6"/>
                    <a:gd name="T52" fmla="*/ 2 w 13"/>
                    <a:gd name="T53" fmla="*/ 2 h 6"/>
                    <a:gd name="T54" fmla="*/ 2 w 13"/>
                    <a:gd name="T55" fmla="*/ 2 h 6"/>
                    <a:gd name="T56" fmla="*/ 2 w 13"/>
                    <a:gd name="T5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
                      <a:moveTo>
                        <a:pt x="2" y="2"/>
                      </a:moveTo>
                      <a:cubicBezTo>
                        <a:pt x="2" y="2"/>
                        <a:pt x="2" y="2"/>
                        <a:pt x="2" y="1"/>
                      </a:cubicBezTo>
                      <a:cubicBezTo>
                        <a:pt x="2" y="1"/>
                        <a:pt x="2" y="0"/>
                        <a:pt x="3" y="0"/>
                      </a:cubicBezTo>
                      <a:lnTo>
                        <a:pt x="3" y="0"/>
                      </a:lnTo>
                      <a:lnTo>
                        <a:pt x="4" y="0"/>
                      </a:lnTo>
                      <a:lnTo>
                        <a:pt x="4" y="0"/>
                      </a:lnTo>
                      <a:cubicBezTo>
                        <a:pt x="4" y="0"/>
                        <a:pt x="3" y="1"/>
                        <a:pt x="4" y="1"/>
                      </a:cubicBezTo>
                      <a:cubicBezTo>
                        <a:pt x="4" y="1"/>
                        <a:pt x="9" y="1"/>
                        <a:pt x="9" y="0"/>
                      </a:cubicBezTo>
                      <a:lnTo>
                        <a:pt x="9" y="0"/>
                      </a:lnTo>
                      <a:lnTo>
                        <a:pt x="12" y="1"/>
                      </a:lnTo>
                      <a:lnTo>
                        <a:pt x="12" y="1"/>
                      </a:lnTo>
                      <a:cubicBezTo>
                        <a:pt x="12" y="1"/>
                        <a:pt x="12" y="1"/>
                        <a:pt x="12" y="2"/>
                      </a:cubicBezTo>
                      <a:cubicBezTo>
                        <a:pt x="12" y="2"/>
                        <a:pt x="13" y="2"/>
                        <a:pt x="13" y="2"/>
                      </a:cubicBezTo>
                      <a:lnTo>
                        <a:pt x="13" y="2"/>
                      </a:lnTo>
                      <a:lnTo>
                        <a:pt x="13" y="3"/>
                      </a:lnTo>
                      <a:lnTo>
                        <a:pt x="13" y="3"/>
                      </a:lnTo>
                      <a:cubicBezTo>
                        <a:pt x="12" y="4"/>
                        <a:pt x="12" y="4"/>
                        <a:pt x="11" y="5"/>
                      </a:cubicBezTo>
                      <a:lnTo>
                        <a:pt x="11" y="5"/>
                      </a:lnTo>
                      <a:lnTo>
                        <a:pt x="8" y="5"/>
                      </a:lnTo>
                      <a:lnTo>
                        <a:pt x="8" y="5"/>
                      </a:lnTo>
                      <a:cubicBezTo>
                        <a:pt x="7" y="6"/>
                        <a:pt x="6" y="6"/>
                        <a:pt x="4" y="6"/>
                      </a:cubicBezTo>
                      <a:cubicBezTo>
                        <a:pt x="3" y="6"/>
                        <a:pt x="2" y="5"/>
                        <a:pt x="2" y="5"/>
                      </a:cubicBezTo>
                      <a:cubicBezTo>
                        <a:pt x="2" y="6"/>
                        <a:pt x="1" y="6"/>
                        <a:pt x="1" y="6"/>
                      </a:cubicBezTo>
                      <a:lnTo>
                        <a:pt x="1" y="6"/>
                      </a:lnTo>
                      <a:lnTo>
                        <a:pt x="0" y="6"/>
                      </a:lnTo>
                      <a:lnTo>
                        <a:pt x="0" y="6"/>
                      </a:lnTo>
                      <a:cubicBezTo>
                        <a:pt x="0" y="5"/>
                        <a:pt x="2" y="3"/>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3" name="Freeform 327"/>
                <p:cNvSpPr>
                  <a:spLocks/>
                </p:cNvSpPr>
                <p:nvPr>
                  <p:custDataLst>
                    <p:tags r:id="rId309"/>
                  </p:custDataLst>
                </p:nvPr>
              </p:nvSpPr>
              <p:spPr bwMode="gray">
                <a:xfrm>
                  <a:off x="7102381" y="5228544"/>
                  <a:ext cx="39488" cy="22015"/>
                </a:xfrm>
                <a:custGeom>
                  <a:avLst/>
                  <a:gdLst>
                    <a:gd name="T0" fmla="*/ 1 w 4"/>
                    <a:gd name="T1" fmla="*/ 2 h 2"/>
                    <a:gd name="T2" fmla="*/ 1 w 4"/>
                    <a:gd name="T3" fmla="*/ 1 h 2"/>
                    <a:gd name="T4" fmla="*/ 3 w 4"/>
                    <a:gd name="T5" fmla="*/ 0 h 2"/>
                    <a:gd name="T6" fmla="*/ 2 w 4"/>
                    <a:gd name="T7" fmla="*/ 2 h 2"/>
                    <a:gd name="T8" fmla="*/ 1 w 4"/>
                    <a:gd name="T9" fmla="*/ 2 h 2"/>
                    <a:gd name="T10" fmla="*/ 1 w 4"/>
                    <a:gd name="T11" fmla="*/ 2 h 2"/>
                    <a:gd name="T12" fmla="*/ 1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2"/>
                      </a:moveTo>
                      <a:cubicBezTo>
                        <a:pt x="0" y="2"/>
                        <a:pt x="1" y="2"/>
                        <a:pt x="1" y="1"/>
                      </a:cubicBezTo>
                      <a:cubicBezTo>
                        <a:pt x="1" y="0"/>
                        <a:pt x="3" y="0"/>
                        <a:pt x="3" y="0"/>
                      </a:cubicBezTo>
                      <a:cubicBezTo>
                        <a:pt x="4" y="1"/>
                        <a:pt x="3" y="2"/>
                        <a:pt x="2" y="2"/>
                      </a:cubicBezTo>
                      <a:cubicBezTo>
                        <a:pt x="1"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4" name="Freeform 328"/>
                <p:cNvSpPr>
                  <a:spLocks/>
                </p:cNvSpPr>
                <p:nvPr>
                  <p:custDataLst>
                    <p:tags r:id="rId310"/>
                  </p:custDataLst>
                </p:nvPr>
              </p:nvSpPr>
              <p:spPr bwMode="gray">
                <a:xfrm>
                  <a:off x="6861225" y="5282010"/>
                  <a:ext cx="39488" cy="23588"/>
                </a:xfrm>
                <a:custGeom>
                  <a:avLst/>
                  <a:gdLst>
                    <a:gd name="T0" fmla="*/ 0 w 4"/>
                    <a:gd name="T1" fmla="*/ 2 h 2"/>
                    <a:gd name="T2" fmla="*/ 4 w 4"/>
                    <a:gd name="T3" fmla="*/ 0 h 2"/>
                    <a:gd name="T4" fmla="*/ 4 w 4"/>
                    <a:gd name="T5" fmla="*/ 0 h 2"/>
                    <a:gd name="T6" fmla="*/ 4 w 4"/>
                    <a:gd name="T7" fmla="*/ 0 h 2"/>
                    <a:gd name="T8" fmla="*/ 1 w 4"/>
                    <a:gd name="T9" fmla="*/ 2 h 2"/>
                    <a:gd name="T10" fmla="*/ 0 w 4"/>
                    <a:gd name="T11" fmla="*/ 2 h 2"/>
                    <a:gd name="T12" fmla="*/ 0 w 4"/>
                    <a:gd name="T13" fmla="*/ 2 h 2"/>
                    <a:gd name="T14" fmla="*/ 0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2"/>
                      </a:moveTo>
                      <a:cubicBezTo>
                        <a:pt x="0" y="1"/>
                        <a:pt x="2" y="0"/>
                        <a:pt x="4" y="0"/>
                      </a:cubicBezTo>
                      <a:cubicBezTo>
                        <a:pt x="4" y="0"/>
                        <a:pt x="4" y="0"/>
                        <a:pt x="4" y="0"/>
                      </a:cubicBezTo>
                      <a:cubicBezTo>
                        <a:pt x="4" y="0"/>
                        <a:pt x="4" y="0"/>
                        <a:pt x="4" y="0"/>
                      </a:cubicBezTo>
                      <a:cubicBezTo>
                        <a:pt x="4" y="2"/>
                        <a:pt x="3" y="2"/>
                        <a:pt x="1" y="2"/>
                      </a:cubicBezTo>
                      <a:cubicBezTo>
                        <a:pt x="1" y="2"/>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5" name="Freeform 329"/>
                <p:cNvSpPr>
                  <a:spLocks/>
                </p:cNvSpPr>
                <p:nvPr>
                  <p:custDataLst>
                    <p:tags r:id="rId311"/>
                  </p:custDataLst>
                </p:nvPr>
              </p:nvSpPr>
              <p:spPr bwMode="gray">
                <a:xfrm>
                  <a:off x="6830199" y="5305597"/>
                  <a:ext cx="9871" cy="11009"/>
                </a:xfrm>
                <a:custGeom>
                  <a:avLst/>
                  <a:gdLst>
                    <a:gd name="T0" fmla="*/ 0 w 1"/>
                    <a:gd name="T1" fmla="*/ 1 h 1"/>
                    <a:gd name="T2" fmla="*/ 1 w 1"/>
                    <a:gd name="T3" fmla="*/ 1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lnTo>
                        <a:pt x="1" y="1"/>
                      </a:lnTo>
                      <a:lnTo>
                        <a:pt x="1" y="0"/>
                      </a:lnTo>
                      <a:lnTo>
                        <a:pt x="1" y="0"/>
                      </a:ln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6" name="Freeform 330"/>
                <p:cNvSpPr>
                  <a:spLocks/>
                </p:cNvSpPr>
                <p:nvPr>
                  <p:custDataLst>
                    <p:tags r:id="rId312"/>
                  </p:custDataLst>
                </p:nvPr>
              </p:nvSpPr>
              <p:spPr bwMode="gray">
                <a:xfrm>
                  <a:off x="7031868" y="5294590"/>
                  <a:ext cx="100129" cy="78626"/>
                </a:xfrm>
                <a:custGeom>
                  <a:avLst/>
                  <a:gdLst>
                    <a:gd name="T0" fmla="*/ 0 w 10"/>
                    <a:gd name="T1" fmla="*/ 7 h 7"/>
                    <a:gd name="T2" fmla="*/ 1 w 10"/>
                    <a:gd name="T3" fmla="*/ 5 h 7"/>
                    <a:gd name="T4" fmla="*/ 1 w 10"/>
                    <a:gd name="T5" fmla="*/ 4 h 7"/>
                    <a:gd name="T6" fmla="*/ 4 w 10"/>
                    <a:gd name="T7" fmla="*/ 3 h 7"/>
                    <a:gd name="T8" fmla="*/ 6 w 10"/>
                    <a:gd name="T9" fmla="*/ 0 h 7"/>
                    <a:gd name="T10" fmla="*/ 9 w 10"/>
                    <a:gd name="T11" fmla="*/ 0 h 7"/>
                    <a:gd name="T12" fmla="*/ 9 w 10"/>
                    <a:gd name="T13" fmla="*/ 1 h 7"/>
                    <a:gd name="T14" fmla="*/ 10 w 10"/>
                    <a:gd name="T15" fmla="*/ 2 h 7"/>
                    <a:gd name="T16" fmla="*/ 0 w 10"/>
                    <a:gd name="T17" fmla="*/ 7 h 7"/>
                    <a:gd name="T18" fmla="*/ 0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cubicBezTo>
                        <a:pt x="0" y="5"/>
                        <a:pt x="1" y="5"/>
                        <a:pt x="1" y="5"/>
                      </a:cubicBezTo>
                      <a:cubicBezTo>
                        <a:pt x="1" y="4"/>
                        <a:pt x="1" y="4"/>
                        <a:pt x="1" y="4"/>
                      </a:cubicBezTo>
                      <a:cubicBezTo>
                        <a:pt x="0" y="3"/>
                        <a:pt x="4" y="3"/>
                        <a:pt x="4" y="3"/>
                      </a:cubicBezTo>
                      <a:cubicBezTo>
                        <a:pt x="5" y="2"/>
                        <a:pt x="6" y="1"/>
                        <a:pt x="6" y="0"/>
                      </a:cubicBezTo>
                      <a:cubicBezTo>
                        <a:pt x="8" y="0"/>
                        <a:pt x="9" y="0"/>
                        <a:pt x="9" y="0"/>
                      </a:cubicBezTo>
                      <a:cubicBezTo>
                        <a:pt x="9" y="0"/>
                        <a:pt x="9" y="0"/>
                        <a:pt x="9" y="1"/>
                      </a:cubicBezTo>
                      <a:cubicBezTo>
                        <a:pt x="9" y="1"/>
                        <a:pt x="10" y="1"/>
                        <a:pt x="10" y="2"/>
                      </a:cubicBezTo>
                      <a:cubicBezTo>
                        <a:pt x="8" y="4"/>
                        <a:pt x="3" y="7"/>
                        <a:pt x="0" y="7"/>
                      </a:cubicBezTo>
                      <a:lnTo>
                        <a:pt x="0" y="7"/>
                      </a:lnTo>
                      <a:lnTo>
                        <a:pt x="0"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7" name="Freeform 331"/>
                <p:cNvSpPr>
                  <a:spLocks/>
                </p:cNvSpPr>
                <p:nvPr>
                  <p:custDataLst>
                    <p:tags r:id="rId313"/>
                  </p:custDataLst>
                </p:nvPr>
              </p:nvSpPr>
              <p:spPr bwMode="gray">
                <a:xfrm>
                  <a:off x="6951482" y="4892026"/>
                  <a:ext cx="19744" cy="11008"/>
                </a:xfrm>
                <a:custGeom>
                  <a:avLst/>
                  <a:gdLst>
                    <a:gd name="T0" fmla="*/ 0 w 2"/>
                    <a:gd name="T1" fmla="*/ 0 h 1"/>
                    <a:gd name="T2" fmla="*/ 1 w 2"/>
                    <a:gd name="T3" fmla="*/ 0 h 1"/>
                    <a:gd name="T4" fmla="*/ 2 w 2"/>
                    <a:gd name="T5" fmla="*/ 0 h 1"/>
                    <a:gd name="T6" fmla="*/ 1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1" y="0"/>
                        <a:pt x="1" y="0"/>
                      </a:cubicBezTo>
                      <a:cubicBezTo>
                        <a:pt x="2" y="0"/>
                        <a:pt x="2" y="0"/>
                        <a:pt x="2" y="0"/>
                      </a:cubicBezTo>
                      <a:cubicBezTo>
                        <a:pt x="2" y="1"/>
                        <a:pt x="2"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8" name="Freeform 332"/>
                <p:cNvSpPr>
                  <a:spLocks/>
                </p:cNvSpPr>
                <p:nvPr>
                  <p:custDataLst>
                    <p:tags r:id="rId314"/>
                  </p:custDataLst>
                </p:nvPr>
              </p:nvSpPr>
              <p:spPr bwMode="gray">
                <a:xfrm>
                  <a:off x="6849942" y="4870012"/>
                  <a:ext cx="1128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199" name="Freeform 333"/>
                <p:cNvSpPr>
                  <a:spLocks/>
                </p:cNvSpPr>
                <p:nvPr>
                  <p:custDataLst>
                    <p:tags r:id="rId315"/>
                  </p:custDataLst>
                </p:nvPr>
              </p:nvSpPr>
              <p:spPr bwMode="gray">
                <a:xfrm>
                  <a:off x="6710326" y="4577525"/>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0" name="Freeform 334"/>
                <p:cNvSpPr>
                  <a:spLocks/>
                </p:cNvSpPr>
                <p:nvPr>
                  <p:custDataLst>
                    <p:tags r:id="rId316"/>
                  </p:custDataLst>
                </p:nvPr>
              </p:nvSpPr>
              <p:spPr bwMode="gray">
                <a:xfrm>
                  <a:off x="6378912" y="4577523"/>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1" name="Freeform 335"/>
                <p:cNvSpPr>
                  <a:spLocks/>
                </p:cNvSpPr>
                <p:nvPr>
                  <p:custDataLst>
                    <p:tags r:id="rId317"/>
                  </p:custDataLst>
                </p:nvPr>
              </p:nvSpPr>
              <p:spPr bwMode="gray">
                <a:xfrm>
                  <a:off x="6347886" y="4522485"/>
                  <a:ext cx="9871" cy="11009"/>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2" name="Freeform 336"/>
                <p:cNvSpPr>
                  <a:spLocks/>
                </p:cNvSpPr>
                <p:nvPr>
                  <p:custDataLst>
                    <p:tags r:id="rId318"/>
                  </p:custDataLst>
                </p:nvPr>
              </p:nvSpPr>
              <p:spPr bwMode="gray">
                <a:xfrm>
                  <a:off x="6428272" y="4835416"/>
                  <a:ext cx="21155" cy="34595"/>
                </a:xfrm>
                <a:custGeom>
                  <a:avLst/>
                  <a:gdLst>
                    <a:gd name="T0" fmla="*/ 0 w 2"/>
                    <a:gd name="T1" fmla="*/ 2 h 3"/>
                    <a:gd name="T2" fmla="*/ 1 w 2"/>
                    <a:gd name="T3" fmla="*/ 0 h 3"/>
                    <a:gd name="T4" fmla="*/ 2 w 2"/>
                    <a:gd name="T5" fmla="*/ 2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1" y="0"/>
                        <a:pt x="1" y="0"/>
                      </a:cubicBezTo>
                      <a:cubicBezTo>
                        <a:pt x="2" y="0"/>
                        <a:pt x="2" y="1"/>
                        <a:pt x="2" y="2"/>
                      </a:cubicBezTo>
                      <a:cubicBezTo>
                        <a:pt x="2" y="2"/>
                        <a:pt x="2" y="3"/>
                        <a:pt x="1" y="3"/>
                      </a:cubicBezTo>
                      <a:cubicBezTo>
                        <a:pt x="1"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3" name="Freeform 337"/>
                <p:cNvSpPr>
                  <a:spLocks/>
                </p:cNvSpPr>
                <p:nvPr>
                  <p:custDataLst>
                    <p:tags r:id="rId319"/>
                  </p:custDataLst>
                </p:nvPr>
              </p:nvSpPr>
              <p:spPr bwMode="gray">
                <a:xfrm>
                  <a:off x="7202511" y="4846423"/>
                  <a:ext cx="70513" cy="77053"/>
                </a:xfrm>
                <a:custGeom>
                  <a:avLst/>
                  <a:gdLst>
                    <a:gd name="T0" fmla="*/ 0 w 7"/>
                    <a:gd name="T1" fmla="*/ 5 h 7"/>
                    <a:gd name="T2" fmla="*/ 1 w 7"/>
                    <a:gd name="T3" fmla="*/ 2 h 7"/>
                    <a:gd name="T4" fmla="*/ 3 w 7"/>
                    <a:gd name="T5" fmla="*/ 2 h 7"/>
                    <a:gd name="T6" fmla="*/ 3 w 7"/>
                    <a:gd name="T7" fmla="*/ 3 h 7"/>
                    <a:gd name="T8" fmla="*/ 6 w 7"/>
                    <a:gd name="T9" fmla="*/ 0 h 7"/>
                    <a:gd name="T10" fmla="*/ 7 w 7"/>
                    <a:gd name="T11" fmla="*/ 0 h 7"/>
                    <a:gd name="T12" fmla="*/ 7 w 7"/>
                    <a:gd name="T13" fmla="*/ 1 h 7"/>
                    <a:gd name="T14" fmla="*/ 3 w 7"/>
                    <a:gd name="T15" fmla="*/ 7 h 7"/>
                    <a:gd name="T16" fmla="*/ 2 w 7"/>
                    <a:gd name="T17" fmla="*/ 6 h 7"/>
                    <a:gd name="T18" fmla="*/ 2 w 7"/>
                    <a:gd name="T19" fmla="*/ 5 h 7"/>
                    <a:gd name="T20" fmla="*/ 0 w 7"/>
                    <a:gd name="T21" fmla="*/ 5 h 7"/>
                    <a:gd name="T22" fmla="*/ 0 w 7"/>
                    <a:gd name="T23" fmla="*/ 5 h 7"/>
                    <a:gd name="T24" fmla="*/ 0 w 7"/>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5"/>
                      </a:moveTo>
                      <a:cubicBezTo>
                        <a:pt x="1" y="4"/>
                        <a:pt x="1" y="3"/>
                        <a:pt x="1" y="2"/>
                      </a:cubicBezTo>
                      <a:cubicBezTo>
                        <a:pt x="2" y="2"/>
                        <a:pt x="2" y="2"/>
                        <a:pt x="3" y="2"/>
                      </a:cubicBezTo>
                      <a:cubicBezTo>
                        <a:pt x="3" y="2"/>
                        <a:pt x="3" y="3"/>
                        <a:pt x="3" y="3"/>
                      </a:cubicBezTo>
                      <a:cubicBezTo>
                        <a:pt x="4" y="3"/>
                        <a:pt x="6" y="0"/>
                        <a:pt x="6" y="0"/>
                      </a:cubicBezTo>
                      <a:cubicBezTo>
                        <a:pt x="6" y="0"/>
                        <a:pt x="7" y="0"/>
                        <a:pt x="7" y="0"/>
                      </a:cubicBezTo>
                      <a:cubicBezTo>
                        <a:pt x="7" y="0"/>
                        <a:pt x="7" y="1"/>
                        <a:pt x="7" y="1"/>
                      </a:cubicBezTo>
                      <a:cubicBezTo>
                        <a:pt x="7" y="2"/>
                        <a:pt x="5" y="7"/>
                        <a:pt x="3" y="7"/>
                      </a:cubicBezTo>
                      <a:cubicBezTo>
                        <a:pt x="2" y="7"/>
                        <a:pt x="2" y="6"/>
                        <a:pt x="2" y="6"/>
                      </a:cubicBezTo>
                      <a:cubicBezTo>
                        <a:pt x="2" y="6"/>
                        <a:pt x="2" y="5"/>
                        <a:pt x="2" y="5"/>
                      </a:cubicBezTo>
                      <a:cubicBezTo>
                        <a:pt x="1" y="5"/>
                        <a:pt x="1"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4" name="Freeform 338"/>
                <p:cNvSpPr>
                  <a:spLocks/>
                </p:cNvSpPr>
                <p:nvPr>
                  <p:custDataLst>
                    <p:tags r:id="rId320"/>
                  </p:custDataLst>
                </p:nvPr>
              </p:nvSpPr>
              <p:spPr bwMode="gray">
                <a:xfrm>
                  <a:off x="7102381" y="4846423"/>
                  <a:ext cx="110001" cy="77053"/>
                </a:xfrm>
                <a:custGeom>
                  <a:avLst/>
                  <a:gdLst>
                    <a:gd name="T0" fmla="*/ 0 w 11"/>
                    <a:gd name="T1" fmla="*/ 6 h 7"/>
                    <a:gd name="T2" fmla="*/ 0 w 11"/>
                    <a:gd name="T3" fmla="*/ 5 h 7"/>
                    <a:gd name="T4" fmla="*/ 2 w 11"/>
                    <a:gd name="T5" fmla="*/ 4 h 7"/>
                    <a:gd name="T6" fmla="*/ 1 w 11"/>
                    <a:gd name="T7" fmla="*/ 2 h 7"/>
                    <a:gd name="T8" fmla="*/ 3 w 11"/>
                    <a:gd name="T9" fmla="*/ 1 h 7"/>
                    <a:gd name="T10" fmla="*/ 4 w 11"/>
                    <a:gd name="T11" fmla="*/ 2 h 7"/>
                    <a:gd name="T12" fmla="*/ 4 w 11"/>
                    <a:gd name="T13" fmla="*/ 3 h 7"/>
                    <a:gd name="T14" fmla="*/ 5 w 11"/>
                    <a:gd name="T15" fmla="*/ 4 h 7"/>
                    <a:gd name="T16" fmla="*/ 9 w 11"/>
                    <a:gd name="T17" fmla="*/ 0 h 7"/>
                    <a:gd name="T18" fmla="*/ 11 w 11"/>
                    <a:gd name="T19" fmla="*/ 1 h 7"/>
                    <a:gd name="T20" fmla="*/ 7 w 11"/>
                    <a:gd name="T21" fmla="*/ 4 h 7"/>
                    <a:gd name="T22" fmla="*/ 3 w 11"/>
                    <a:gd name="T23" fmla="*/ 7 h 7"/>
                    <a:gd name="T24" fmla="*/ 0 w 11"/>
                    <a:gd name="T25" fmla="*/ 6 h 7"/>
                    <a:gd name="T26" fmla="*/ 0 w 11"/>
                    <a:gd name="T27" fmla="*/ 6 h 7"/>
                    <a:gd name="T28" fmla="*/ 0 w 11"/>
                    <a:gd name="T2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7">
                      <a:moveTo>
                        <a:pt x="0" y="6"/>
                      </a:moveTo>
                      <a:cubicBezTo>
                        <a:pt x="0" y="6"/>
                        <a:pt x="0" y="5"/>
                        <a:pt x="0" y="5"/>
                      </a:cubicBezTo>
                      <a:cubicBezTo>
                        <a:pt x="0" y="4"/>
                        <a:pt x="2" y="4"/>
                        <a:pt x="2" y="4"/>
                      </a:cubicBezTo>
                      <a:cubicBezTo>
                        <a:pt x="2" y="3"/>
                        <a:pt x="1" y="2"/>
                        <a:pt x="1" y="2"/>
                      </a:cubicBezTo>
                      <a:cubicBezTo>
                        <a:pt x="1" y="2"/>
                        <a:pt x="3" y="1"/>
                        <a:pt x="3" y="1"/>
                      </a:cubicBezTo>
                      <a:cubicBezTo>
                        <a:pt x="3" y="1"/>
                        <a:pt x="4" y="2"/>
                        <a:pt x="4" y="2"/>
                      </a:cubicBezTo>
                      <a:cubicBezTo>
                        <a:pt x="4" y="2"/>
                        <a:pt x="4" y="2"/>
                        <a:pt x="4" y="3"/>
                      </a:cubicBezTo>
                      <a:cubicBezTo>
                        <a:pt x="4" y="3"/>
                        <a:pt x="4" y="4"/>
                        <a:pt x="5" y="4"/>
                      </a:cubicBezTo>
                      <a:cubicBezTo>
                        <a:pt x="5" y="1"/>
                        <a:pt x="6" y="0"/>
                        <a:pt x="9" y="0"/>
                      </a:cubicBezTo>
                      <a:cubicBezTo>
                        <a:pt x="9" y="0"/>
                        <a:pt x="11" y="1"/>
                        <a:pt x="11" y="1"/>
                      </a:cubicBezTo>
                      <a:cubicBezTo>
                        <a:pt x="11" y="2"/>
                        <a:pt x="8" y="2"/>
                        <a:pt x="7" y="4"/>
                      </a:cubicBezTo>
                      <a:cubicBezTo>
                        <a:pt x="6" y="6"/>
                        <a:pt x="5" y="7"/>
                        <a:pt x="3" y="7"/>
                      </a:cubicBezTo>
                      <a:cubicBezTo>
                        <a:pt x="1" y="7"/>
                        <a:pt x="1" y="6"/>
                        <a:pt x="0" y="6"/>
                      </a:cubicBezTo>
                      <a:lnTo>
                        <a:pt x="0" y="6"/>
                      </a:lnTo>
                      <a:lnTo>
                        <a:pt x="0"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5" name="Freeform 339"/>
                <p:cNvSpPr>
                  <a:spLocks/>
                </p:cNvSpPr>
                <p:nvPr>
                  <p:custDataLst>
                    <p:tags r:id="rId321"/>
                  </p:custDataLst>
                </p:nvPr>
              </p:nvSpPr>
              <p:spPr bwMode="gray">
                <a:xfrm>
                  <a:off x="7041740" y="4892026"/>
                  <a:ext cx="40897" cy="31450"/>
                </a:xfrm>
                <a:custGeom>
                  <a:avLst/>
                  <a:gdLst>
                    <a:gd name="T0" fmla="*/ 0 w 4"/>
                    <a:gd name="T1" fmla="*/ 3 h 3"/>
                    <a:gd name="T2" fmla="*/ 4 w 4"/>
                    <a:gd name="T3" fmla="*/ 0 h 3"/>
                    <a:gd name="T4" fmla="*/ 4 w 4"/>
                    <a:gd name="T5" fmla="*/ 0 h 3"/>
                    <a:gd name="T6" fmla="*/ 4 w 4"/>
                    <a:gd name="T7" fmla="*/ 1 h 3"/>
                    <a:gd name="T8" fmla="*/ 4 w 4"/>
                    <a:gd name="T9" fmla="*/ 1 h 3"/>
                    <a:gd name="T10" fmla="*/ 1 w 4"/>
                    <a:gd name="T11" fmla="*/ 3 h 3"/>
                    <a:gd name="T12" fmla="*/ 1 w 4"/>
                    <a:gd name="T13" fmla="*/ 3 h 3"/>
                    <a:gd name="T14" fmla="*/ 0 w 4"/>
                    <a:gd name="T15" fmla="*/ 3 h 3"/>
                    <a:gd name="T16" fmla="*/ 0 w 4"/>
                    <a:gd name="T17" fmla="*/ 3 h 3"/>
                    <a:gd name="T18" fmla="*/ 0 w 4"/>
                    <a:gd name="T19" fmla="*/ 3 h 3"/>
                    <a:gd name="T20" fmla="*/ 0 w 4"/>
                    <a:gd name="T21" fmla="*/ 3 h 3"/>
                    <a:gd name="T22" fmla="*/ 0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0" y="3"/>
                      </a:moveTo>
                      <a:cubicBezTo>
                        <a:pt x="2" y="3"/>
                        <a:pt x="2" y="0"/>
                        <a:pt x="4" y="0"/>
                      </a:cubicBezTo>
                      <a:lnTo>
                        <a:pt x="4" y="0"/>
                      </a:lnTo>
                      <a:lnTo>
                        <a:pt x="4" y="1"/>
                      </a:lnTo>
                      <a:lnTo>
                        <a:pt x="4" y="1"/>
                      </a:lnTo>
                      <a:cubicBezTo>
                        <a:pt x="2" y="2"/>
                        <a:pt x="2" y="3"/>
                        <a:pt x="1" y="3"/>
                      </a:cubicBezTo>
                      <a:lnTo>
                        <a:pt x="1" y="3"/>
                      </a:lnTo>
                      <a:lnTo>
                        <a:pt x="0" y="3"/>
                      </a:lnTo>
                      <a:lnTo>
                        <a:pt x="0" y="3"/>
                      </a:lnTo>
                      <a:cubicBezTo>
                        <a:pt x="0" y="3"/>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6" name="Freeform 340"/>
                <p:cNvSpPr>
                  <a:spLocks/>
                </p:cNvSpPr>
                <p:nvPr>
                  <p:custDataLst>
                    <p:tags r:id="rId322"/>
                  </p:custDataLst>
                </p:nvPr>
              </p:nvSpPr>
              <p:spPr bwMode="gray">
                <a:xfrm>
                  <a:off x="7061484" y="4857432"/>
                  <a:ext cx="50769" cy="34595"/>
                </a:xfrm>
                <a:custGeom>
                  <a:avLst/>
                  <a:gdLst>
                    <a:gd name="T0" fmla="*/ 0 w 5"/>
                    <a:gd name="T1" fmla="*/ 2 h 3"/>
                    <a:gd name="T2" fmla="*/ 3 w 5"/>
                    <a:gd name="T3" fmla="*/ 0 h 3"/>
                    <a:gd name="T4" fmla="*/ 5 w 5"/>
                    <a:gd name="T5" fmla="*/ 0 h 3"/>
                    <a:gd name="T6" fmla="*/ 5 w 5"/>
                    <a:gd name="T7" fmla="*/ 1 h 3"/>
                    <a:gd name="T8" fmla="*/ 3 w 5"/>
                    <a:gd name="T9" fmla="*/ 3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2" y="0"/>
                        <a:pt x="2" y="0"/>
                        <a:pt x="3" y="0"/>
                      </a:cubicBezTo>
                      <a:cubicBezTo>
                        <a:pt x="4" y="0"/>
                        <a:pt x="5" y="0"/>
                        <a:pt x="5" y="0"/>
                      </a:cubicBezTo>
                      <a:cubicBezTo>
                        <a:pt x="5" y="1"/>
                        <a:pt x="5" y="1"/>
                        <a:pt x="5" y="1"/>
                      </a:cubicBezTo>
                      <a:cubicBezTo>
                        <a:pt x="5" y="2"/>
                        <a:pt x="4" y="3"/>
                        <a:pt x="3" y="3"/>
                      </a:cubicBezTo>
                      <a:cubicBezTo>
                        <a:pt x="2" y="3"/>
                        <a:pt x="1"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7" name="Freeform 341"/>
                <p:cNvSpPr>
                  <a:spLocks/>
                </p:cNvSpPr>
                <p:nvPr>
                  <p:custDataLst>
                    <p:tags r:id="rId323"/>
                  </p:custDataLst>
                </p:nvPr>
              </p:nvSpPr>
              <p:spPr bwMode="gray">
                <a:xfrm>
                  <a:off x="6549554" y="4835416"/>
                  <a:ext cx="521801" cy="157251"/>
                </a:xfrm>
                <a:custGeom>
                  <a:avLst/>
                  <a:gdLst>
                    <a:gd name="T0" fmla="*/ 11 w 52"/>
                    <a:gd name="T1" fmla="*/ 3 h 14"/>
                    <a:gd name="T2" fmla="*/ 16 w 52"/>
                    <a:gd name="T3" fmla="*/ 3 h 14"/>
                    <a:gd name="T4" fmla="*/ 16 w 52"/>
                    <a:gd name="T5" fmla="*/ 3 h 14"/>
                    <a:gd name="T6" fmla="*/ 19 w 52"/>
                    <a:gd name="T7" fmla="*/ 4 h 14"/>
                    <a:gd name="T8" fmla="*/ 27 w 52"/>
                    <a:gd name="T9" fmla="*/ 8 h 14"/>
                    <a:gd name="T10" fmla="*/ 30 w 52"/>
                    <a:gd name="T11" fmla="*/ 6 h 14"/>
                    <a:gd name="T12" fmla="*/ 30 w 52"/>
                    <a:gd name="T13" fmla="*/ 6 h 14"/>
                    <a:gd name="T14" fmla="*/ 34 w 52"/>
                    <a:gd name="T15" fmla="*/ 6 h 14"/>
                    <a:gd name="T16" fmla="*/ 34 w 52"/>
                    <a:gd name="T17" fmla="*/ 6 h 14"/>
                    <a:gd name="T18" fmla="*/ 35 w 52"/>
                    <a:gd name="T19" fmla="*/ 5 h 14"/>
                    <a:gd name="T20" fmla="*/ 40 w 52"/>
                    <a:gd name="T21" fmla="*/ 8 h 14"/>
                    <a:gd name="T22" fmla="*/ 45 w 52"/>
                    <a:gd name="T23" fmla="*/ 5 h 14"/>
                    <a:gd name="T24" fmla="*/ 49 w 52"/>
                    <a:gd name="T25" fmla="*/ 2 h 14"/>
                    <a:gd name="T26" fmla="*/ 49 w 52"/>
                    <a:gd name="T27" fmla="*/ 2 h 14"/>
                    <a:gd name="T28" fmla="*/ 49 w 52"/>
                    <a:gd name="T29" fmla="*/ 1 h 14"/>
                    <a:gd name="T30" fmla="*/ 49 w 52"/>
                    <a:gd name="T31" fmla="*/ 1 h 14"/>
                    <a:gd name="T32" fmla="*/ 48 w 52"/>
                    <a:gd name="T33" fmla="*/ 1 h 14"/>
                    <a:gd name="T34" fmla="*/ 47 w 52"/>
                    <a:gd name="T35" fmla="*/ 2 h 14"/>
                    <a:gd name="T36" fmla="*/ 47 w 52"/>
                    <a:gd name="T37" fmla="*/ 2 h 14"/>
                    <a:gd name="T38" fmla="*/ 49 w 52"/>
                    <a:gd name="T39" fmla="*/ 0 h 14"/>
                    <a:gd name="T40" fmla="*/ 52 w 52"/>
                    <a:gd name="T41" fmla="*/ 2 h 14"/>
                    <a:gd name="T42" fmla="*/ 48 w 52"/>
                    <a:gd name="T43" fmla="*/ 6 h 14"/>
                    <a:gd name="T44" fmla="*/ 49 w 52"/>
                    <a:gd name="T45" fmla="*/ 7 h 14"/>
                    <a:gd name="T46" fmla="*/ 42 w 52"/>
                    <a:gd name="T47" fmla="*/ 10 h 14"/>
                    <a:gd name="T48" fmla="*/ 42 w 52"/>
                    <a:gd name="T49" fmla="*/ 10 h 14"/>
                    <a:gd name="T50" fmla="*/ 39 w 52"/>
                    <a:gd name="T51" fmla="*/ 10 h 14"/>
                    <a:gd name="T52" fmla="*/ 39 w 52"/>
                    <a:gd name="T53" fmla="*/ 10 h 14"/>
                    <a:gd name="T54" fmla="*/ 32 w 52"/>
                    <a:gd name="T55" fmla="*/ 13 h 14"/>
                    <a:gd name="T56" fmla="*/ 28 w 52"/>
                    <a:gd name="T57" fmla="*/ 12 h 14"/>
                    <a:gd name="T58" fmla="*/ 24 w 52"/>
                    <a:gd name="T59" fmla="*/ 14 h 14"/>
                    <a:gd name="T60" fmla="*/ 20 w 52"/>
                    <a:gd name="T61" fmla="*/ 14 h 14"/>
                    <a:gd name="T62" fmla="*/ 17 w 52"/>
                    <a:gd name="T63" fmla="*/ 12 h 14"/>
                    <a:gd name="T64" fmla="*/ 10 w 52"/>
                    <a:gd name="T65" fmla="*/ 12 h 14"/>
                    <a:gd name="T66" fmla="*/ 6 w 52"/>
                    <a:gd name="T67" fmla="*/ 11 h 14"/>
                    <a:gd name="T68" fmla="*/ 3 w 52"/>
                    <a:gd name="T69" fmla="*/ 12 h 14"/>
                    <a:gd name="T70" fmla="*/ 0 w 52"/>
                    <a:gd name="T71" fmla="*/ 11 h 14"/>
                    <a:gd name="T72" fmla="*/ 5 w 52"/>
                    <a:gd name="T73" fmla="*/ 4 h 14"/>
                    <a:gd name="T74" fmla="*/ 10 w 52"/>
                    <a:gd name="T75" fmla="*/ 3 h 14"/>
                    <a:gd name="T76" fmla="*/ 10 w 52"/>
                    <a:gd name="T77" fmla="*/ 2 h 14"/>
                    <a:gd name="T78" fmla="*/ 11 w 52"/>
                    <a:gd name="T79" fmla="*/ 3 h 14"/>
                    <a:gd name="T80" fmla="*/ 11 w 52"/>
                    <a:gd name="T81" fmla="*/ 3 h 14"/>
                    <a:gd name="T82" fmla="*/ 11 w 52"/>
                    <a:gd name="T8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14">
                      <a:moveTo>
                        <a:pt x="11" y="3"/>
                      </a:moveTo>
                      <a:lnTo>
                        <a:pt x="16" y="3"/>
                      </a:lnTo>
                      <a:lnTo>
                        <a:pt x="16" y="3"/>
                      </a:lnTo>
                      <a:cubicBezTo>
                        <a:pt x="16" y="4"/>
                        <a:pt x="18" y="4"/>
                        <a:pt x="19" y="4"/>
                      </a:cubicBezTo>
                      <a:cubicBezTo>
                        <a:pt x="23" y="4"/>
                        <a:pt x="24" y="8"/>
                        <a:pt x="27" y="8"/>
                      </a:cubicBezTo>
                      <a:cubicBezTo>
                        <a:pt x="28" y="8"/>
                        <a:pt x="29" y="6"/>
                        <a:pt x="30" y="6"/>
                      </a:cubicBezTo>
                      <a:lnTo>
                        <a:pt x="30" y="6"/>
                      </a:lnTo>
                      <a:lnTo>
                        <a:pt x="34" y="6"/>
                      </a:lnTo>
                      <a:lnTo>
                        <a:pt x="34" y="6"/>
                      </a:lnTo>
                      <a:cubicBezTo>
                        <a:pt x="34" y="6"/>
                        <a:pt x="34" y="5"/>
                        <a:pt x="35" y="5"/>
                      </a:cubicBezTo>
                      <a:cubicBezTo>
                        <a:pt x="37" y="5"/>
                        <a:pt x="38" y="8"/>
                        <a:pt x="40" y="8"/>
                      </a:cubicBezTo>
                      <a:cubicBezTo>
                        <a:pt x="43" y="8"/>
                        <a:pt x="43" y="6"/>
                        <a:pt x="45" y="5"/>
                      </a:cubicBezTo>
                      <a:cubicBezTo>
                        <a:pt x="46" y="3"/>
                        <a:pt x="49" y="3"/>
                        <a:pt x="49" y="2"/>
                      </a:cubicBezTo>
                      <a:lnTo>
                        <a:pt x="49" y="2"/>
                      </a:lnTo>
                      <a:lnTo>
                        <a:pt x="49" y="1"/>
                      </a:lnTo>
                      <a:lnTo>
                        <a:pt x="49" y="1"/>
                      </a:lnTo>
                      <a:cubicBezTo>
                        <a:pt x="49" y="1"/>
                        <a:pt x="49" y="1"/>
                        <a:pt x="48" y="1"/>
                      </a:cubicBezTo>
                      <a:cubicBezTo>
                        <a:pt x="48" y="2"/>
                        <a:pt x="48" y="2"/>
                        <a:pt x="47" y="2"/>
                      </a:cubicBezTo>
                      <a:cubicBezTo>
                        <a:pt x="47" y="2"/>
                        <a:pt x="47" y="2"/>
                        <a:pt x="47" y="2"/>
                      </a:cubicBezTo>
                      <a:cubicBezTo>
                        <a:pt x="47" y="0"/>
                        <a:pt x="48" y="0"/>
                        <a:pt x="49" y="0"/>
                      </a:cubicBezTo>
                      <a:cubicBezTo>
                        <a:pt x="51" y="0"/>
                        <a:pt x="52" y="1"/>
                        <a:pt x="52" y="2"/>
                      </a:cubicBezTo>
                      <a:cubicBezTo>
                        <a:pt x="52" y="2"/>
                        <a:pt x="49" y="6"/>
                        <a:pt x="48" y="6"/>
                      </a:cubicBezTo>
                      <a:cubicBezTo>
                        <a:pt x="48" y="6"/>
                        <a:pt x="49" y="7"/>
                        <a:pt x="49" y="7"/>
                      </a:cubicBezTo>
                      <a:cubicBezTo>
                        <a:pt x="49" y="9"/>
                        <a:pt x="43" y="10"/>
                        <a:pt x="42" y="10"/>
                      </a:cubicBezTo>
                      <a:lnTo>
                        <a:pt x="42" y="10"/>
                      </a:lnTo>
                      <a:lnTo>
                        <a:pt x="39" y="10"/>
                      </a:lnTo>
                      <a:lnTo>
                        <a:pt x="39" y="10"/>
                      </a:lnTo>
                      <a:cubicBezTo>
                        <a:pt x="36" y="11"/>
                        <a:pt x="34" y="13"/>
                        <a:pt x="32" y="13"/>
                      </a:cubicBezTo>
                      <a:cubicBezTo>
                        <a:pt x="29" y="13"/>
                        <a:pt x="30" y="12"/>
                        <a:pt x="28" y="12"/>
                      </a:cubicBezTo>
                      <a:cubicBezTo>
                        <a:pt x="26" y="12"/>
                        <a:pt x="26" y="14"/>
                        <a:pt x="24" y="14"/>
                      </a:cubicBezTo>
                      <a:cubicBezTo>
                        <a:pt x="22" y="14"/>
                        <a:pt x="22" y="14"/>
                        <a:pt x="20" y="14"/>
                      </a:cubicBezTo>
                      <a:cubicBezTo>
                        <a:pt x="19" y="14"/>
                        <a:pt x="18" y="13"/>
                        <a:pt x="17" y="12"/>
                      </a:cubicBezTo>
                      <a:cubicBezTo>
                        <a:pt x="14" y="12"/>
                        <a:pt x="12" y="13"/>
                        <a:pt x="10" y="12"/>
                      </a:cubicBezTo>
                      <a:cubicBezTo>
                        <a:pt x="8" y="12"/>
                        <a:pt x="7" y="11"/>
                        <a:pt x="6" y="11"/>
                      </a:cubicBezTo>
                      <a:cubicBezTo>
                        <a:pt x="5" y="11"/>
                        <a:pt x="4" y="12"/>
                        <a:pt x="3" y="12"/>
                      </a:cubicBezTo>
                      <a:cubicBezTo>
                        <a:pt x="3" y="12"/>
                        <a:pt x="0" y="11"/>
                        <a:pt x="0" y="11"/>
                      </a:cubicBezTo>
                      <a:cubicBezTo>
                        <a:pt x="0" y="6"/>
                        <a:pt x="4" y="6"/>
                        <a:pt x="5" y="4"/>
                      </a:cubicBezTo>
                      <a:cubicBezTo>
                        <a:pt x="6" y="3"/>
                        <a:pt x="10" y="3"/>
                        <a:pt x="10" y="3"/>
                      </a:cubicBezTo>
                      <a:cubicBezTo>
                        <a:pt x="10" y="3"/>
                        <a:pt x="10" y="2"/>
                        <a:pt x="10" y="2"/>
                      </a:cubicBezTo>
                      <a:cubicBezTo>
                        <a:pt x="11" y="2"/>
                        <a:pt x="11" y="3"/>
                        <a:pt x="11" y="3"/>
                      </a:cubicBezTo>
                      <a:lnTo>
                        <a:pt x="11" y="3"/>
                      </a:lnTo>
                      <a:lnTo>
                        <a:pt x="1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8" name="Freeform 342"/>
                <p:cNvSpPr>
                  <a:spLocks/>
                </p:cNvSpPr>
                <p:nvPr>
                  <p:custDataLst>
                    <p:tags r:id="rId324"/>
                  </p:custDataLst>
                </p:nvPr>
              </p:nvSpPr>
              <p:spPr bwMode="gray">
                <a:xfrm>
                  <a:off x="6679300" y="4621554"/>
                  <a:ext cx="31026" cy="34595"/>
                </a:xfrm>
                <a:custGeom>
                  <a:avLst/>
                  <a:gdLst>
                    <a:gd name="T0" fmla="*/ 1 w 3"/>
                    <a:gd name="T1" fmla="*/ 3 h 3"/>
                    <a:gd name="T2" fmla="*/ 3 w 3"/>
                    <a:gd name="T3" fmla="*/ 2 h 3"/>
                    <a:gd name="T4" fmla="*/ 0 w 3"/>
                    <a:gd name="T5" fmla="*/ 0 h 3"/>
                    <a:gd name="T6" fmla="*/ 1 w 3"/>
                    <a:gd name="T7" fmla="*/ 3 h 3"/>
                    <a:gd name="T8" fmla="*/ 1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2" y="3"/>
                        <a:pt x="3" y="2"/>
                        <a:pt x="3" y="2"/>
                      </a:cubicBezTo>
                      <a:cubicBezTo>
                        <a:pt x="2" y="0"/>
                        <a:pt x="1" y="1"/>
                        <a:pt x="0" y="0"/>
                      </a:cubicBezTo>
                      <a:cubicBezTo>
                        <a:pt x="0"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09" name="Freeform 343"/>
                <p:cNvSpPr>
                  <a:spLocks/>
                </p:cNvSpPr>
                <p:nvPr>
                  <p:custDataLst>
                    <p:tags r:id="rId325"/>
                  </p:custDataLst>
                </p:nvPr>
              </p:nvSpPr>
              <p:spPr bwMode="gray">
                <a:xfrm>
                  <a:off x="6720197" y="4667157"/>
                  <a:ext cx="50769" cy="34595"/>
                </a:xfrm>
                <a:custGeom>
                  <a:avLst/>
                  <a:gdLst>
                    <a:gd name="T0" fmla="*/ 0 w 5"/>
                    <a:gd name="T1" fmla="*/ 2 h 3"/>
                    <a:gd name="T2" fmla="*/ 2 w 5"/>
                    <a:gd name="T3" fmla="*/ 2 h 3"/>
                    <a:gd name="T4" fmla="*/ 5 w 5"/>
                    <a:gd name="T5" fmla="*/ 3 h 3"/>
                    <a:gd name="T6" fmla="*/ 5 w 5"/>
                    <a:gd name="T7" fmla="*/ 2 h 3"/>
                    <a:gd name="T8" fmla="*/ 0 w 5"/>
                    <a:gd name="T9" fmla="*/ 0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1" y="2"/>
                        <a:pt x="1" y="2"/>
                        <a:pt x="2" y="2"/>
                      </a:cubicBezTo>
                      <a:cubicBezTo>
                        <a:pt x="3" y="2"/>
                        <a:pt x="4" y="3"/>
                        <a:pt x="5" y="3"/>
                      </a:cubicBezTo>
                      <a:cubicBezTo>
                        <a:pt x="5" y="3"/>
                        <a:pt x="5" y="2"/>
                        <a:pt x="5" y="2"/>
                      </a:cubicBezTo>
                      <a:cubicBezTo>
                        <a:pt x="5" y="0"/>
                        <a:pt x="1" y="0"/>
                        <a:pt x="0" y="0"/>
                      </a:cubicBezTo>
                      <a:cubicBezTo>
                        <a:pt x="0"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0" name="Freeform 344"/>
                <p:cNvSpPr>
                  <a:spLocks/>
                </p:cNvSpPr>
                <p:nvPr>
                  <p:custDataLst>
                    <p:tags r:id="rId326"/>
                  </p:custDataLst>
                </p:nvPr>
              </p:nvSpPr>
              <p:spPr bwMode="gray">
                <a:xfrm>
                  <a:off x="6518529" y="4936057"/>
                  <a:ext cx="31026" cy="22015"/>
                </a:xfrm>
                <a:custGeom>
                  <a:avLst/>
                  <a:gdLst>
                    <a:gd name="T0" fmla="*/ 1 w 3"/>
                    <a:gd name="T1" fmla="*/ 0 h 2"/>
                    <a:gd name="T2" fmla="*/ 1 w 3"/>
                    <a:gd name="T3" fmla="*/ 2 h 2"/>
                    <a:gd name="T4" fmla="*/ 3 w 3"/>
                    <a:gd name="T5" fmla="*/ 0 h 2"/>
                    <a:gd name="T6" fmla="*/ 1 w 3"/>
                    <a:gd name="T7" fmla="*/ 0 h 2"/>
                    <a:gd name="T8" fmla="*/ 1 w 3"/>
                    <a:gd name="T9" fmla="*/ 0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cubicBezTo>
                        <a:pt x="1" y="0"/>
                        <a:pt x="0" y="2"/>
                        <a:pt x="1" y="2"/>
                      </a:cubicBezTo>
                      <a:cubicBezTo>
                        <a:pt x="2" y="2"/>
                        <a:pt x="2" y="1"/>
                        <a:pt x="3" y="0"/>
                      </a:cubicBezTo>
                      <a:cubicBezTo>
                        <a:pt x="2" y="0"/>
                        <a:pt x="1" y="0"/>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1" name="Freeform 345"/>
                <p:cNvSpPr>
                  <a:spLocks/>
                </p:cNvSpPr>
                <p:nvPr>
                  <p:custDataLst>
                    <p:tags r:id="rId327"/>
                  </p:custDataLst>
                </p:nvPr>
              </p:nvSpPr>
              <p:spPr bwMode="gray">
                <a:xfrm>
                  <a:off x="6418400" y="5060284"/>
                  <a:ext cx="301798" cy="190275"/>
                </a:xfrm>
                <a:custGeom>
                  <a:avLst/>
                  <a:gdLst>
                    <a:gd name="T0" fmla="*/ 0 w 30"/>
                    <a:gd name="T1" fmla="*/ 5 h 17"/>
                    <a:gd name="T2" fmla="*/ 0 w 30"/>
                    <a:gd name="T3" fmla="*/ 3 h 17"/>
                    <a:gd name="T4" fmla="*/ 0 w 30"/>
                    <a:gd name="T5" fmla="*/ 3 h 17"/>
                    <a:gd name="T6" fmla="*/ 4 w 30"/>
                    <a:gd name="T7" fmla="*/ 1 h 17"/>
                    <a:gd name="T8" fmla="*/ 4 w 30"/>
                    <a:gd name="T9" fmla="*/ 1 h 17"/>
                    <a:gd name="T10" fmla="*/ 9 w 30"/>
                    <a:gd name="T11" fmla="*/ 1 h 17"/>
                    <a:gd name="T12" fmla="*/ 11 w 30"/>
                    <a:gd name="T13" fmla="*/ 0 h 17"/>
                    <a:gd name="T14" fmla="*/ 11 w 30"/>
                    <a:gd name="T15" fmla="*/ 0 h 17"/>
                    <a:gd name="T16" fmla="*/ 14 w 30"/>
                    <a:gd name="T17" fmla="*/ 1 h 17"/>
                    <a:gd name="T18" fmla="*/ 16 w 30"/>
                    <a:gd name="T19" fmla="*/ 1 h 17"/>
                    <a:gd name="T20" fmla="*/ 23 w 30"/>
                    <a:gd name="T21" fmla="*/ 6 h 17"/>
                    <a:gd name="T22" fmla="*/ 30 w 30"/>
                    <a:gd name="T23" fmla="*/ 13 h 17"/>
                    <a:gd name="T24" fmla="*/ 28 w 30"/>
                    <a:gd name="T25" fmla="*/ 16 h 17"/>
                    <a:gd name="T26" fmla="*/ 23 w 30"/>
                    <a:gd name="T27" fmla="*/ 17 h 17"/>
                    <a:gd name="T28" fmla="*/ 16 w 30"/>
                    <a:gd name="T29" fmla="*/ 12 h 17"/>
                    <a:gd name="T30" fmla="*/ 10 w 30"/>
                    <a:gd name="T31" fmla="*/ 8 h 17"/>
                    <a:gd name="T32" fmla="*/ 10 w 30"/>
                    <a:gd name="T33" fmla="*/ 8 h 17"/>
                    <a:gd name="T34" fmla="*/ 6 w 30"/>
                    <a:gd name="T35" fmla="*/ 8 h 17"/>
                    <a:gd name="T36" fmla="*/ 6 w 30"/>
                    <a:gd name="T37" fmla="*/ 8 h 17"/>
                    <a:gd name="T38" fmla="*/ 2 w 30"/>
                    <a:gd name="T39" fmla="*/ 7 h 17"/>
                    <a:gd name="T40" fmla="*/ 0 w 30"/>
                    <a:gd name="T41" fmla="*/ 5 h 17"/>
                    <a:gd name="T42" fmla="*/ 0 w 30"/>
                    <a:gd name="T43" fmla="*/ 5 h 17"/>
                    <a:gd name="T44" fmla="*/ 0 w 30"/>
                    <a:gd name="T4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7">
                      <a:moveTo>
                        <a:pt x="0" y="5"/>
                      </a:moveTo>
                      <a:lnTo>
                        <a:pt x="0" y="3"/>
                      </a:lnTo>
                      <a:lnTo>
                        <a:pt x="0" y="3"/>
                      </a:lnTo>
                      <a:cubicBezTo>
                        <a:pt x="1" y="2"/>
                        <a:pt x="2" y="2"/>
                        <a:pt x="4" y="1"/>
                      </a:cubicBezTo>
                      <a:lnTo>
                        <a:pt x="4" y="1"/>
                      </a:lnTo>
                      <a:lnTo>
                        <a:pt x="9" y="1"/>
                      </a:lnTo>
                      <a:lnTo>
                        <a:pt x="11" y="0"/>
                      </a:lnTo>
                      <a:lnTo>
                        <a:pt x="11" y="0"/>
                      </a:lnTo>
                      <a:cubicBezTo>
                        <a:pt x="12" y="1"/>
                        <a:pt x="13" y="1"/>
                        <a:pt x="14" y="1"/>
                      </a:cubicBezTo>
                      <a:cubicBezTo>
                        <a:pt x="14" y="1"/>
                        <a:pt x="15" y="1"/>
                        <a:pt x="16" y="1"/>
                      </a:cubicBezTo>
                      <a:cubicBezTo>
                        <a:pt x="19" y="1"/>
                        <a:pt x="19" y="6"/>
                        <a:pt x="23" y="6"/>
                      </a:cubicBezTo>
                      <a:cubicBezTo>
                        <a:pt x="26" y="6"/>
                        <a:pt x="29" y="10"/>
                        <a:pt x="30" y="13"/>
                      </a:cubicBezTo>
                      <a:cubicBezTo>
                        <a:pt x="29" y="14"/>
                        <a:pt x="29" y="15"/>
                        <a:pt x="28" y="16"/>
                      </a:cubicBezTo>
                      <a:cubicBezTo>
                        <a:pt x="27" y="17"/>
                        <a:pt x="25" y="17"/>
                        <a:pt x="23" y="17"/>
                      </a:cubicBezTo>
                      <a:cubicBezTo>
                        <a:pt x="18" y="17"/>
                        <a:pt x="18" y="14"/>
                        <a:pt x="16" y="12"/>
                      </a:cubicBezTo>
                      <a:cubicBezTo>
                        <a:pt x="15" y="11"/>
                        <a:pt x="11" y="10"/>
                        <a:pt x="10" y="8"/>
                      </a:cubicBezTo>
                      <a:lnTo>
                        <a:pt x="10" y="8"/>
                      </a:lnTo>
                      <a:lnTo>
                        <a:pt x="6" y="8"/>
                      </a:lnTo>
                      <a:lnTo>
                        <a:pt x="6" y="8"/>
                      </a:lnTo>
                      <a:cubicBezTo>
                        <a:pt x="5" y="8"/>
                        <a:pt x="3" y="8"/>
                        <a:pt x="2" y="7"/>
                      </a:cubicBezTo>
                      <a:cubicBezTo>
                        <a:pt x="2" y="7"/>
                        <a:pt x="0"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2" name="Freeform 346"/>
                <p:cNvSpPr>
                  <a:spLocks/>
                </p:cNvSpPr>
                <p:nvPr>
                  <p:custDataLst>
                    <p:tags r:id="rId328"/>
                  </p:custDataLst>
                </p:nvPr>
              </p:nvSpPr>
              <p:spPr bwMode="gray">
                <a:xfrm>
                  <a:off x="6649685" y="4398257"/>
                  <a:ext cx="29615" cy="124227"/>
                </a:xfrm>
                <a:custGeom>
                  <a:avLst/>
                  <a:gdLst>
                    <a:gd name="T0" fmla="*/ 2 w 3"/>
                    <a:gd name="T1" fmla="*/ 6 h 11"/>
                    <a:gd name="T2" fmla="*/ 1 w 3"/>
                    <a:gd name="T3" fmla="*/ 11 h 11"/>
                    <a:gd name="T4" fmla="*/ 0 w 3"/>
                    <a:gd name="T5" fmla="*/ 6 h 11"/>
                    <a:gd name="T6" fmla="*/ 1 w 3"/>
                    <a:gd name="T7" fmla="*/ 0 h 11"/>
                    <a:gd name="T8" fmla="*/ 2 w 3"/>
                    <a:gd name="T9" fmla="*/ 6 h 11"/>
                    <a:gd name="T10" fmla="*/ 2 w 3"/>
                    <a:gd name="T11" fmla="*/ 6 h 11"/>
                    <a:gd name="T12" fmla="*/ 2 w 3"/>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2" y="6"/>
                      </a:moveTo>
                      <a:cubicBezTo>
                        <a:pt x="2" y="8"/>
                        <a:pt x="3" y="10"/>
                        <a:pt x="1" y="11"/>
                      </a:cubicBezTo>
                      <a:cubicBezTo>
                        <a:pt x="0" y="9"/>
                        <a:pt x="0" y="8"/>
                        <a:pt x="0" y="6"/>
                      </a:cubicBezTo>
                      <a:cubicBezTo>
                        <a:pt x="0" y="5"/>
                        <a:pt x="1" y="0"/>
                        <a:pt x="1" y="0"/>
                      </a:cubicBezTo>
                      <a:cubicBezTo>
                        <a:pt x="2" y="1"/>
                        <a:pt x="2" y="3"/>
                        <a:pt x="2" y="6"/>
                      </a:cubicBezTo>
                      <a:lnTo>
                        <a:pt x="2" y="6"/>
                      </a:lnTo>
                      <a:lnTo>
                        <a:pt x="2"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3" name="Freeform 347"/>
                <p:cNvSpPr>
                  <a:spLocks/>
                </p:cNvSpPr>
                <p:nvPr>
                  <p:custDataLst>
                    <p:tags r:id="rId329"/>
                  </p:custDataLst>
                </p:nvPr>
              </p:nvSpPr>
              <p:spPr bwMode="gray">
                <a:xfrm>
                  <a:off x="6187116" y="4846423"/>
                  <a:ext cx="31026" cy="45603"/>
                </a:xfrm>
                <a:custGeom>
                  <a:avLst/>
                  <a:gdLst>
                    <a:gd name="T0" fmla="*/ 0 w 3"/>
                    <a:gd name="T1" fmla="*/ 1 h 4"/>
                    <a:gd name="T2" fmla="*/ 1 w 3"/>
                    <a:gd name="T3" fmla="*/ 0 h 4"/>
                    <a:gd name="T4" fmla="*/ 1 w 3"/>
                    <a:gd name="T5" fmla="*/ 0 h 4"/>
                    <a:gd name="T6" fmla="*/ 3 w 3"/>
                    <a:gd name="T7" fmla="*/ 0 h 4"/>
                    <a:gd name="T8" fmla="*/ 3 w 3"/>
                    <a:gd name="T9" fmla="*/ 0 h 4"/>
                    <a:gd name="T10" fmla="*/ 1 w 3"/>
                    <a:gd name="T11" fmla="*/ 4 h 4"/>
                    <a:gd name="T12" fmla="*/ 1 w 3"/>
                    <a:gd name="T13" fmla="*/ 4 h 4"/>
                    <a:gd name="T14" fmla="*/ 0 w 3"/>
                    <a:gd name="T15" fmla="*/ 1 h 4"/>
                    <a:gd name="T16" fmla="*/ 0 w 3"/>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1"/>
                      </a:moveTo>
                      <a:cubicBezTo>
                        <a:pt x="0" y="0"/>
                        <a:pt x="1" y="0"/>
                        <a:pt x="1" y="0"/>
                      </a:cubicBezTo>
                      <a:lnTo>
                        <a:pt x="1" y="0"/>
                      </a:lnTo>
                      <a:lnTo>
                        <a:pt x="3" y="0"/>
                      </a:lnTo>
                      <a:lnTo>
                        <a:pt x="3" y="0"/>
                      </a:lnTo>
                      <a:cubicBezTo>
                        <a:pt x="3" y="1"/>
                        <a:pt x="2" y="3"/>
                        <a:pt x="1" y="4"/>
                      </a:cubicBezTo>
                      <a:lnTo>
                        <a:pt x="1" y="4"/>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4" name="Freeform 348"/>
                <p:cNvSpPr>
                  <a:spLocks/>
                </p:cNvSpPr>
                <p:nvPr>
                  <p:custDataLst>
                    <p:tags r:id="rId330"/>
                  </p:custDataLst>
                </p:nvPr>
              </p:nvSpPr>
              <p:spPr bwMode="gray">
                <a:xfrm>
                  <a:off x="5824676" y="4588530"/>
                  <a:ext cx="71924" cy="33023"/>
                </a:xfrm>
                <a:custGeom>
                  <a:avLst/>
                  <a:gdLst>
                    <a:gd name="T0" fmla="*/ 3 w 7"/>
                    <a:gd name="T1" fmla="*/ 2 h 3"/>
                    <a:gd name="T2" fmla="*/ 2 w 7"/>
                    <a:gd name="T3" fmla="*/ 3 h 3"/>
                    <a:gd name="T4" fmla="*/ 0 w 7"/>
                    <a:gd name="T5" fmla="*/ 2 h 3"/>
                    <a:gd name="T6" fmla="*/ 2 w 7"/>
                    <a:gd name="T7" fmla="*/ 0 h 3"/>
                    <a:gd name="T8" fmla="*/ 7 w 7"/>
                    <a:gd name="T9" fmla="*/ 3 h 3"/>
                    <a:gd name="T10" fmla="*/ 7 w 7"/>
                    <a:gd name="T11" fmla="*/ 3 h 3"/>
                    <a:gd name="T12" fmla="*/ 6 w 7"/>
                    <a:gd name="T13" fmla="*/ 3 h 3"/>
                    <a:gd name="T14" fmla="*/ 6 w 7"/>
                    <a:gd name="T15" fmla="*/ 3 h 3"/>
                    <a:gd name="T16" fmla="*/ 3 w 7"/>
                    <a:gd name="T17" fmla="*/ 2 h 3"/>
                    <a:gd name="T18" fmla="*/ 3 w 7"/>
                    <a:gd name="T19" fmla="*/ 2 h 3"/>
                    <a:gd name="T20" fmla="*/ 3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2"/>
                      </a:moveTo>
                      <a:cubicBezTo>
                        <a:pt x="3" y="3"/>
                        <a:pt x="3" y="3"/>
                        <a:pt x="2" y="3"/>
                      </a:cubicBezTo>
                      <a:cubicBezTo>
                        <a:pt x="1" y="3"/>
                        <a:pt x="0" y="2"/>
                        <a:pt x="0" y="2"/>
                      </a:cubicBezTo>
                      <a:cubicBezTo>
                        <a:pt x="0" y="0"/>
                        <a:pt x="1" y="0"/>
                        <a:pt x="2" y="0"/>
                      </a:cubicBezTo>
                      <a:cubicBezTo>
                        <a:pt x="4" y="0"/>
                        <a:pt x="6" y="2"/>
                        <a:pt x="7" y="3"/>
                      </a:cubicBezTo>
                      <a:lnTo>
                        <a:pt x="7" y="3"/>
                      </a:lnTo>
                      <a:lnTo>
                        <a:pt x="6" y="3"/>
                      </a:lnTo>
                      <a:lnTo>
                        <a:pt x="6" y="3"/>
                      </a:lnTo>
                      <a:cubicBezTo>
                        <a:pt x="5" y="3"/>
                        <a:pt x="4" y="2"/>
                        <a:pt x="3" y="2"/>
                      </a:cubicBezTo>
                      <a:lnTo>
                        <a:pt x="3" y="2"/>
                      </a:lnTo>
                      <a:lnTo>
                        <a:pt x="3"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5" name="Freeform 349"/>
                <p:cNvSpPr>
                  <a:spLocks/>
                </p:cNvSpPr>
                <p:nvPr>
                  <p:custDataLst>
                    <p:tags r:id="rId331"/>
                  </p:custDataLst>
                </p:nvPr>
              </p:nvSpPr>
              <p:spPr bwMode="gray">
                <a:xfrm>
                  <a:off x="5916343" y="464514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1" y="0"/>
                        <a:pt x="1" y="0"/>
                      </a:cubicBezTo>
                      <a:cubicBezTo>
                        <a:pt x="1" y="0"/>
                        <a:pt x="1" y="1"/>
                        <a:pt x="1" y="1"/>
                      </a:cubicBezTo>
                      <a:cubicBezTo>
                        <a:pt x="1" y="1"/>
                        <a:pt x="1"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6" name="Freeform 350"/>
                <p:cNvSpPr>
                  <a:spLocks/>
                </p:cNvSpPr>
                <p:nvPr>
                  <p:custDataLst>
                    <p:tags r:id="rId332"/>
                  </p:custDataLst>
                </p:nvPr>
              </p:nvSpPr>
              <p:spPr bwMode="gray">
                <a:xfrm>
                  <a:off x="6136345" y="4723767"/>
                  <a:ext cx="9871" cy="11009"/>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7" name="Freeform 351"/>
                <p:cNvSpPr>
                  <a:spLocks/>
                </p:cNvSpPr>
                <p:nvPr>
                  <p:custDataLst>
                    <p:tags r:id="rId333"/>
                  </p:custDataLst>
                </p:nvPr>
              </p:nvSpPr>
              <p:spPr bwMode="gray">
                <a:xfrm>
                  <a:off x="5804932" y="4218991"/>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8" name="Freeform 352"/>
                <p:cNvSpPr>
                  <a:spLocks/>
                </p:cNvSpPr>
                <p:nvPr>
                  <p:custDataLst>
                    <p:tags r:id="rId334"/>
                  </p:custDataLst>
                </p:nvPr>
              </p:nvSpPr>
              <p:spPr bwMode="gray">
                <a:xfrm>
                  <a:off x="6046088" y="4241006"/>
                  <a:ext cx="11282" cy="11008"/>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19" name="Freeform 353"/>
                <p:cNvSpPr>
                  <a:spLocks/>
                </p:cNvSpPr>
                <p:nvPr>
                  <p:custDataLst>
                    <p:tags r:id="rId335"/>
                  </p:custDataLst>
                </p:nvPr>
              </p:nvSpPr>
              <p:spPr bwMode="gray">
                <a:xfrm>
                  <a:off x="6196988" y="4297617"/>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0" y="0"/>
                        <a:pt x="1" y="0"/>
                        <a:pt x="1" y="1"/>
                      </a:cubicBezTo>
                      <a:cubicBezTo>
                        <a:pt x="1"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0" name="Freeform 354"/>
                <p:cNvSpPr>
                  <a:spLocks/>
                </p:cNvSpPr>
                <p:nvPr>
                  <p:custDataLst>
                    <p:tags r:id="rId336"/>
                  </p:custDataLst>
                </p:nvPr>
              </p:nvSpPr>
              <p:spPr bwMode="gray">
                <a:xfrm>
                  <a:off x="5875445" y="4947064"/>
                  <a:ext cx="21155"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1" name="Freeform 355"/>
                <p:cNvSpPr>
                  <a:spLocks/>
                </p:cNvSpPr>
                <p:nvPr>
                  <p:custDataLst>
                    <p:tags r:id="rId337"/>
                  </p:custDataLst>
                </p:nvPr>
              </p:nvSpPr>
              <p:spPr bwMode="gray">
                <a:xfrm>
                  <a:off x="5814804" y="4958073"/>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2" name="Freeform 356"/>
                <p:cNvSpPr>
                  <a:spLocks/>
                </p:cNvSpPr>
                <p:nvPr>
                  <p:custDataLst>
                    <p:tags r:id="rId338"/>
                  </p:custDataLst>
                </p:nvPr>
              </p:nvSpPr>
              <p:spPr bwMode="gray">
                <a:xfrm>
                  <a:off x="5926215" y="4846423"/>
                  <a:ext cx="150899" cy="133664"/>
                </a:xfrm>
                <a:custGeom>
                  <a:avLst/>
                  <a:gdLst>
                    <a:gd name="T0" fmla="*/ 4 w 15"/>
                    <a:gd name="T1" fmla="*/ 10 h 12"/>
                    <a:gd name="T2" fmla="*/ 4 w 15"/>
                    <a:gd name="T3" fmla="*/ 8 h 12"/>
                    <a:gd name="T4" fmla="*/ 4 w 15"/>
                    <a:gd name="T5" fmla="*/ 8 h 12"/>
                    <a:gd name="T6" fmla="*/ 3 w 15"/>
                    <a:gd name="T7" fmla="*/ 5 h 12"/>
                    <a:gd name="T8" fmla="*/ 12 w 15"/>
                    <a:gd name="T9" fmla="*/ 0 h 12"/>
                    <a:gd name="T10" fmla="*/ 15 w 15"/>
                    <a:gd name="T11" fmla="*/ 3 h 12"/>
                    <a:gd name="T12" fmla="*/ 12 w 15"/>
                    <a:gd name="T13" fmla="*/ 9 h 12"/>
                    <a:gd name="T14" fmla="*/ 11 w 15"/>
                    <a:gd name="T15" fmla="*/ 12 h 12"/>
                    <a:gd name="T16" fmla="*/ 10 w 15"/>
                    <a:gd name="T17" fmla="*/ 11 h 12"/>
                    <a:gd name="T18" fmla="*/ 10 w 15"/>
                    <a:gd name="T19" fmla="*/ 11 h 12"/>
                    <a:gd name="T20" fmla="*/ 9 w 15"/>
                    <a:gd name="T21" fmla="*/ 11 h 12"/>
                    <a:gd name="T22" fmla="*/ 9 w 15"/>
                    <a:gd name="T23" fmla="*/ 11 h 12"/>
                    <a:gd name="T24" fmla="*/ 9 w 15"/>
                    <a:gd name="T25" fmla="*/ 12 h 12"/>
                    <a:gd name="T26" fmla="*/ 7 w 15"/>
                    <a:gd name="T27" fmla="*/ 12 h 12"/>
                    <a:gd name="T28" fmla="*/ 2 w 15"/>
                    <a:gd name="T29" fmla="*/ 12 h 12"/>
                    <a:gd name="T30" fmla="*/ 0 w 15"/>
                    <a:gd name="T31" fmla="*/ 10 h 12"/>
                    <a:gd name="T32" fmla="*/ 4 w 15"/>
                    <a:gd name="T33" fmla="*/ 10 h 12"/>
                    <a:gd name="T34" fmla="*/ 4 w 15"/>
                    <a:gd name="T35" fmla="*/ 10 h 12"/>
                    <a:gd name="T36" fmla="*/ 4 w 15"/>
                    <a:gd name="T3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2">
                      <a:moveTo>
                        <a:pt x="4" y="10"/>
                      </a:moveTo>
                      <a:lnTo>
                        <a:pt x="4" y="8"/>
                      </a:lnTo>
                      <a:lnTo>
                        <a:pt x="4" y="8"/>
                      </a:lnTo>
                      <a:cubicBezTo>
                        <a:pt x="4" y="7"/>
                        <a:pt x="3" y="7"/>
                        <a:pt x="3" y="5"/>
                      </a:cubicBezTo>
                      <a:cubicBezTo>
                        <a:pt x="3" y="1"/>
                        <a:pt x="9" y="0"/>
                        <a:pt x="12" y="0"/>
                      </a:cubicBezTo>
                      <a:cubicBezTo>
                        <a:pt x="14" y="0"/>
                        <a:pt x="15" y="1"/>
                        <a:pt x="15" y="3"/>
                      </a:cubicBezTo>
                      <a:cubicBezTo>
                        <a:pt x="15" y="6"/>
                        <a:pt x="13" y="7"/>
                        <a:pt x="12" y="9"/>
                      </a:cubicBezTo>
                      <a:cubicBezTo>
                        <a:pt x="11" y="10"/>
                        <a:pt x="12" y="12"/>
                        <a:pt x="11" y="12"/>
                      </a:cubicBezTo>
                      <a:cubicBezTo>
                        <a:pt x="11" y="12"/>
                        <a:pt x="10" y="12"/>
                        <a:pt x="10" y="11"/>
                      </a:cubicBezTo>
                      <a:lnTo>
                        <a:pt x="10" y="11"/>
                      </a:lnTo>
                      <a:lnTo>
                        <a:pt x="9" y="11"/>
                      </a:lnTo>
                      <a:lnTo>
                        <a:pt x="9" y="11"/>
                      </a:lnTo>
                      <a:cubicBezTo>
                        <a:pt x="9" y="12"/>
                        <a:pt x="9" y="12"/>
                        <a:pt x="9" y="12"/>
                      </a:cubicBezTo>
                      <a:cubicBezTo>
                        <a:pt x="9" y="12"/>
                        <a:pt x="8" y="12"/>
                        <a:pt x="7" y="12"/>
                      </a:cubicBezTo>
                      <a:cubicBezTo>
                        <a:pt x="5" y="12"/>
                        <a:pt x="4" y="12"/>
                        <a:pt x="2" y="12"/>
                      </a:cubicBezTo>
                      <a:cubicBezTo>
                        <a:pt x="1" y="12"/>
                        <a:pt x="0" y="11"/>
                        <a:pt x="0" y="10"/>
                      </a:cubicBezTo>
                      <a:cubicBezTo>
                        <a:pt x="2" y="9"/>
                        <a:pt x="3" y="10"/>
                        <a:pt x="4" y="10"/>
                      </a:cubicBezTo>
                      <a:lnTo>
                        <a:pt x="4" y="10"/>
                      </a:lnTo>
                      <a:lnTo>
                        <a:pt x="4" y="1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3" name="Freeform 357"/>
                <p:cNvSpPr>
                  <a:spLocks/>
                </p:cNvSpPr>
                <p:nvPr>
                  <p:custDataLst>
                    <p:tags r:id="rId339"/>
                  </p:custDataLst>
                </p:nvPr>
              </p:nvSpPr>
              <p:spPr bwMode="gray">
                <a:xfrm>
                  <a:off x="6067242" y="4835416"/>
                  <a:ext cx="410389" cy="190274"/>
                </a:xfrm>
                <a:custGeom>
                  <a:avLst/>
                  <a:gdLst>
                    <a:gd name="T0" fmla="*/ 0 w 41"/>
                    <a:gd name="T1" fmla="*/ 15 h 17"/>
                    <a:gd name="T2" fmla="*/ 2 w 41"/>
                    <a:gd name="T3" fmla="*/ 12 h 17"/>
                    <a:gd name="T4" fmla="*/ 1 w 41"/>
                    <a:gd name="T5" fmla="*/ 10 h 17"/>
                    <a:gd name="T6" fmla="*/ 1 w 41"/>
                    <a:gd name="T7" fmla="*/ 8 h 17"/>
                    <a:gd name="T8" fmla="*/ 9 w 41"/>
                    <a:gd name="T9" fmla="*/ 4 h 17"/>
                    <a:gd name="T10" fmla="*/ 15 w 41"/>
                    <a:gd name="T11" fmla="*/ 6 h 17"/>
                    <a:gd name="T12" fmla="*/ 16 w 41"/>
                    <a:gd name="T13" fmla="*/ 6 h 17"/>
                    <a:gd name="T14" fmla="*/ 19 w 41"/>
                    <a:gd name="T15" fmla="*/ 10 h 17"/>
                    <a:gd name="T16" fmla="*/ 21 w 41"/>
                    <a:gd name="T17" fmla="*/ 10 h 17"/>
                    <a:gd name="T18" fmla="*/ 20 w 41"/>
                    <a:gd name="T19" fmla="*/ 9 h 17"/>
                    <a:gd name="T20" fmla="*/ 24 w 41"/>
                    <a:gd name="T21" fmla="*/ 8 h 17"/>
                    <a:gd name="T22" fmla="*/ 20 w 41"/>
                    <a:gd name="T23" fmla="*/ 6 h 17"/>
                    <a:gd name="T24" fmla="*/ 16 w 41"/>
                    <a:gd name="T25" fmla="*/ 2 h 17"/>
                    <a:gd name="T26" fmla="*/ 21 w 41"/>
                    <a:gd name="T27" fmla="*/ 0 h 17"/>
                    <a:gd name="T28" fmla="*/ 25 w 41"/>
                    <a:gd name="T29" fmla="*/ 4 h 17"/>
                    <a:gd name="T30" fmla="*/ 27 w 41"/>
                    <a:gd name="T31" fmla="*/ 2 h 17"/>
                    <a:gd name="T32" fmla="*/ 31 w 41"/>
                    <a:gd name="T33" fmla="*/ 2 h 17"/>
                    <a:gd name="T34" fmla="*/ 31 w 41"/>
                    <a:gd name="T35" fmla="*/ 6 h 17"/>
                    <a:gd name="T36" fmla="*/ 32 w 41"/>
                    <a:gd name="T37" fmla="*/ 4 h 17"/>
                    <a:gd name="T38" fmla="*/ 35 w 41"/>
                    <a:gd name="T39" fmla="*/ 3 h 17"/>
                    <a:gd name="T40" fmla="*/ 38 w 41"/>
                    <a:gd name="T41" fmla="*/ 9 h 17"/>
                    <a:gd name="T42" fmla="*/ 39 w 41"/>
                    <a:gd name="T43" fmla="*/ 8 h 17"/>
                    <a:gd name="T44" fmla="*/ 39 w 41"/>
                    <a:gd name="T45" fmla="*/ 8 h 17"/>
                    <a:gd name="T46" fmla="*/ 41 w 41"/>
                    <a:gd name="T47" fmla="*/ 8 h 17"/>
                    <a:gd name="T48" fmla="*/ 41 w 41"/>
                    <a:gd name="T49" fmla="*/ 8 h 17"/>
                    <a:gd name="T50" fmla="*/ 33 w 41"/>
                    <a:gd name="T51" fmla="*/ 13 h 17"/>
                    <a:gd name="T52" fmla="*/ 33 w 41"/>
                    <a:gd name="T53" fmla="*/ 13 h 17"/>
                    <a:gd name="T54" fmla="*/ 34 w 41"/>
                    <a:gd name="T55" fmla="*/ 11 h 17"/>
                    <a:gd name="T56" fmla="*/ 34 w 41"/>
                    <a:gd name="T57" fmla="*/ 10 h 17"/>
                    <a:gd name="T58" fmla="*/ 34 w 41"/>
                    <a:gd name="T59" fmla="*/ 10 h 17"/>
                    <a:gd name="T60" fmla="*/ 34 w 41"/>
                    <a:gd name="T61" fmla="*/ 10 h 17"/>
                    <a:gd name="T62" fmla="*/ 31 w 41"/>
                    <a:gd name="T63" fmla="*/ 12 h 17"/>
                    <a:gd name="T64" fmla="*/ 28 w 41"/>
                    <a:gd name="T65" fmla="*/ 13 h 17"/>
                    <a:gd name="T66" fmla="*/ 28 w 41"/>
                    <a:gd name="T67" fmla="*/ 13 h 17"/>
                    <a:gd name="T68" fmla="*/ 27 w 41"/>
                    <a:gd name="T69" fmla="*/ 13 h 17"/>
                    <a:gd name="T70" fmla="*/ 27 w 41"/>
                    <a:gd name="T71" fmla="*/ 13 h 17"/>
                    <a:gd name="T72" fmla="*/ 27 w 41"/>
                    <a:gd name="T73" fmla="*/ 12 h 17"/>
                    <a:gd name="T74" fmla="*/ 26 w 41"/>
                    <a:gd name="T75" fmla="*/ 9 h 17"/>
                    <a:gd name="T76" fmla="*/ 21 w 41"/>
                    <a:gd name="T77" fmla="*/ 12 h 17"/>
                    <a:gd name="T78" fmla="*/ 17 w 41"/>
                    <a:gd name="T79" fmla="*/ 15 h 17"/>
                    <a:gd name="T80" fmla="*/ 16 w 41"/>
                    <a:gd name="T81" fmla="*/ 14 h 17"/>
                    <a:gd name="T82" fmla="*/ 13 w 41"/>
                    <a:gd name="T83" fmla="*/ 15 h 17"/>
                    <a:gd name="T84" fmla="*/ 9 w 41"/>
                    <a:gd name="T85" fmla="*/ 15 h 17"/>
                    <a:gd name="T86" fmla="*/ 5 w 41"/>
                    <a:gd name="T87" fmla="*/ 17 h 17"/>
                    <a:gd name="T88" fmla="*/ 0 w 41"/>
                    <a:gd name="T89" fmla="*/ 15 h 17"/>
                    <a:gd name="T90" fmla="*/ 0 w 41"/>
                    <a:gd name="T91" fmla="*/ 15 h 17"/>
                    <a:gd name="T92" fmla="*/ 0 w 41"/>
                    <a:gd name="T9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 h="17">
                      <a:moveTo>
                        <a:pt x="0" y="15"/>
                      </a:moveTo>
                      <a:cubicBezTo>
                        <a:pt x="0" y="15"/>
                        <a:pt x="2" y="12"/>
                        <a:pt x="2" y="12"/>
                      </a:cubicBezTo>
                      <a:cubicBezTo>
                        <a:pt x="1" y="11"/>
                        <a:pt x="1" y="11"/>
                        <a:pt x="1" y="10"/>
                      </a:cubicBezTo>
                      <a:cubicBezTo>
                        <a:pt x="1" y="9"/>
                        <a:pt x="1" y="9"/>
                        <a:pt x="1" y="8"/>
                      </a:cubicBezTo>
                      <a:cubicBezTo>
                        <a:pt x="4" y="8"/>
                        <a:pt x="5" y="4"/>
                        <a:pt x="9" y="4"/>
                      </a:cubicBezTo>
                      <a:cubicBezTo>
                        <a:pt x="11" y="4"/>
                        <a:pt x="13" y="6"/>
                        <a:pt x="15" y="6"/>
                      </a:cubicBezTo>
                      <a:cubicBezTo>
                        <a:pt x="15" y="6"/>
                        <a:pt x="16" y="6"/>
                        <a:pt x="16" y="6"/>
                      </a:cubicBezTo>
                      <a:cubicBezTo>
                        <a:pt x="17" y="7"/>
                        <a:pt x="16" y="10"/>
                        <a:pt x="19" y="10"/>
                      </a:cubicBezTo>
                      <a:cubicBezTo>
                        <a:pt x="20" y="10"/>
                        <a:pt x="20" y="10"/>
                        <a:pt x="21" y="10"/>
                      </a:cubicBezTo>
                      <a:cubicBezTo>
                        <a:pt x="21" y="10"/>
                        <a:pt x="20" y="9"/>
                        <a:pt x="20" y="9"/>
                      </a:cubicBezTo>
                      <a:cubicBezTo>
                        <a:pt x="21" y="9"/>
                        <a:pt x="23" y="9"/>
                        <a:pt x="24" y="8"/>
                      </a:cubicBezTo>
                      <a:cubicBezTo>
                        <a:pt x="23" y="6"/>
                        <a:pt x="22" y="7"/>
                        <a:pt x="20" y="6"/>
                      </a:cubicBezTo>
                      <a:cubicBezTo>
                        <a:pt x="19" y="6"/>
                        <a:pt x="16" y="2"/>
                        <a:pt x="16" y="2"/>
                      </a:cubicBezTo>
                      <a:cubicBezTo>
                        <a:pt x="17" y="1"/>
                        <a:pt x="19" y="0"/>
                        <a:pt x="21" y="0"/>
                      </a:cubicBezTo>
                      <a:cubicBezTo>
                        <a:pt x="24" y="0"/>
                        <a:pt x="23" y="4"/>
                        <a:pt x="25" y="4"/>
                      </a:cubicBezTo>
                      <a:cubicBezTo>
                        <a:pt x="26" y="4"/>
                        <a:pt x="27" y="3"/>
                        <a:pt x="27" y="2"/>
                      </a:cubicBezTo>
                      <a:cubicBezTo>
                        <a:pt x="28" y="2"/>
                        <a:pt x="30" y="4"/>
                        <a:pt x="31" y="2"/>
                      </a:cubicBezTo>
                      <a:cubicBezTo>
                        <a:pt x="31" y="4"/>
                        <a:pt x="31" y="4"/>
                        <a:pt x="31" y="6"/>
                      </a:cubicBezTo>
                      <a:cubicBezTo>
                        <a:pt x="32" y="6"/>
                        <a:pt x="32" y="5"/>
                        <a:pt x="32" y="4"/>
                      </a:cubicBezTo>
                      <a:cubicBezTo>
                        <a:pt x="33" y="4"/>
                        <a:pt x="34" y="3"/>
                        <a:pt x="35" y="3"/>
                      </a:cubicBezTo>
                      <a:cubicBezTo>
                        <a:pt x="37" y="3"/>
                        <a:pt x="36" y="9"/>
                        <a:pt x="38" y="9"/>
                      </a:cubicBezTo>
                      <a:cubicBezTo>
                        <a:pt x="38" y="9"/>
                        <a:pt x="39" y="8"/>
                        <a:pt x="39" y="8"/>
                      </a:cubicBezTo>
                      <a:lnTo>
                        <a:pt x="39" y="8"/>
                      </a:lnTo>
                      <a:lnTo>
                        <a:pt x="41" y="8"/>
                      </a:lnTo>
                      <a:lnTo>
                        <a:pt x="41" y="8"/>
                      </a:lnTo>
                      <a:cubicBezTo>
                        <a:pt x="40" y="10"/>
                        <a:pt x="36" y="13"/>
                        <a:pt x="33" y="13"/>
                      </a:cubicBezTo>
                      <a:lnTo>
                        <a:pt x="33" y="13"/>
                      </a:lnTo>
                      <a:lnTo>
                        <a:pt x="34" y="11"/>
                      </a:lnTo>
                      <a:lnTo>
                        <a:pt x="34" y="10"/>
                      </a:lnTo>
                      <a:lnTo>
                        <a:pt x="34" y="10"/>
                      </a:lnTo>
                      <a:cubicBezTo>
                        <a:pt x="34" y="10"/>
                        <a:pt x="34" y="10"/>
                        <a:pt x="34" y="10"/>
                      </a:cubicBezTo>
                      <a:cubicBezTo>
                        <a:pt x="33" y="12"/>
                        <a:pt x="31" y="12"/>
                        <a:pt x="31" y="12"/>
                      </a:cubicBezTo>
                      <a:cubicBezTo>
                        <a:pt x="30" y="12"/>
                        <a:pt x="28" y="12"/>
                        <a:pt x="28" y="13"/>
                      </a:cubicBezTo>
                      <a:lnTo>
                        <a:pt x="28" y="13"/>
                      </a:lnTo>
                      <a:lnTo>
                        <a:pt x="27" y="13"/>
                      </a:lnTo>
                      <a:lnTo>
                        <a:pt x="27" y="13"/>
                      </a:lnTo>
                      <a:cubicBezTo>
                        <a:pt x="27" y="12"/>
                        <a:pt x="27" y="12"/>
                        <a:pt x="27" y="12"/>
                      </a:cubicBezTo>
                      <a:cubicBezTo>
                        <a:pt x="27" y="10"/>
                        <a:pt x="26" y="9"/>
                        <a:pt x="26" y="9"/>
                      </a:cubicBezTo>
                      <a:cubicBezTo>
                        <a:pt x="26" y="11"/>
                        <a:pt x="23" y="13"/>
                        <a:pt x="21" y="12"/>
                      </a:cubicBezTo>
                      <a:cubicBezTo>
                        <a:pt x="20" y="12"/>
                        <a:pt x="19" y="15"/>
                        <a:pt x="17" y="15"/>
                      </a:cubicBezTo>
                      <a:cubicBezTo>
                        <a:pt x="17" y="15"/>
                        <a:pt x="17" y="14"/>
                        <a:pt x="16" y="14"/>
                      </a:cubicBezTo>
                      <a:cubicBezTo>
                        <a:pt x="15" y="14"/>
                        <a:pt x="14" y="15"/>
                        <a:pt x="13" y="15"/>
                      </a:cubicBezTo>
                      <a:cubicBezTo>
                        <a:pt x="10" y="17"/>
                        <a:pt x="10" y="15"/>
                        <a:pt x="9" y="15"/>
                      </a:cubicBezTo>
                      <a:cubicBezTo>
                        <a:pt x="8" y="15"/>
                        <a:pt x="7" y="17"/>
                        <a:pt x="5" y="17"/>
                      </a:cubicBezTo>
                      <a:cubicBezTo>
                        <a:pt x="4" y="17"/>
                        <a:pt x="0" y="15"/>
                        <a:pt x="0" y="15"/>
                      </a:cubicBezTo>
                      <a:lnTo>
                        <a:pt x="0" y="15"/>
                      </a:lnTo>
                      <a:lnTo>
                        <a:pt x="0" y="1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4" name="Freeform 358"/>
                <p:cNvSpPr>
                  <a:spLocks/>
                </p:cNvSpPr>
                <p:nvPr>
                  <p:custDataLst>
                    <p:tags r:id="rId340"/>
                  </p:custDataLst>
                </p:nvPr>
              </p:nvSpPr>
              <p:spPr bwMode="gray">
                <a:xfrm>
                  <a:off x="6167372" y="4835415"/>
                  <a:ext cx="9871" cy="11008"/>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5" name="Freeform 359"/>
                <p:cNvSpPr>
                  <a:spLocks/>
                </p:cNvSpPr>
                <p:nvPr>
                  <p:custDataLst>
                    <p:tags r:id="rId341"/>
                  </p:custDataLst>
                </p:nvPr>
              </p:nvSpPr>
              <p:spPr bwMode="gray">
                <a:xfrm>
                  <a:off x="7212383" y="3646595"/>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1" y="0"/>
                        <a:pt x="1" y="0"/>
                      </a:cubicBezTo>
                      <a:cubicBezTo>
                        <a:pt x="1" y="0"/>
                        <a:pt x="1" y="0"/>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6" name="Freeform 360"/>
                <p:cNvSpPr>
                  <a:spLocks/>
                </p:cNvSpPr>
                <p:nvPr>
                  <p:custDataLst>
                    <p:tags r:id="rId342"/>
                  </p:custDataLst>
                </p:nvPr>
              </p:nvSpPr>
              <p:spPr bwMode="gray">
                <a:xfrm>
                  <a:off x="7071355" y="3637161"/>
                  <a:ext cx="11282" cy="20442"/>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7" name="Freeform 361"/>
                <p:cNvSpPr>
                  <a:spLocks/>
                </p:cNvSpPr>
                <p:nvPr>
                  <p:custDataLst>
                    <p:tags r:id="rId343"/>
                  </p:custDataLst>
                </p:nvPr>
              </p:nvSpPr>
              <p:spPr bwMode="gray">
                <a:xfrm>
                  <a:off x="7112253" y="3626154"/>
                  <a:ext cx="9871" cy="11009"/>
                </a:xfrm>
                <a:custGeom>
                  <a:avLst/>
                  <a:gdLst>
                    <a:gd name="T0" fmla="*/ 0 w 1"/>
                    <a:gd name="T1" fmla="*/ 0 h 1"/>
                    <a:gd name="T2" fmla="*/ 0 w 1"/>
                    <a:gd name="T3" fmla="*/ 1 h 1"/>
                    <a:gd name="T4" fmla="*/ 0 w 1"/>
                    <a:gd name="T5" fmla="*/ 1 h 1"/>
                    <a:gd name="T6" fmla="*/ 1 w 1"/>
                    <a:gd name="T7" fmla="*/ 0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lnTo>
                        <a:pt x="0" y="1"/>
                      </a:lnTo>
                      <a:lnTo>
                        <a:pt x="0" y="1"/>
                      </a:lnTo>
                      <a:cubicBezTo>
                        <a:pt x="0" y="1"/>
                        <a:pt x="1" y="0"/>
                        <a:pt x="1" y="0"/>
                      </a:cubicBezTo>
                      <a:cubicBezTo>
                        <a:pt x="0" y="0"/>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8" name="Freeform 362"/>
                <p:cNvSpPr>
                  <a:spLocks/>
                </p:cNvSpPr>
                <p:nvPr>
                  <p:custDataLst>
                    <p:tags r:id="rId344"/>
                  </p:custDataLst>
                </p:nvPr>
              </p:nvSpPr>
              <p:spPr bwMode="gray">
                <a:xfrm>
                  <a:off x="7182767" y="3657604"/>
                  <a:ext cx="19744" cy="34595"/>
                </a:xfrm>
                <a:custGeom>
                  <a:avLst/>
                  <a:gdLst>
                    <a:gd name="T0" fmla="*/ 2 w 2"/>
                    <a:gd name="T1" fmla="*/ 3 h 3"/>
                    <a:gd name="T2" fmla="*/ 2 w 2"/>
                    <a:gd name="T3" fmla="*/ 3 h 3"/>
                    <a:gd name="T4" fmla="*/ 0 w 2"/>
                    <a:gd name="T5" fmla="*/ 0 h 3"/>
                    <a:gd name="T6" fmla="*/ 2 w 2"/>
                    <a:gd name="T7" fmla="*/ 3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2"/>
                        <a:pt x="1" y="1"/>
                        <a:pt x="0" y="0"/>
                      </a:cubicBezTo>
                      <a:cubicBezTo>
                        <a:pt x="0" y="2"/>
                        <a:pt x="1" y="3"/>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29" name="Freeform 363"/>
                <p:cNvSpPr>
                  <a:spLocks/>
                </p:cNvSpPr>
                <p:nvPr>
                  <p:custDataLst>
                    <p:tags r:id="rId345"/>
                  </p:custDataLst>
                </p:nvPr>
              </p:nvSpPr>
              <p:spPr bwMode="gray">
                <a:xfrm>
                  <a:off x="7514180" y="3670183"/>
                  <a:ext cx="39488" cy="100641"/>
                </a:xfrm>
                <a:custGeom>
                  <a:avLst/>
                  <a:gdLst>
                    <a:gd name="T0" fmla="*/ 0 w 4"/>
                    <a:gd name="T1" fmla="*/ 3 h 9"/>
                    <a:gd name="T2" fmla="*/ 3 w 4"/>
                    <a:gd name="T3" fmla="*/ 9 h 9"/>
                    <a:gd name="T4" fmla="*/ 4 w 4"/>
                    <a:gd name="T5" fmla="*/ 7 h 9"/>
                    <a:gd name="T6" fmla="*/ 3 w 4"/>
                    <a:gd name="T7" fmla="*/ 6 h 9"/>
                    <a:gd name="T8" fmla="*/ 1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5"/>
                        <a:pt x="3" y="9"/>
                        <a:pt x="3" y="9"/>
                      </a:cubicBezTo>
                      <a:cubicBezTo>
                        <a:pt x="3" y="9"/>
                        <a:pt x="4" y="8"/>
                        <a:pt x="4" y="7"/>
                      </a:cubicBezTo>
                      <a:cubicBezTo>
                        <a:pt x="4" y="6"/>
                        <a:pt x="3" y="6"/>
                        <a:pt x="3" y="6"/>
                      </a:cubicBezTo>
                      <a:cubicBezTo>
                        <a:pt x="2" y="4"/>
                        <a:pt x="2" y="2"/>
                        <a:pt x="1" y="0"/>
                      </a:cubicBezTo>
                      <a:cubicBezTo>
                        <a:pt x="0" y="1"/>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0" name="Freeform 364"/>
                <p:cNvSpPr>
                  <a:spLocks/>
                </p:cNvSpPr>
                <p:nvPr>
                  <p:custDataLst>
                    <p:tags r:id="rId346"/>
                  </p:custDataLst>
                </p:nvPr>
              </p:nvSpPr>
              <p:spPr bwMode="gray">
                <a:xfrm>
                  <a:off x="7433796" y="3637161"/>
                  <a:ext cx="170642" cy="33022"/>
                </a:xfrm>
                <a:custGeom>
                  <a:avLst/>
                  <a:gdLst>
                    <a:gd name="T0" fmla="*/ 0 w 17"/>
                    <a:gd name="T1" fmla="*/ 1 h 3"/>
                    <a:gd name="T2" fmla="*/ 3 w 17"/>
                    <a:gd name="T3" fmla="*/ 3 h 3"/>
                    <a:gd name="T4" fmla="*/ 4 w 17"/>
                    <a:gd name="T5" fmla="*/ 2 h 3"/>
                    <a:gd name="T6" fmla="*/ 4 w 17"/>
                    <a:gd name="T7" fmla="*/ 2 h 3"/>
                    <a:gd name="T8" fmla="*/ 8 w 17"/>
                    <a:gd name="T9" fmla="*/ 2 h 3"/>
                    <a:gd name="T10" fmla="*/ 8 w 17"/>
                    <a:gd name="T11" fmla="*/ 2 h 3"/>
                    <a:gd name="T12" fmla="*/ 17 w 17"/>
                    <a:gd name="T13" fmla="*/ 0 h 3"/>
                    <a:gd name="T14" fmla="*/ 17 w 17"/>
                    <a:gd name="T15" fmla="*/ 0 h 3"/>
                    <a:gd name="T16" fmla="*/ 9 w 17"/>
                    <a:gd name="T17" fmla="*/ 0 h 3"/>
                    <a:gd name="T18" fmla="*/ 9 w 17"/>
                    <a:gd name="T19" fmla="*/ 0 h 3"/>
                    <a:gd name="T20" fmla="*/ 0 w 17"/>
                    <a:gd name="T21" fmla="*/ 1 h 3"/>
                    <a:gd name="T22" fmla="*/ 0 w 17"/>
                    <a:gd name="T23" fmla="*/ 1 h 3"/>
                    <a:gd name="T24" fmla="*/ 0 w 17"/>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
                      <a:moveTo>
                        <a:pt x="0" y="1"/>
                      </a:moveTo>
                      <a:cubicBezTo>
                        <a:pt x="1" y="2"/>
                        <a:pt x="1" y="3"/>
                        <a:pt x="3" y="3"/>
                      </a:cubicBezTo>
                      <a:cubicBezTo>
                        <a:pt x="4" y="3"/>
                        <a:pt x="4" y="2"/>
                        <a:pt x="4" y="2"/>
                      </a:cubicBezTo>
                      <a:lnTo>
                        <a:pt x="4" y="2"/>
                      </a:lnTo>
                      <a:lnTo>
                        <a:pt x="8" y="2"/>
                      </a:lnTo>
                      <a:lnTo>
                        <a:pt x="8" y="2"/>
                      </a:lnTo>
                      <a:cubicBezTo>
                        <a:pt x="11" y="1"/>
                        <a:pt x="15" y="3"/>
                        <a:pt x="17" y="0"/>
                      </a:cubicBezTo>
                      <a:lnTo>
                        <a:pt x="17" y="0"/>
                      </a:lnTo>
                      <a:lnTo>
                        <a:pt x="9" y="0"/>
                      </a:lnTo>
                      <a:lnTo>
                        <a:pt x="9" y="0"/>
                      </a:lnTo>
                      <a:cubicBezTo>
                        <a:pt x="5" y="1"/>
                        <a:pt x="3"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1" name="Freeform 365"/>
                <p:cNvSpPr>
                  <a:spLocks/>
                </p:cNvSpPr>
                <p:nvPr>
                  <p:custDataLst>
                    <p:tags r:id="rId347"/>
                  </p:custDataLst>
                </p:nvPr>
              </p:nvSpPr>
              <p:spPr bwMode="gray">
                <a:xfrm>
                  <a:off x="7273024" y="3602566"/>
                  <a:ext cx="150898" cy="78626"/>
                </a:xfrm>
                <a:custGeom>
                  <a:avLst/>
                  <a:gdLst>
                    <a:gd name="T0" fmla="*/ 12 w 15"/>
                    <a:gd name="T1" fmla="*/ 3 h 7"/>
                    <a:gd name="T2" fmla="*/ 13 w 15"/>
                    <a:gd name="T3" fmla="*/ 2 h 7"/>
                    <a:gd name="T4" fmla="*/ 15 w 15"/>
                    <a:gd name="T5" fmla="*/ 3 h 7"/>
                    <a:gd name="T6" fmla="*/ 9 w 15"/>
                    <a:gd name="T7" fmla="*/ 5 h 7"/>
                    <a:gd name="T8" fmla="*/ 3 w 15"/>
                    <a:gd name="T9" fmla="*/ 7 h 7"/>
                    <a:gd name="T10" fmla="*/ 0 w 15"/>
                    <a:gd name="T11" fmla="*/ 2 h 7"/>
                    <a:gd name="T12" fmla="*/ 5 w 15"/>
                    <a:gd name="T13" fmla="*/ 0 h 7"/>
                    <a:gd name="T14" fmla="*/ 5 w 15"/>
                    <a:gd name="T15" fmla="*/ 0 h 7"/>
                    <a:gd name="T16" fmla="*/ 12 w 15"/>
                    <a:gd name="T17" fmla="*/ 3 h 7"/>
                    <a:gd name="T18" fmla="*/ 12 w 15"/>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7">
                      <a:moveTo>
                        <a:pt x="12" y="3"/>
                      </a:moveTo>
                      <a:cubicBezTo>
                        <a:pt x="12" y="3"/>
                        <a:pt x="13" y="2"/>
                        <a:pt x="13" y="2"/>
                      </a:cubicBezTo>
                      <a:cubicBezTo>
                        <a:pt x="14" y="3"/>
                        <a:pt x="15" y="2"/>
                        <a:pt x="15" y="3"/>
                      </a:cubicBezTo>
                      <a:cubicBezTo>
                        <a:pt x="15" y="5"/>
                        <a:pt x="11" y="5"/>
                        <a:pt x="9" y="5"/>
                      </a:cubicBezTo>
                      <a:cubicBezTo>
                        <a:pt x="6" y="5"/>
                        <a:pt x="5" y="7"/>
                        <a:pt x="3" y="7"/>
                      </a:cubicBezTo>
                      <a:cubicBezTo>
                        <a:pt x="1" y="7"/>
                        <a:pt x="0" y="4"/>
                        <a:pt x="0" y="2"/>
                      </a:cubicBezTo>
                      <a:cubicBezTo>
                        <a:pt x="0" y="2"/>
                        <a:pt x="4" y="0"/>
                        <a:pt x="5" y="0"/>
                      </a:cubicBezTo>
                      <a:lnTo>
                        <a:pt x="5" y="0"/>
                      </a:lnTo>
                      <a:lnTo>
                        <a:pt x="12" y="3"/>
                      </a:lnTo>
                      <a:lnTo>
                        <a:pt x="1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2" name="Freeform 366"/>
                <p:cNvSpPr>
                  <a:spLocks/>
                </p:cNvSpPr>
                <p:nvPr>
                  <p:custDataLst>
                    <p:tags r:id="rId348"/>
                  </p:custDataLst>
                </p:nvPr>
              </p:nvSpPr>
              <p:spPr bwMode="gray">
                <a:xfrm>
                  <a:off x="7253280" y="3670185"/>
                  <a:ext cx="1974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0"/>
                        <a:pt x="1" y="0"/>
                        <a:pt x="0" y="0"/>
                      </a:cubicBezTo>
                      <a:cubicBezTo>
                        <a:pt x="1" y="0"/>
                        <a:pt x="1" y="1"/>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3" name="Freeform 367"/>
                <p:cNvSpPr>
                  <a:spLocks/>
                </p:cNvSpPr>
                <p:nvPr>
                  <p:custDataLst>
                    <p:tags r:id="rId349"/>
                  </p:custDataLst>
                </p:nvPr>
              </p:nvSpPr>
              <p:spPr bwMode="gray">
                <a:xfrm>
                  <a:off x="7031867" y="3512931"/>
                  <a:ext cx="119874" cy="102214"/>
                </a:xfrm>
                <a:custGeom>
                  <a:avLst/>
                  <a:gdLst>
                    <a:gd name="T0" fmla="*/ 2 w 12"/>
                    <a:gd name="T1" fmla="*/ 7 h 9"/>
                    <a:gd name="T2" fmla="*/ 0 w 12"/>
                    <a:gd name="T3" fmla="*/ 5 h 9"/>
                    <a:gd name="T4" fmla="*/ 6 w 12"/>
                    <a:gd name="T5" fmla="*/ 0 h 9"/>
                    <a:gd name="T6" fmla="*/ 6 w 12"/>
                    <a:gd name="T7" fmla="*/ 4 h 9"/>
                    <a:gd name="T8" fmla="*/ 8 w 12"/>
                    <a:gd name="T9" fmla="*/ 3 h 9"/>
                    <a:gd name="T10" fmla="*/ 7 w 12"/>
                    <a:gd name="T11" fmla="*/ 1 h 9"/>
                    <a:gd name="T12" fmla="*/ 8 w 12"/>
                    <a:gd name="T13" fmla="*/ 1 h 9"/>
                    <a:gd name="T14" fmla="*/ 12 w 12"/>
                    <a:gd name="T15" fmla="*/ 4 h 9"/>
                    <a:gd name="T16" fmla="*/ 9 w 12"/>
                    <a:gd name="T17" fmla="*/ 6 h 9"/>
                    <a:gd name="T18" fmla="*/ 8 w 12"/>
                    <a:gd name="T19" fmla="*/ 6 h 9"/>
                    <a:gd name="T20" fmla="*/ 6 w 12"/>
                    <a:gd name="T21" fmla="*/ 9 h 9"/>
                    <a:gd name="T22" fmla="*/ 5 w 12"/>
                    <a:gd name="T23" fmla="*/ 5 h 9"/>
                    <a:gd name="T24" fmla="*/ 6 w 12"/>
                    <a:gd name="T25" fmla="*/ 3 h 9"/>
                    <a:gd name="T26" fmla="*/ 2 w 12"/>
                    <a:gd name="T27" fmla="*/ 7 h 9"/>
                    <a:gd name="T28" fmla="*/ 2 w 12"/>
                    <a:gd name="T29" fmla="*/ 7 h 9"/>
                    <a:gd name="T30" fmla="*/ 2 w 12"/>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2" y="7"/>
                      </a:moveTo>
                      <a:cubicBezTo>
                        <a:pt x="0" y="7"/>
                        <a:pt x="0" y="6"/>
                        <a:pt x="0" y="5"/>
                      </a:cubicBezTo>
                      <a:cubicBezTo>
                        <a:pt x="0" y="1"/>
                        <a:pt x="3" y="0"/>
                        <a:pt x="6" y="0"/>
                      </a:cubicBezTo>
                      <a:cubicBezTo>
                        <a:pt x="7" y="0"/>
                        <a:pt x="6" y="4"/>
                        <a:pt x="6" y="4"/>
                      </a:cubicBezTo>
                      <a:cubicBezTo>
                        <a:pt x="7" y="4"/>
                        <a:pt x="8" y="3"/>
                        <a:pt x="8" y="3"/>
                      </a:cubicBezTo>
                      <a:cubicBezTo>
                        <a:pt x="8" y="2"/>
                        <a:pt x="7" y="2"/>
                        <a:pt x="7" y="1"/>
                      </a:cubicBezTo>
                      <a:cubicBezTo>
                        <a:pt x="8" y="1"/>
                        <a:pt x="8" y="1"/>
                        <a:pt x="8" y="1"/>
                      </a:cubicBezTo>
                      <a:cubicBezTo>
                        <a:pt x="10" y="1"/>
                        <a:pt x="11" y="3"/>
                        <a:pt x="12" y="4"/>
                      </a:cubicBezTo>
                      <a:cubicBezTo>
                        <a:pt x="12" y="5"/>
                        <a:pt x="11" y="6"/>
                        <a:pt x="9" y="6"/>
                      </a:cubicBezTo>
                      <a:cubicBezTo>
                        <a:pt x="8" y="6"/>
                        <a:pt x="8" y="6"/>
                        <a:pt x="8" y="6"/>
                      </a:cubicBezTo>
                      <a:cubicBezTo>
                        <a:pt x="6" y="6"/>
                        <a:pt x="7" y="8"/>
                        <a:pt x="6" y="9"/>
                      </a:cubicBezTo>
                      <a:cubicBezTo>
                        <a:pt x="5" y="8"/>
                        <a:pt x="5" y="6"/>
                        <a:pt x="5" y="5"/>
                      </a:cubicBezTo>
                      <a:cubicBezTo>
                        <a:pt x="5" y="4"/>
                        <a:pt x="6" y="3"/>
                        <a:pt x="6" y="3"/>
                      </a:cubicBezTo>
                      <a:cubicBezTo>
                        <a:pt x="4" y="4"/>
                        <a:pt x="4"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4" name="Freeform 368"/>
                <p:cNvSpPr>
                  <a:spLocks/>
                </p:cNvSpPr>
                <p:nvPr>
                  <p:custDataLst>
                    <p:tags r:id="rId350"/>
                  </p:custDataLst>
                </p:nvPr>
              </p:nvSpPr>
              <p:spPr bwMode="gray">
                <a:xfrm>
                  <a:off x="6830199" y="3333666"/>
                  <a:ext cx="19744" cy="11009"/>
                </a:xfrm>
                <a:custGeom>
                  <a:avLst/>
                  <a:gdLst>
                    <a:gd name="T0" fmla="*/ 0 w 2"/>
                    <a:gd name="T1" fmla="*/ 1 h 1"/>
                    <a:gd name="T2" fmla="*/ 2 w 2"/>
                    <a:gd name="T3" fmla="*/ 0 h 1"/>
                    <a:gd name="T4" fmla="*/ 0 w 2"/>
                    <a:gd name="T5" fmla="*/ 1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1" y="1"/>
                        <a:pt x="2" y="0"/>
                        <a:pt x="2" y="0"/>
                      </a:cubicBez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5" name="Freeform 369"/>
                <p:cNvSpPr>
                  <a:spLocks/>
                </p:cNvSpPr>
                <p:nvPr>
                  <p:custDataLst>
                    <p:tags r:id="rId351"/>
                  </p:custDataLst>
                </p:nvPr>
              </p:nvSpPr>
              <p:spPr bwMode="gray">
                <a:xfrm>
                  <a:off x="6990971" y="3390277"/>
                  <a:ext cx="9871"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6" name="Freeform 370"/>
                <p:cNvSpPr>
                  <a:spLocks/>
                </p:cNvSpPr>
                <p:nvPr>
                  <p:custDataLst>
                    <p:tags r:id="rId352"/>
                  </p:custDataLst>
                </p:nvPr>
              </p:nvSpPr>
              <p:spPr bwMode="gray">
                <a:xfrm>
                  <a:off x="6910584" y="3344673"/>
                  <a:ext cx="1128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7" name="Freeform 371"/>
                <p:cNvSpPr>
                  <a:spLocks/>
                </p:cNvSpPr>
                <p:nvPr>
                  <p:custDataLst>
                    <p:tags r:id="rId353"/>
                  </p:custDataLst>
                </p:nvPr>
              </p:nvSpPr>
              <p:spPr bwMode="gray">
                <a:xfrm>
                  <a:off x="6951484" y="3344673"/>
                  <a:ext cx="8461" cy="23588"/>
                </a:xfrm>
                <a:custGeom>
                  <a:avLst/>
                  <a:gdLst>
                    <a:gd name="T0" fmla="*/ 0 w 1"/>
                    <a:gd name="T1" fmla="*/ 0 h 2"/>
                    <a:gd name="T2" fmla="*/ 1 w 1"/>
                    <a:gd name="T3" fmla="*/ 2 h 2"/>
                    <a:gd name="T4" fmla="*/ 1 w 1"/>
                    <a:gd name="T5" fmla="*/ 0 h 2"/>
                    <a:gd name="T6" fmla="*/ 0 w 1"/>
                    <a:gd name="T7" fmla="*/ 0 h 2"/>
                    <a:gd name="T8" fmla="*/ 0 w 1"/>
                    <a:gd name="T9" fmla="*/ 0 h 2"/>
                    <a:gd name="T10" fmla="*/ 0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1"/>
                        <a:pt x="0" y="1"/>
                        <a:pt x="1" y="2"/>
                      </a:cubicBezTo>
                      <a:cubicBezTo>
                        <a:pt x="1" y="1"/>
                        <a:pt x="1" y="1"/>
                        <a:pt x="1" y="0"/>
                      </a:cubicBezTo>
                      <a:cubicBezTo>
                        <a:pt x="1" y="0"/>
                        <a:pt x="0" y="0"/>
                        <a:pt x="0" y="0"/>
                      </a:cubicBezTo>
                      <a:lnTo>
                        <a:pt x="0"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8" name="Freeform 372"/>
                <p:cNvSpPr>
                  <a:spLocks/>
                </p:cNvSpPr>
                <p:nvPr>
                  <p:custDataLst>
                    <p:tags r:id="rId354"/>
                  </p:custDataLst>
                </p:nvPr>
              </p:nvSpPr>
              <p:spPr bwMode="gray">
                <a:xfrm>
                  <a:off x="6077114" y="3794412"/>
                  <a:ext cx="9871"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39" name="Freeform 373"/>
                <p:cNvSpPr>
                  <a:spLocks/>
                </p:cNvSpPr>
                <p:nvPr>
                  <p:custDataLst>
                    <p:tags r:id="rId355"/>
                  </p:custDataLst>
                </p:nvPr>
              </p:nvSpPr>
              <p:spPr bwMode="gray">
                <a:xfrm>
                  <a:off x="6228013" y="3390277"/>
                  <a:ext cx="1410" cy="22015"/>
                </a:xfrm>
                <a:custGeom>
                  <a:avLst/>
                  <a:gdLst>
                    <a:gd name="T0" fmla="*/ 1 h 2"/>
                    <a:gd name="T1" fmla="*/ 0 h 2"/>
                    <a:gd name="T2" fmla="*/ 1 h 2"/>
                    <a:gd name="T3" fmla="*/ 2 h 2"/>
                    <a:gd name="T4" fmla="*/ 1 h 2"/>
                    <a:gd name="T5" fmla="*/ 1 h 2"/>
                    <a:gd name="T6" fmla="*/ 1 h 2"/>
                  </a:gdLst>
                  <a:ahLst/>
                  <a:cxnLst>
                    <a:cxn ang="0">
                      <a:pos x="0" y="T0"/>
                    </a:cxn>
                    <a:cxn ang="0">
                      <a:pos x="0" y="T1"/>
                    </a:cxn>
                    <a:cxn ang="0">
                      <a:pos x="0" y="T2"/>
                    </a:cxn>
                    <a:cxn ang="0">
                      <a:pos x="0" y="T3"/>
                    </a:cxn>
                    <a:cxn ang="0">
                      <a:pos x="0" y="T4"/>
                    </a:cxn>
                    <a:cxn ang="0">
                      <a:pos x="0" y="T5"/>
                    </a:cxn>
                    <a:cxn ang="0">
                      <a:pos x="0" y="T6"/>
                    </a:cxn>
                  </a:cxnLst>
                  <a:rect l="0" t="0" r="r" b="b"/>
                  <a:pathLst>
                    <a:path h="2">
                      <a:moveTo>
                        <a:pt x="0" y="1"/>
                      </a:moveTo>
                      <a:cubicBezTo>
                        <a:pt x="0" y="0"/>
                        <a:pt x="0" y="0"/>
                        <a:pt x="0" y="0"/>
                      </a:cubicBezTo>
                      <a:cubicBezTo>
                        <a:pt x="0" y="0"/>
                        <a:pt x="0" y="0"/>
                        <a:pt x="0" y="1"/>
                      </a:cubicBezTo>
                      <a:cubicBezTo>
                        <a:pt x="0"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0" name="Freeform 374"/>
                <p:cNvSpPr>
                  <a:spLocks/>
                </p:cNvSpPr>
                <p:nvPr>
                  <p:custDataLst>
                    <p:tags r:id="rId356"/>
                  </p:custDataLst>
                </p:nvPr>
              </p:nvSpPr>
              <p:spPr bwMode="gray">
                <a:xfrm>
                  <a:off x="6347887" y="2863486"/>
                  <a:ext cx="19744" cy="34595"/>
                </a:xfrm>
                <a:custGeom>
                  <a:avLst/>
                  <a:gdLst>
                    <a:gd name="T0" fmla="*/ 0 w 2"/>
                    <a:gd name="T1" fmla="*/ 2 h 3"/>
                    <a:gd name="T2" fmla="*/ 2 w 2"/>
                    <a:gd name="T3" fmla="*/ 0 h 3"/>
                    <a:gd name="T4" fmla="*/ 2 w 2"/>
                    <a:gd name="T5" fmla="*/ 3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1"/>
                        <a:pt x="2" y="0"/>
                      </a:cubicBezTo>
                      <a:cubicBezTo>
                        <a:pt x="2" y="2"/>
                        <a:pt x="2" y="2"/>
                        <a:pt x="2" y="3"/>
                      </a:cubicBezTo>
                      <a:cubicBezTo>
                        <a:pt x="1"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1" name="Freeform 375"/>
                <p:cNvSpPr>
                  <a:spLocks/>
                </p:cNvSpPr>
                <p:nvPr>
                  <p:custDataLst>
                    <p:tags r:id="rId357"/>
                  </p:custDataLst>
                </p:nvPr>
              </p:nvSpPr>
              <p:spPr bwMode="gray">
                <a:xfrm>
                  <a:off x="7865338" y="2806875"/>
                  <a:ext cx="101540" cy="122656"/>
                </a:xfrm>
                <a:custGeom>
                  <a:avLst/>
                  <a:gdLst>
                    <a:gd name="T0" fmla="*/ 3 w 10"/>
                    <a:gd name="T1" fmla="*/ 11 h 11"/>
                    <a:gd name="T2" fmla="*/ 3 w 10"/>
                    <a:gd name="T3" fmla="*/ 8 h 11"/>
                    <a:gd name="T4" fmla="*/ 0 w 10"/>
                    <a:gd name="T5" fmla="*/ 5 h 11"/>
                    <a:gd name="T6" fmla="*/ 1 w 10"/>
                    <a:gd name="T7" fmla="*/ 5 h 11"/>
                    <a:gd name="T8" fmla="*/ 2 w 10"/>
                    <a:gd name="T9" fmla="*/ 6 h 11"/>
                    <a:gd name="T10" fmla="*/ 4 w 10"/>
                    <a:gd name="T11" fmla="*/ 4 h 11"/>
                    <a:gd name="T12" fmla="*/ 8 w 10"/>
                    <a:gd name="T13" fmla="*/ 0 h 11"/>
                    <a:gd name="T14" fmla="*/ 10 w 10"/>
                    <a:gd name="T15" fmla="*/ 4 h 11"/>
                    <a:gd name="T16" fmla="*/ 9 w 10"/>
                    <a:gd name="T17" fmla="*/ 5 h 11"/>
                    <a:gd name="T18" fmla="*/ 9 w 10"/>
                    <a:gd name="T19" fmla="*/ 7 h 11"/>
                    <a:gd name="T20" fmla="*/ 3 w 10"/>
                    <a:gd name="T21" fmla="*/ 11 h 11"/>
                    <a:gd name="T22" fmla="*/ 3 w 10"/>
                    <a:gd name="T23" fmla="*/ 11 h 11"/>
                    <a:gd name="T24" fmla="*/ 3 w 10"/>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3" y="11"/>
                      </a:moveTo>
                      <a:cubicBezTo>
                        <a:pt x="3" y="10"/>
                        <a:pt x="3" y="9"/>
                        <a:pt x="3" y="8"/>
                      </a:cubicBezTo>
                      <a:cubicBezTo>
                        <a:pt x="3" y="6"/>
                        <a:pt x="1" y="7"/>
                        <a:pt x="0" y="5"/>
                      </a:cubicBezTo>
                      <a:cubicBezTo>
                        <a:pt x="0" y="5"/>
                        <a:pt x="1" y="5"/>
                        <a:pt x="1" y="5"/>
                      </a:cubicBezTo>
                      <a:cubicBezTo>
                        <a:pt x="1" y="5"/>
                        <a:pt x="2" y="6"/>
                        <a:pt x="2" y="6"/>
                      </a:cubicBezTo>
                      <a:cubicBezTo>
                        <a:pt x="3" y="6"/>
                        <a:pt x="4" y="4"/>
                        <a:pt x="4" y="4"/>
                      </a:cubicBezTo>
                      <a:cubicBezTo>
                        <a:pt x="4" y="2"/>
                        <a:pt x="6" y="0"/>
                        <a:pt x="8" y="0"/>
                      </a:cubicBezTo>
                      <a:cubicBezTo>
                        <a:pt x="8" y="0"/>
                        <a:pt x="10" y="4"/>
                        <a:pt x="10" y="4"/>
                      </a:cubicBezTo>
                      <a:cubicBezTo>
                        <a:pt x="10" y="5"/>
                        <a:pt x="9" y="5"/>
                        <a:pt x="9" y="5"/>
                      </a:cubicBezTo>
                      <a:cubicBezTo>
                        <a:pt x="8" y="6"/>
                        <a:pt x="9" y="7"/>
                        <a:pt x="9" y="7"/>
                      </a:cubicBezTo>
                      <a:cubicBezTo>
                        <a:pt x="8" y="10"/>
                        <a:pt x="5" y="11"/>
                        <a:pt x="3" y="11"/>
                      </a:cubicBezTo>
                      <a:lnTo>
                        <a:pt x="3" y="11"/>
                      </a:lnTo>
                      <a:lnTo>
                        <a:pt x="3"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2" name="Freeform 376"/>
                <p:cNvSpPr>
                  <a:spLocks/>
                </p:cNvSpPr>
                <p:nvPr>
                  <p:custDataLst>
                    <p:tags r:id="rId358"/>
                  </p:custDataLst>
                </p:nvPr>
              </p:nvSpPr>
              <p:spPr bwMode="gray">
                <a:xfrm>
                  <a:off x="7814568" y="2887072"/>
                  <a:ext cx="11282"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3" name="Freeform 377"/>
                <p:cNvSpPr>
                  <a:spLocks/>
                </p:cNvSpPr>
                <p:nvPr>
                  <p:custDataLst>
                    <p:tags r:id="rId359"/>
                  </p:custDataLst>
                </p:nvPr>
              </p:nvSpPr>
              <p:spPr bwMode="gray">
                <a:xfrm>
                  <a:off x="7755337" y="3278628"/>
                  <a:ext cx="9871" cy="33022"/>
                </a:xfrm>
                <a:custGeom>
                  <a:avLst/>
                  <a:gdLst>
                    <a:gd name="T0" fmla="*/ 0 w 1"/>
                    <a:gd name="T1" fmla="*/ 3 h 3"/>
                    <a:gd name="T2" fmla="*/ 0 w 1"/>
                    <a:gd name="T3" fmla="*/ 0 h 3"/>
                    <a:gd name="T4" fmla="*/ 1 w 1"/>
                    <a:gd name="T5" fmla="*/ 0 h 3"/>
                    <a:gd name="T6" fmla="*/ 1 w 1"/>
                    <a:gd name="T7" fmla="*/ 3 h 3"/>
                    <a:gd name="T8" fmla="*/ 0 w 1"/>
                    <a:gd name="T9" fmla="*/ 3 h 3"/>
                    <a:gd name="T10" fmla="*/ 0 w 1"/>
                    <a:gd name="T11" fmla="*/ 3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cubicBezTo>
                        <a:pt x="0" y="3"/>
                        <a:pt x="0" y="1"/>
                        <a:pt x="0" y="0"/>
                      </a:cubicBezTo>
                      <a:cubicBezTo>
                        <a:pt x="1" y="0"/>
                        <a:pt x="1" y="0"/>
                        <a:pt x="1" y="0"/>
                      </a:cubicBezTo>
                      <a:cubicBezTo>
                        <a:pt x="1" y="2"/>
                        <a:pt x="1" y="3"/>
                        <a:pt x="1" y="3"/>
                      </a:cubicBezTo>
                      <a:cubicBezTo>
                        <a:pt x="1" y="3"/>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4" name="Freeform 378"/>
                <p:cNvSpPr>
                  <a:spLocks/>
                </p:cNvSpPr>
                <p:nvPr>
                  <p:custDataLst>
                    <p:tags r:id="rId360"/>
                  </p:custDataLst>
                </p:nvPr>
              </p:nvSpPr>
              <p:spPr bwMode="gray">
                <a:xfrm>
                  <a:off x="7714439" y="3423299"/>
                  <a:ext cx="21155" cy="34595"/>
                </a:xfrm>
                <a:custGeom>
                  <a:avLst/>
                  <a:gdLst>
                    <a:gd name="T0" fmla="*/ 0 w 2"/>
                    <a:gd name="T1" fmla="*/ 2 h 3"/>
                    <a:gd name="T2" fmla="*/ 1 w 2"/>
                    <a:gd name="T3" fmla="*/ 0 h 3"/>
                    <a:gd name="T4" fmla="*/ 2 w 2"/>
                    <a:gd name="T5" fmla="*/ 2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0"/>
                        <a:pt x="1" y="0"/>
                      </a:cubicBezTo>
                      <a:cubicBezTo>
                        <a:pt x="1" y="1"/>
                        <a:pt x="1" y="1"/>
                        <a:pt x="2" y="2"/>
                      </a:cubicBezTo>
                      <a:cubicBezTo>
                        <a:pt x="1" y="3"/>
                        <a:pt x="0"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5" name="Freeform 379"/>
                <p:cNvSpPr>
                  <a:spLocks/>
                </p:cNvSpPr>
                <p:nvPr>
                  <p:custDataLst>
                    <p:tags r:id="rId361"/>
                  </p:custDataLst>
                </p:nvPr>
              </p:nvSpPr>
              <p:spPr bwMode="gray">
                <a:xfrm>
                  <a:off x="7714439" y="3344673"/>
                  <a:ext cx="21155" cy="56611"/>
                </a:xfrm>
                <a:custGeom>
                  <a:avLst/>
                  <a:gdLst>
                    <a:gd name="T0" fmla="*/ 0 w 2"/>
                    <a:gd name="T1" fmla="*/ 5 h 5"/>
                    <a:gd name="T2" fmla="*/ 0 w 2"/>
                    <a:gd name="T3" fmla="*/ 3 h 5"/>
                    <a:gd name="T4" fmla="*/ 1 w 2"/>
                    <a:gd name="T5" fmla="*/ 0 h 5"/>
                    <a:gd name="T6" fmla="*/ 2 w 2"/>
                    <a:gd name="T7" fmla="*/ 1 h 5"/>
                    <a:gd name="T8" fmla="*/ 2 w 2"/>
                    <a:gd name="T9" fmla="*/ 3 h 5"/>
                    <a:gd name="T10" fmla="*/ 0 w 2"/>
                    <a:gd name="T11" fmla="*/ 5 h 5"/>
                    <a:gd name="T12" fmla="*/ 0 w 2"/>
                    <a:gd name="T13" fmla="*/ 5 h 5"/>
                    <a:gd name="T14" fmla="*/ 0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5"/>
                      </a:moveTo>
                      <a:cubicBezTo>
                        <a:pt x="0" y="4"/>
                        <a:pt x="0" y="4"/>
                        <a:pt x="0" y="3"/>
                      </a:cubicBezTo>
                      <a:cubicBezTo>
                        <a:pt x="0" y="2"/>
                        <a:pt x="0" y="0"/>
                        <a:pt x="1" y="0"/>
                      </a:cubicBezTo>
                      <a:cubicBezTo>
                        <a:pt x="1" y="0"/>
                        <a:pt x="1" y="1"/>
                        <a:pt x="2" y="1"/>
                      </a:cubicBezTo>
                      <a:cubicBezTo>
                        <a:pt x="2" y="2"/>
                        <a:pt x="2" y="2"/>
                        <a:pt x="2" y="3"/>
                      </a:cubicBezTo>
                      <a:cubicBezTo>
                        <a:pt x="2" y="4"/>
                        <a:pt x="1" y="4"/>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6" name="Freeform 380"/>
                <p:cNvSpPr>
                  <a:spLocks/>
                </p:cNvSpPr>
                <p:nvPr>
                  <p:custDataLst>
                    <p:tags r:id="rId362"/>
                  </p:custDataLst>
                </p:nvPr>
              </p:nvSpPr>
              <p:spPr bwMode="gray">
                <a:xfrm>
                  <a:off x="7745465" y="3368262"/>
                  <a:ext cx="90258" cy="99068"/>
                </a:xfrm>
                <a:custGeom>
                  <a:avLst/>
                  <a:gdLst>
                    <a:gd name="T0" fmla="*/ 5 w 9"/>
                    <a:gd name="T1" fmla="*/ 7 h 9"/>
                    <a:gd name="T2" fmla="*/ 3 w 9"/>
                    <a:gd name="T3" fmla="*/ 7 h 9"/>
                    <a:gd name="T4" fmla="*/ 1 w 9"/>
                    <a:gd name="T5" fmla="*/ 4 h 9"/>
                    <a:gd name="T6" fmla="*/ 0 w 9"/>
                    <a:gd name="T7" fmla="*/ 2 h 9"/>
                    <a:gd name="T8" fmla="*/ 1 w 9"/>
                    <a:gd name="T9" fmla="*/ 0 h 9"/>
                    <a:gd name="T10" fmla="*/ 2 w 9"/>
                    <a:gd name="T11" fmla="*/ 1 h 9"/>
                    <a:gd name="T12" fmla="*/ 4 w 9"/>
                    <a:gd name="T13" fmla="*/ 0 h 9"/>
                    <a:gd name="T14" fmla="*/ 6 w 9"/>
                    <a:gd name="T15" fmla="*/ 2 h 9"/>
                    <a:gd name="T16" fmla="*/ 5 w 9"/>
                    <a:gd name="T17" fmla="*/ 5 h 9"/>
                    <a:gd name="T18" fmla="*/ 9 w 9"/>
                    <a:gd name="T19" fmla="*/ 7 h 9"/>
                    <a:gd name="T20" fmla="*/ 7 w 9"/>
                    <a:gd name="T21" fmla="*/ 9 h 9"/>
                    <a:gd name="T22" fmla="*/ 5 w 9"/>
                    <a:gd name="T23" fmla="*/ 7 h 9"/>
                    <a:gd name="T24" fmla="*/ 5 w 9"/>
                    <a:gd name="T25" fmla="*/ 7 h 9"/>
                    <a:gd name="T26" fmla="*/ 5 w 9"/>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5" y="7"/>
                      </a:moveTo>
                      <a:cubicBezTo>
                        <a:pt x="4" y="8"/>
                        <a:pt x="4" y="7"/>
                        <a:pt x="3" y="7"/>
                      </a:cubicBezTo>
                      <a:cubicBezTo>
                        <a:pt x="2" y="7"/>
                        <a:pt x="1" y="5"/>
                        <a:pt x="1" y="4"/>
                      </a:cubicBezTo>
                      <a:cubicBezTo>
                        <a:pt x="0" y="3"/>
                        <a:pt x="0" y="3"/>
                        <a:pt x="0" y="2"/>
                      </a:cubicBezTo>
                      <a:cubicBezTo>
                        <a:pt x="0" y="2"/>
                        <a:pt x="1" y="0"/>
                        <a:pt x="1" y="0"/>
                      </a:cubicBezTo>
                      <a:cubicBezTo>
                        <a:pt x="2" y="0"/>
                        <a:pt x="2" y="1"/>
                        <a:pt x="2" y="1"/>
                      </a:cubicBezTo>
                      <a:cubicBezTo>
                        <a:pt x="3" y="0"/>
                        <a:pt x="4" y="0"/>
                        <a:pt x="4" y="0"/>
                      </a:cubicBezTo>
                      <a:cubicBezTo>
                        <a:pt x="5" y="0"/>
                        <a:pt x="6" y="2"/>
                        <a:pt x="6" y="2"/>
                      </a:cubicBezTo>
                      <a:cubicBezTo>
                        <a:pt x="6" y="4"/>
                        <a:pt x="5" y="3"/>
                        <a:pt x="5" y="5"/>
                      </a:cubicBezTo>
                      <a:cubicBezTo>
                        <a:pt x="5" y="7"/>
                        <a:pt x="9" y="5"/>
                        <a:pt x="9" y="7"/>
                      </a:cubicBezTo>
                      <a:cubicBezTo>
                        <a:pt x="9" y="8"/>
                        <a:pt x="8" y="9"/>
                        <a:pt x="7" y="9"/>
                      </a:cubicBezTo>
                      <a:cubicBezTo>
                        <a:pt x="6" y="9"/>
                        <a:pt x="5" y="8"/>
                        <a:pt x="5" y="7"/>
                      </a:cubicBezTo>
                      <a:lnTo>
                        <a:pt x="5" y="7"/>
                      </a:lnTo>
                      <a:lnTo>
                        <a:pt x="5"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7" name="Freeform 381"/>
                <p:cNvSpPr>
                  <a:spLocks/>
                </p:cNvSpPr>
                <p:nvPr>
                  <p:custDataLst>
                    <p:tags r:id="rId363"/>
                  </p:custDataLst>
                </p:nvPr>
              </p:nvSpPr>
              <p:spPr bwMode="gray">
                <a:xfrm>
                  <a:off x="7433796" y="2459348"/>
                  <a:ext cx="9871" cy="12580"/>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8" name="Freeform 382"/>
                <p:cNvSpPr>
                  <a:spLocks/>
                </p:cNvSpPr>
                <p:nvPr>
                  <p:custDataLst>
                    <p:tags r:id="rId364"/>
                  </p:custDataLst>
                </p:nvPr>
              </p:nvSpPr>
              <p:spPr bwMode="gray">
                <a:xfrm>
                  <a:off x="7916108" y="3501925"/>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0" y="0"/>
                        <a:pt x="1" y="1"/>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49" name="Freeform 383"/>
                <p:cNvSpPr>
                  <a:spLocks/>
                </p:cNvSpPr>
                <p:nvPr>
                  <p:custDataLst>
                    <p:tags r:id="rId365"/>
                  </p:custDataLst>
                </p:nvPr>
              </p:nvSpPr>
              <p:spPr bwMode="gray">
                <a:xfrm>
                  <a:off x="7896364" y="3478337"/>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1"/>
                        <a:pt x="2"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0" name="Freeform 384"/>
                <p:cNvSpPr>
                  <a:spLocks/>
                </p:cNvSpPr>
                <p:nvPr>
                  <p:custDataLst>
                    <p:tags r:id="rId366"/>
                  </p:custDataLst>
                </p:nvPr>
              </p:nvSpPr>
              <p:spPr bwMode="gray">
                <a:xfrm>
                  <a:off x="7735593" y="3143392"/>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1" name="Freeform 385"/>
                <p:cNvSpPr>
                  <a:spLocks/>
                </p:cNvSpPr>
                <p:nvPr>
                  <p:custDataLst>
                    <p:tags r:id="rId367"/>
                  </p:custDataLst>
                </p:nvPr>
              </p:nvSpPr>
              <p:spPr bwMode="gray">
                <a:xfrm>
                  <a:off x="7755337" y="3165406"/>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2" name="Freeform 386"/>
                <p:cNvSpPr>
                  <a:spLocks/>
                </p:cNvSpPr>
                <p:nvPr>
                  <p:custDataLst>
                    <p:tags r:id="rId368"/>
                  </p:custDataLst>
                </p:nvPr>
              </p:nvSpPr>
              <p:spPr bwMode="gray">
                <a:xfrm>
                  <a:off x="7745465" y="3233025"/>
                  <a:ext cx="9872" cy="23588"/>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3" name="Freeform 387"/>
                <p:cNvSpPr>
                  <a:spLocks/>
                </p:cNvSpPr>
                <p:nvPr>
                  <p:custDataLst>
                    <p:tags r:id="rId369"/>
                  </p:custDataLst>
                </p:nvPr>
              </p:nvSpPr>
              <p:spPr bwMode="gray">
                <a:xfrm>
                  <a:off x="7694696" y="3344673"/>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4" name="Freeform 388"/>
                <p:cNvSpPr>
                  <a:spLocks/>
                </p:cNvSpPr>
                <p:nvPr>
                  <p:custDataLst>
                    <p:tags r:id="rId370"/>
                  </p:custDataLst>
                </p:nvPr>
              </p:nvSpPr>
              <p:spPr bwMode="gray">
                <a:xfrm>
                  <a:off x="7714439" y="3322658"/>
                  <a:ext cx="21155" cy="11008"/>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1" y="0"/>
                        <a:pt x="1" y="0"/>
                      </a:cubicBezTo>
                      <a:cubicBezTo>
                        <a:pt x="2" y="0"/>
                        <a:pt x="2" y="0"/>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5" name="Freeform 389"/>
                <p:cNvSpPr>
                  <a:spLocks/>
                </p:cNvSpPr>
                <p:nvPr>
                  <p:custDataLst>
                    <p:tags r:id="rId371"/>
                  </p:custDataLst>
                </p:nvPr>
              </p:nvSpPr>
              <p:spPr bwMode="gray">
                <a:xfrm>
                  <a:off x="7765208" y="2898080"/>
                  <a:ext cx="231285" cy="569250"/>
                </a:xfrm>
                <a:custGeom>
                  <a:avLst/>
                  <a:gdLst>
                    <a:gd name="T0" fmla="*/ 12 w 23"/>
                    <a:gd name="T1" fmla="*/ 49 h 51"/>
                    <a:gd name="T2" fmla="*/ 7 w 23"/>
                    <a:gd name="T3" fmla="*/ 43 h 51"/>
                    <a:gd name="T4" fmla="*/ 3 w 23"/>
                    <a:gd name="T5" fmla="*/ 35 h 51"/>
                    <a:gd name="T6" fmla="*/ 4 w 23"/>
                    <a:gd name="T7" fmla="*/ 31 h 51"/>
                    <a:gd name="T8" fmla="*/ 3 w 23"/>
                    <a:gd name="T9" fmla="*/ 30 h 51"/>
                    <a:gd name="T10" fmla="*/ 1 w 23"/>
                    <a:gd name="T11" fmla="*/ 25 h 51"/>
                    <a:gd name="T12" fmla="*/ 3 w 23"/>
                    <a:gd name="T13" fmla="*/ 23 h 51"/>
                    <a:gd name="T14" fmla="*/ 0 w 23"/>
                    <a:gd name="T15" fmla="*/ 17 h 51"/>
                    <a:gd name="T16" fmla="*/ 1 w 23"/>
                    <a:gd name="T17" fmla="*/ 13 h 51"/>
                    <a:gd name="T18" fmla="*/ 5 w 23"/>
                    <a:gd name="T19" fmla="*/ 4 h 51"/>
                    <a:gd name="T20" fmla="*/ 9 w 23"/>
                    <a:gd name="T21" fmla="*/ 0 h 51"/>
                    <a:gd name="T22" fmla="*/ 9 w 23"/>
                    <a:gd name="T23" fmla="*/ 0 h 51"/>
                    <a:gd name="T24" fmla="*/ 10 w 23"/>
                    <a:gd name="T25" fmla="*/ 0 h 51"/>
                    <a:gd name="T26" fmla="*/ 10 w 23"/>
                    <a:gd name="T27" fmla="*/ 0 h 51"/>
                    <a:gd name="T28" fmla="*/ 7 w 23"/>
                    <a:gd name="T29" fmla="*/ 5 h 51"/>
                    <a:gd name="T30" fmla="*/ 8 w 23"/>
                    <a:gd name="T31" fmla="*/ 7 h 51"/>
                    <a:gd name="T32" fmla="*/ 10 w 23"/>
                    <a:gd name="T33" fmla="*/ 11 h 51"/>
                    <a:gd name="T34" fmla="*/ 3 w 23"/>
                    <a:gd name="T35" fmla="*/ 21 h 51"/>
                    <a:gd name="T36" fmla="*/ 6 w 23"/>
                    <a:gd name="T37" fmla="*/ 22 h 51"/>
                    <a:gd name="T38" fmla="*/ 8 w 23"/>
                    <a:gd name="T39" fmla="*/ 21 h 51"/>
                    <a:gd name="T40" fmla="*/ 8 w 23"/>
                    <a:gd name="T41" fmla="*/ 19 h 51"/>
                    <a:gd name="T42" fmla="*/ 9 w 23"/>
                    <a:gd name="T43" fmla="*/ 17 h 51"/>
                    <a:gd name="T44" fmla="*/ 12 w 23"/>
                    <a:gd name="T45" fmla="*/ 17 h 51"/>
                    <a:gd name="T46" fmla="*/ 10 w 23"/>
                    <a:gd name="T47" fmla="*/ 15 h 51"/>
                    <a:gd name="T48" fmla="*/ 12 w 23"/>
                    <a:gd name="T49" fmla="*/ 13 h 51"/>
                    <a:gd name="T50" fmla="*/ 18 w 23"/>
                    <a:gd name="T51" fmla="*/ 10 h 51"/>
                    <a:gd name="T52" fmla="*/ 21 w 23"/>
                    <a:gd name="T53" fmla="*/ 14 h 51"/>
                    <a:gd name="T54" fmla="*/ 16 w 23"/>
                    <a:gd name="T55" fmla="*/ 21 h 51"/>
                    <a:gd name="T56" fmla="*/ 13 w 23"/>
                    <a:gd name="T57" fmla="*/ 24 h 51"/>
                    <a:gd name="T58" fmla="*/ 20 w 23"/>
                    <a:gd name="T59" fmla="*/ 29 h 51"/>
                    <a:gd name="T60" fmla="*/ 23 w 23"/>
                    <a:gd name="T61" fmla="*/ 32 h 51"/>
                    <a:gd name="T62" fmla="*/ 22 w 23"/>
                    <a:gd name="T63" fmla="*/ 32 h 51"/>
                    <a:gd name="T64" fmla="*/ 20 w 23"/>
                    <a:gd name="T65" fmla="*/ 31 h 51"/>
                    <a:gd name="T66" fmla="*/ 18 w 23"/>
                    <a:gd name="T67" fmla="*/ 31 h 51"/>
                    <a:gd name="T68" fmla="*/ 17 w 23"/>
                    <a:gd name="T69" fmla="*/ 30 h 51"/>
                    <a:gd name="T70" fmla="*/ 9 w 23"/>
                    <a:gd name="T71" fmla="*/ 28 h 51"/>
                    <a:gd name="T72" fmla="*/ 7 w 23"/>
                    <a:gd name="T73" fmla="*/ 30 h 51"/>
                    <a:gd name="T74" fmla="*/ 7 w 23"/>
                    <a:gd name="T75" fmla="*/ 30 h 51"/>
                    <a:gd name="T76" fmla="*/ 8 w 23"/>
                    <a:gd name="T77" fmla="*/ 33 h 51"/>
                    <a:gd name="T78" fmla="*/ 8 w 23"/>
                    <a:gd name="T79" fmla="*/ 33 h 51"/>
                    <a:gd name="T80" fmla="*/ 8 w 23"/>
                    <a:gd name="T81" fmla="*/ 35 h 51"/>
                    <a:gd name="T82" fmla="*/ 15 w 23"/>
                    <a:gd name="T83" fmla="*/ 51 h 51"/>
                    <a:gd name="T84" fmla="*/ 12 w 23"/>
                    <a:gd name="T85" fmla="*/ 49 h 51"/>
                    <a:gd name="T86" fmla="*/ 12 w 23"/>
                    <a:gd name="T87" fmla="*/ 49 h 51"/>
                    <a:gd name="T88" fmla="*/ 12 w 23"/>
                    <a:gd name="T8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51">
                      <a:moveTo>
                        <a:pt x="12" y="49"/>
                      </a:moveTo>
                      <a:cubicBezTo>
                        <a:pt x="9" y="49"/>
                        <a:pt x="7" y="46"/>
                        <a:pt x="7" y="43"/>
                      </a:cubicBezTo>
                      <a:cubicBezTo>
                        <a:pt x="4" y="42"/>
                        <a:pt x="3" y="38"/>
                        <a:pt x="3" y="35"/>
                      </a:cubicBezTo>
                      <a:cubicBezTo>
                        <a:pt x="3" y="33"/>
                        <a:pt x="4" y="32"/>
                        <a:pt x="4" y="31"/>
                      </a:cubicBezTo>
                      <a:cubicBezTo>
                        <a:pt x="4" y="31"/>
                        <a:pt x="3" y="30"/>
                        <a:pt x="3" y="30"/>
                      </a:cubicBezTo>
                      <a:cubicBezTo>
                        <a:pt x="2" y="29"/>
                        <a:pt x="1" y="26"/>
                        <a:pt x="1" y="25"/>
                      </a:cubicBezTo>
                      <a:cubicBezTo>
                        <a:pt x="1" y="24"/>
                        <a:pt x="2" y="24"/>
                        <a:pt x="3" y="23"/>
                      </a:cubicBezTo>
                      <a:cubicBezTo>
                        <a:pt x="1" y="22"/>
                        <a:pt x="0" y="19"/>
                        <a:pt x="0" y="17"/>
                      </a:cubicBezTo>
                      <a:cubicBezTo>
                        <a:pt x="0" y="15"/>
                        <a:pt x="0" y="14"/>
                        <a:pt x="1" y="13"/>
                      </a:cubicBezTo>
                      <a:cubicBezTo>
                        <a:pt x="2" y="9"/>
                        <a:pt x="2" y="6"/>
                        <a:pt x="5" y="4"/>
                      </a:cubicBezTo>
                      <a:cubicBezTo>
                        <a:pt x="6" y="2"/>
                        <a:pt x="7" y="1"/>
                        <a:pt x="9" y="0"/>
                      </a:cubicBezTo>
                      <a:lnTo>
                        <a:pt x="9" y="0"/>
                      </a:lnTo>
                      <a:lnTo>
                        <a:pt x="10" y="0"/>
                      </a:lnTo>
                      <a:lnTo>
                        <a:pt x="10" y="0"/>
                      </a:lnTo>
                      <a:cubicBezTo>
                        <a:pt x="10" y="2"/>
                        <a:pt x="7" y="3"/>
                        <a:pt x="7" y="5"/>
                      </a:cubicBezTo>
                      <a:cubicBezTo>
                        <a:pt x="7" y="6"/>
                        <a:pt x="8" y="7"/>
                        <a:pt x="8" y="7"/>
                      </a:cubicBezTo>
                      <a:cubicBezTo>
                        <a:pt x="9" y="7"/>
                        <a:pt x="10" y="10"/>
                        <a:pt x="10" y="11"/>
                      </a:cubicBezTo>
                      <a:cubicBezTo>
                        <a:pt x="10" y="17"/>
                        <a:pt x="3" y="16"/>
                        <a:pt x="3" y="21"/>
                      </a:cubicBezTo>
                      <a:cubicBezTo>
                        <a:pt x="3" y="22"/>
                        <a:pt x="5" y="22"/>
                        <a:pt x="6" y="22"/>
                      </a:cubicBezTo>
                      <a:cubicBezTo>
                        <a:pt x="7" y="22"/>
                        <a:pt x="8" y="22"/>
                        <a:pt x="8" y="21"/>
                      </a:cubicBezTo>
                      <a:cubicBezTo>
                        <a:pt x="8" y="20"/>
                        <a:pt x="8" y="19"/>
                        <a:pt x="8" y="19"/>
                      </a:cubicBezTo>
                      <a:cubicBezTo>
                        <a:pt x="8" y="19"/>
                        <a:pt x="8" y="18"/>
                        <a:pt x="9" y="17"/>
                      </a:cubicBezTo>
                      <a:cubicBezTo>
                        <a:pt x="10" y="17"/>
                        <a:pt x="12" y="18"/>
                        <a:pt x="12" y="17"/>
                      </a:cubicBezTo>
                      <a:cubicBezTo>
                        <a:pt x="12" y="15"/>
                        <a:pt x="10" y="15"/>
                        <a:pt x="10" y="15"/>
                      </a:cubicBezTo>
                      <a:cubicBezTo>
                        <a:pt x="10" y="14"/>
                        <a:pt x="11" y="14"/>
                        <a:pt x="12" y="13"/>
                      </a:cubicBezTo>
                      <a:cubicBezTo>
                        <a:pt x="14" y="12"/>
                        <a:pt x="15" y="10"/>
                        <a:pt x="18" y="10"/>
                      </a:cubicBezTo>
                      <a:cubicBezTo>
                        <a:pt x="21" y="10"/>
                        <a:pt x="21" y="12"/>
                        <a:pt x="21" y="14"/>
                      </a:cubicBezTo>
                      <a:cubicBezTo>
                        <a:pt x="21" y="17"/>
                        <a:pt x="18" y="19"/>
                        <a:pt x="16" y="21"/>
                      </a:cubicBezTo>
                      <a:cubicBezTo>
                        <a:pt x="14" y="21"/>
                        <a:pt x="13" y="22"/>
                        <a:pt x="13" y="24"/>
                      </a:cubicBezTo>
                      <a:cubicBezTo>
                        <a:pt x="13" y="27"/>
                        <a:pt x="20" y="25"/>
                        <a:pt x="20" y="29"/>
                      </a:cubicBezTo>
                      <a:cubicBezTo>
                        <a:pt x="20" y="31"/>
                        <a:pt x="22" y="31"/>
                        <a:pt x="23" y="32"/>
                      </a:cubicBezTo>
                      <a:cubicBezTo>
                        <a:pt x="23" y="32"/>
                        <a:pt x="22" y="32"/>
                        <a:pt x="22" y="32"/>
                      </a:cubicBezTo>
                      <a:cubicBezTo>
                        <a:pt x="21" y="32"/>
                        <a:pt x="21" y="32"/>
                        <a:pt x="20" y="31"/>
                      </a:cubicBezTo>
                      <a:cubicBezTo>
                        <a:pt x="20" y="31"/>
                        <a:pt x="19" y="31"/>
                        <a:pt x="18" y="31"/>
                      </a:cubicBezTo>
                      <a:cubicBezTo>
                        <a:pt x="18" y="31"/>
                        <a:pt x="17" y="30"/>
                        <a:pt x="17" y="30"/>
                      </a:cubicBezTo>
                      <a:cubicBezTo>
                        <a:pt x="16" y="29"/>
                        <a:pt x="9" y="28"/>
                        <a:pt x="9" y="28"/>
                      </a:cubicBezTo>
                      <a:cubicBezTo>
                        <a:pt x="8" y="28"/>
                        <a:pt x="7" y="29"/>
                        <a:pt x="7" y="30"/>
                      </a:cubicBezTo>
                      <a:lnTo>
                        <a:pt x="7" y="30"/>
                      </a:lnTo>
                      <a:lnTo>
                        <a:pt x="8" y="33"/>
                      </a:lnTo>
                      <a:lnTo>
                        <a:pt x="8" y="33"/>
                      </a:lnTo>
                      <a:cubicBezTo>
                        <a:pt x="8" y="33"/>
                        <a:pt x="8" y="34"/>
                        <a:pt x="8" y="35"/>
                      </a:cubicBezTo>
                      <a:cubicBezTo>
                        <a:pt x="8" y="42"/>
                        <a:pt x="13" y="47"/>
                        <a:pt x="15" y="51"/>
                      </a:cubicBezTo>
                      <a:cubicBezTo>
                        <a:pt x="14" y="50"/>
                        <a:pt x="12" y="51"/>
                        <a:pt x="12" y="49"/>
                      </a:cubicBezTo>
                      <a:lnTo>
                        <a:pt x="12" y="49"/>
                      </a:lnTo>
                      <a:lnTo>
                        <a:pt x="12" y="4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6" name="Freeform 390"/>
                <p:cNvSpPr>
                  <a:spLocks/>
                </p:cNvSpPr>
                <p:nvPr>
                  <p:custDataLst>
                    <p:tags r:id="rId372"/>
                  </p:custDataLst>
                </p:nvPr>
              </p:nvSpPr>
              <p:spPr bwMode="gray">
                <a:xfrm>
                  <a:off x="7643925" y="2448342"/>
                  <a:ext cx="40898" cy="102214"/>
                </a:xfrm>
                <a:custGeom>
                  <a:avLst/>
                  <a:gdLst>
                    <a:gd name="T0" fmla="*/ 1 w 4"/>
                    <a:gd name="T1" fmla="*/ 6 h 9"/>
                    <a:gd name="T2" fmla="*/ 0 w 4"/>
                    <a:gd name="T3" fmla="*/ 3 h 9"/>
                    <a:gd name="T4" fmla="*/ 0 w 4"/>
                    <a:gd name="T5" fmla="*/ 3 h 9"/>
                    <a:gd name="T6" fmla="*/ 1 w 4"/>
                    <a:gd name="T7" fmla="*/ 0 h 9"/>
                    <a:gd name="T8" fmla="*/ 2 w 4"/>
                    <a:gd name="T9" fmla="*/ 0 h 9"/>
                    <a:gd name="T10" fmla="*/ 2 w 4"/>
                    <a:gd name="T11" fmla="*/ 0 h 9"/>
                    <a:gd name="T12" fmla="*/ 4 w 4"/>
                    <a:gd name="T13" fmla="*/ 5 h 9"/>
                    <a:gd name="T14" fmla="*/ 3 w 4"/>
                    <a:gd name="T15" fmla="*/ 6 h 9"/>
                    <a:gd name="T16" fmla="*/ 3 w 4"/>
                    <a:gd name="T17" fmla="*/ 9 h 9"/>
                    <a:gd name="T18" fmla="*/ 1 w 4"/>
                    <a:gd name="T19" fmla="*/ 9 h 9"/>
                    <a:gd name="T20" fmla="*/ 1 w 4"/>
                    <a:gd name="T21" fmla="*/ 9 h 9"/>
                    <a:gd name="T22" fmla="*/ 0 w 4"/>
                    <a:gd name="T23" fmla="*/ 9 h 9"/>
                    <a:gd name="T24" fmla="*/ 0 w 4"/>
                    <a:gd name="T25" fmla="*/ 9 h 9"/>
                    <a:gd name="T26" fmla="*/ 1 w 4"/>
                    <a:gd name="T27" fmla="*/ 6 h 9"/>
                    <a:gd name="T28" fmla="*/ 1 w 4"/>
                    <a:gd name="T29" fmla="*/ 6 h 9"/>
                    <a:gd name="T30" fmla="*/ 1 w 4"/>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9">
                      <a:moveTo>
                        <a:pt x="1" y="6"/>
                      </a:moveTo>
                      <a:cubicBezTo>
                        <a:pt x="1" y="5"/>
                        <a:pt x="0" y="4"/>
                        <a:pt x="0" y="3"/>
                      </a:cubicBezTo>
                      <a:lnTo>
                        <a:pt x="0" y="3"/>
                      </a:lnTo>
                      <a:lnTo>
                        <a:pt x="1" y="0"/>
                      </a:lnTo>
                      <a:lnTo>
                        <a:pt x="2" y="0"/>
                      </a:lnTo>
                      <a:lnTo>
                        <a:pt x="2" y="0"/>
                      </a:lnTo>
                      <a:cubicBezTo>
                        <a:pt x="3" y="2"/>
                        <a:pt x="4" y="3"/>
                        <a:pt x="4" y="5"/>
                      </a:cubicBezTo>
                      <a:cubicBezTo>
                        <a:pt x="4" y="5"/>
                        <a:pt x="3" y="6"/>
                        <a:pt x="3" y="6"/>
                      </a:cubicBezTo>
                      <a:cubicBezTo>
                        <a:pt x="2" y="7"/>
                        <a:pt x="3" y="8"/>
                        <a:pt x="3" y="9"/>
                      </a:cubicBezTo>
                      <a:cubicBezTo>
                        <a:pt x="3" y="9"/>
                        <a:pt x="2" y="9"/>
                        <a:pt x="1" y="9"/>
                      </a:cubicBezTo>
                      <a:lnTo>
                        <a:pt x="1" y="9"/>
                      </a:lnTo>
                      <a:lnTo>
                        <a:pt x="0" y="9"/>
                      </a:lnTo>
                      <a:lnTo>
                        <a:pt x="0" y="9"/>
                      </a:lnTo>
                      <a:cubicBezTo>
                        <a:pt x="0" y="7"/>
                        <a:pt x="1" y="7"/>
                        <a:pt x="1" y="6"/>
                      </a:cubicBezTo>
                      <a:lnTo>
                        <a:pt x="1" y="6"/>
                      </a:lnTo>
                      <a:lnTo>
                        <a:pt x="1"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7" name="Freeform 391"/>
                <p:cNvSpPr>
                  <a:spLocks/>
                </p:cNvSpPr>
                <p:nvPr>
                  <p:custDataLst>
                    <p:tags r:id="rId373"/>
                  </p:custDataLst>
                </p:nvPr>
              </p:nvSpPr>
              <p:spPr bwMode="gray">
                <a:xfrm>
                  <a:off x="7454948" y="2627607"/>
                  <a:ext cx="28206" cy="45602"/>
                </a:xfrm>
                <a:custGeom>
                  <a:avLst/>
                  <a:gdLst>
                    <a:gd name="T0" fmla="*/ 2 w 3"/>
                    <a:gd name="T1" fmla="*/ 4 h 4"/>
                    <a:gd name="T2" fmla="*/ 3 w 3"/>
                    <a:gd name="T3" fmla="*/ 3 h 4"/>
                    <a:gd name="T4" fmla="*/ 0 w 3"/>
                    <a:gd name="T5" fmla="*/ 0 h 4"/>
                    <a:gd name="T6" fmla="*/ 2 w 3"/>
                    <a:gd name="T7" fmla="*/ 4 h 4"/>
                    <a:gd name="T8" fmla="*/ 2 w 3"/>
                    <a:gd name="T9" fmla="*/ 4 h 4"/>
                    <a:gd name="T10" fmla="*/ 2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2" y="4"/>
                      </a:moveTo>
                      <a:cubicBezTo>
                        <a:pt x="2" y="4"/>
                        <a:pt x="2" y="3"/>
                        <a:pt x="3" y="3"/>
                      </a:cubicBezTo>
                      <a:cubicBezTo>
                        <a:pt x="2" y="2"/>
                        <a:pt x="2" y="1"/>
                        <a:pt x="0" y="0"/>
                      </a:cubicBezTo>
                      <a:cubicBezTo>
                        <a:pt x="0" y="1"/>
                        <a:pt x="1" y="4"/>
                        <a:pt x="2" y="4"/>
                      </a:cubicBezTo>
                      <a:lnTo>
                        <a:pt x="2" y="4"/>
                      </a:lnTo>
                      <a:lnTo>
                        <a:pt x="2"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8" name="Freeform 392"/>
                <p:cNvSpPr>
                  <a:spLocks/>
                </p:cNvSpPr>
                <p:nvPr>
                  <p:custDataLst>
                    <p:tags r:id="rId374"/>
                  </p:custDataLst>
                </p:nvPr>
              </p:nvSpPr>
              <p:spPr bwMode="gray">
                <a:xfrm>
                  <a:off x="4689407" y="2515959"/>
                  <a:ext cx="60642" cy="100641"/>
                </a:xfrm>
                <a:custGeom>
                  <a:avLst/>
                  <a:gdLst>
                    <a:gd name="T0" fmla="*/ 2 w 6"/>
                    <a:gd name="T1" fmla="*/ 9 h 9"/>
                    <a:gd name="T2" fmla="*/ 2 w 6"/>
                    <a:gd name="T3" fmla="*/ 7 h 9"/>
                    <a:gd name="T4" fmla="*/ 2 w 6"/>
                    <a:gd name="T5" fmla="*/ 7 h 9"/>
                    <a:gd name="T6" fmla="*/ 0 w 6"/>
                    <a:gd name="T7" fmla="*/ 3 h 9"/>
                    <a:gd name="T8" fmla="*/ 3 w 6"/>
                    <a:gd name="T9" fmla="*/ 0 h 9"/>
                    <a:gd name="T10" fmla="*/ 3 w 6"/>
                    <a:gd name="T11" fmla="*/ 0 h 9"/>
                    <a:gd name="T12" fmla="*/ 4 w 6"/>
                    <a:gd name="T13" fmla="*/ 0 h 9"/>
                    <a:gd name="T14" fmla="*/ 4 w 6"/>
                    <a:gd name="T15" fmla="*/ 0 h 9"/>
                    <a:gd name="T16" fmla="*/ 6 w 6"/>
                    <a:gd name="T17" fmla="*/ 4 h 9"/>
                    <a:gd name="T18" fmla="*/ 2 w 6"/>
                    <a:gd name="T19" fmla="*/ 9 h 9"/>
                    <a:gd name="T20" fmla="*/ 2 w 6"/>
                    <a:gd name="T21" fmla="*/ 9 h 9"/>
                    <a:gd name="T22" fmla="*/ 2 w 6"/>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9">
                      <a:moveTo>
                        <a:pt x="2" y="9"/>
                      </a:moveTo>
                      <a:lnTo>
                        <a:pt x="2" y="7"/>
                      </a:lnTo>
                      <a:lnTo>
                        <a:pt x="2" y="7"/>
                      </a:lnTo>
                      <a:cubicBezTo>
                        <a:pt x="2" y="6"/>
                        <a:pt x="0" y="5"/>
                        <a:pt x="0" y="3"/>
                      </a:cubicBezTo>
                      <a:cubicBezTo>
                        <a:pt x="0" y="2"/>
                        <a:pt x="3" y="1"/>
                        <a:pt x="3" y="0"/>
                      </a:cubicBezTo>
                      <a:lnTo>
                        <a:pt x="3" y="0"/>
                      </a:lnTo>
                      <a:lnTo>
                        <a:pt x="4" y="0"/>
                      </a:lnTo>
                      <a:lnTo>
                        <a:pt x="4" y="0"/>
                      </a:lnTo>
                      <a:cubicBezTo>
                        <a:pt x="4" y="2"/>
                        <a:pt x="6" y="2"/>
                        <a:pt x="6" y="4"/>
                      </a:cubicBezTo>
                      <a:cubicBezTo>
                        <a:pt x="6" y="8"/>
                        <a:pt x="5" y="9"/>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59" name="Freeform 393"/>
                <p:cNvSpPr>
                  <a:spLocks/>
                </p:cNvSpPr>
                <p:nvPr>
                  <p:custDataLst>
                    <p:tags r:id="rId375"/>
                  </p:custDataLst>
                </p:nvPr>
              </p:nvSpPr>
              <p:spPr bwMode="gray">
                <a:xfrm>
                  <a:off x="4799409" y="3154400"/>
                  <a:ext cx="1410" cy="11009"/>
                </a:xfrm>
                <a:custGeom>
                  <a:avLst/>
                  <a:gdLst>
                    <a:gd name="T0" fmla="*/ 1 h 1"/>
                    <a:gd name="T1" fmla="*/ 0 h 1"/>
                    <a:gd name="T2" fmla="*/ 1 h 1"/>
                    <a:gd name="T3" fmla="*/ 1 h 1"/>
                    <a:gd name="T4" fmla="*/ 1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0"/>
                        <a:pt x="0" y="0"/>
                        <a:pt x="0" y="0"/>
                      </a:cubicBezTo>
                      <a:cubicBezTo>
                        <a:pt x="0" y="0"/>
                        <a:pt x="0" y="0"/>
                        <a:pt x="0" y="1"/>
                      </a:cubicBezTo>
                      <a:cubicBezTo>
                        <a:pt x="0"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0" name="Freeform 394"/>
                <p:cNvSpPr>
                  <a:spLocks/>
                </p:cNvSpPr>
                <p:nvPr>
                  <p:custDataLst>
                    <p:tags r:id="rId376"/>
                  </p:custDataLst>
                </p:nvPr>
              </p:nvSpPr>
              <p:spPr bwMode="gray">
                <a:xfrm>
                  <a:off x="4820562" y="3602565"/>
                  <a:ext cx="19744" cy="12580"/>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0" y="0"/>
                        <a:pt x="1" y="0"/>
                      </a:cubicBezTo>
                      <a:cubicBezTo>
                        <a:pt x="1" y="0"/>
                        <a:pt x="2" y="0"/>
                        <a:pt x="2" y="1"/>
                      </a:cubicBezTo>
                      <a:cubicBezTo>
                        <a:pt x="2"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1" name="Freeform 395"/>
                <p:cNvSpPr>
                  <a:spLocks/>
                </p:cNvSpPr>
                <p:nvPr>
                  <p:custDataLst>
                    <p:tags r:id="rId377"/>
                  </p:custDataLst>
                </p:nvPr>
              </p:nvSpPr>
              <p:spPr bwMode="gray">
                <a:xfrm>
                  <a:off x="4869922" y="3534947"/>
                  <a:ext cx="11282" cy="23588"/>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0" y="0"/>
                        <a:pt x="1" y="0"/>
                        <a:pt x="1" y="1"/>
                      </a:cubicBezTo>
                      <a:cubicBezTo>
                        <a:pt x="1"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2" name="Freeform 396"/>
                <p:cNvSpPr>
                  <a:spLocks/>
                </p:cNvSpPr>
                <p:nvPr>
                  <p:custDataLst>
                    <p:tags r:id="rId378"/>
                  </p:custDataLst>
                </p:nvPr>
              </p:nvSpPr>
              <p:spPr bwMode="gray">
                <a:xfrm>
                  <a:off x="4589277" y="3836870"/>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1"/>
                        <a:pt x="2"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3" name="Freeform 397"/>
                <p:cNvSpPr>
                  <a:spLocks/>
                </p:cNvSpPr>
                <p:nvPr>
                  <p:custDataLst>
                    <p:tags r:id="rId379"/>
                  </p:custDataLst>
                </p:nvPr>
              </p:nvSpPr>
              <p:spPr bwMode="gray">
                <a:xfrm>
                  <a:off x="4538508" y="3849450"/>
                  <a:ext cx="9872" cy="11009"/>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0"/>
                        <a:pt x="1" y="1"/>
                        <a:pt x="0"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4" name="Freeform 398"/>
                <p:cNvSpPr>
                  <a:spLocks/>
                </p:cNvSpPr>
                <p:nvPr>
                  <p:custDataLst>
                    <p:tags r:id="rId380"/>
                  </p:custDataLst>
                </p:nvPr>
              </p:nvSpPr>
              <p:spPr bwMode="gray">
                <a:xfrm>
                  <a:off x="5424158" y="4387250"/>
                  <a:ext cx="1833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5" name="Freeform 399"/>
                <p:cNvSpPr>
                  <a:spLocks/>
                </p:cNvSpPr>
                <p:nvPr>
                  <p:custDataLst>
                    <p:tags r:id="rId381"/>
                  </p:custDataLst>
                </p:nvPr>
              </p:nvSpPr>
              <p:spPr bwMode="gray">
                <a:xfrm>
                  <a:off x="5685059" y="4634135"/>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6" name="Freeform 400"/>
                <p:cNvSpPr>
                  <a:spLocks/>
                </p:cNvSpPr>
                <p:nvPr>
                  <p:custDataLst>
                    <p:tags r:id="rId382"/>
                  </p:custDataLst>
                </p:nvPr>
              </p:nvSpPr>
              <p:spPr bwMode="gray">
                <a:xfrm>
                  <a:off x="5714674" y="4645142"/>
                  <a:ext cx="21155" cy="11009"/>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1"/>
                        <a:pt x="1" y="0"/>
                        <a:pt x="1" y="0"/>
                      </a:cubicBezTo>
                      <a:cubicBezTo>
                        <a:pt x="2" y="0"/>
                        <a:pt x="2" y="1"/>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7" name="Freeform 401"/>
                <p:cNvSpPr>
                  <a:spLocks/>
                </p:cNvSpPr>
                <p:nvPr>
                  <p:custDataLst>
                    <p:tags r:id="rId383"/>
                  </p:custDataLst>
                </p:nvPr>
              </p:nvSpPr>
              <p:spPr bwMode="gray">
                <a:xfrm>
                  <a:off x="5434031" y="4599538"/>
                  <a:ext cx="210130" cy="67618"/>
                </a:xfrm>
                <a:custGeom>
                  <a:avLst/>
                  <a:gdLst>
                    <a:gd name="T0" fmla="*/ 0 w 21"/>
                    <a:gd name="T1" fmla="*/ 4 h 6"/>
                    <a:gd name="T2" fmla="*/ 4 w 21"/>
                    <a:gd name="T3" fmla="*/ 1 h 6"/>
                    <a:gd name="T4" fmla="*/ 8 w 21"/>
                    <a:gd name="T5" fmla="*/ 0 h 6"/>
                    <a:gd name="T6" fmla="*/ 8 w 21"/>
                    <a:gd name="T7" fmla="*/ 0 h 6"/>
                    <a:gd name="T8" fmla="*/ 17 w 21"/>
                    <a:gd name="T9" fmla="*/ 0 h 6"/>
                    <a:gd name="T10" fmla="*/ 17 w 21"/>
                    <a:gd name="T11" fmla="*/ 0 h 6"/>
                    <a:gd name="T12" fmla="*/ 21 w 21"/>
                    <a:gd name="T13" fmla="*/ 1 h 6"/>
                    <a:gd name="T14" fmla="*/ 18 w 21"/>
                    <a:gd name="T15" fmla="*/ 5 h 6"/>
                    <a:gd name="T16" fmla="*/ 16 w 21"/>
                    <a:gd name="T17" fmla="*/ 4 h 6"/>
                    <a:gd name="T18" fmla="*/ 11 w 21"/>
                    <a:gd name="T19" fmla="*/ 6 h 6"/>
                    <a:gd name="T20" fmla="*/ 4 w 21"/>
                    <a:gd name="T21" fmla="*/ 6 h 6"/>
                    <a:gd name="T22" fmla="*/ 3 w 21"/>
                    <a:gd name="T23" fmla="*/ 5 h 6"/>
                    <a:gd name="T24" fmla="*/ 0 w 21"/>
                    <a:gd name="T25" fmla="*/ 4 h 6"/>
                    <a:gd name="T26" fmla="*/ 0 w 21"/>
                    <a:gd name="T27" fmla="*/ 4 h 6"/>
                    <a:gd name="T28" fmla="*/ 0 w 21"/>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
                      <a:moveTo>
                        <a:pt x="0" y="4"/>
                      </a:moveTo>
                      <a:cubicBezTo>
                        <a:pt x="1" y="1"/>
                        <a:pt x="2" y="1"/>
                        <a:pt x="4" y="1"/>
                      </a:cubicBezTo>
                      <a:cubicBezTo>
                        <a:pt x="5" y="0"/>
                        <a:pt x="7" y="0"/>
                        <a:pt x="8" y="0"/>
                      </a:cubicBezTo>
                      <a:lnTo>
                        <a:pt x="8" y="0"/>
                      </a:lnTo>
                      <a:lnTo>
                        <a:pt x="17" y="0"/>
                      </a:lnTo>
                      <a:lnTo>
                        <a:pt x="17" y="0"/>
                      </a:lnTo>
                      <a:cubicBezTo>
                        <a:pt x="19" y="0"/>
                        <a:pt x="20" y="0"/>
                        <a:pt x="21" y="1"/>
                      </a:cubicBezTo>
                      <a:cubicBezTo>
                        <a:pt x="20" y="3"/>
                        <a:pt x="19" y="5"/>
                        <a:pt x="18" y="5"/>
                      </a:cubicBezTo>
                      <a:cubicBezTo>
                        <a:pt x="17" y="5"/>
                        <a:pt x="16" y="4"/>
                        <a:pt x="16" y="4"/>
                      </a:cubicBezTo>
                      <a:cubicBezTo>
                        <a:pt x="14" y="4"/>
                        <a:pt x="13" y="6"/>
                        <a:pt x="11" y="6"/>
                      </a:cubicBezTo>
                      <a:cubicBezTo>
                        <a:pt x="9" y="6"/>
                        <a:pt x="6" y="6"/>
                        <a:pt x="4" y="6"/>
                      </a:cubicBezTo>
                      <a:cubicBezTo>
                        <a:pt x="4" y="6"/>
                        <a:pt x="3" y="6"/>
                        <a:pt x="3" y="5"/>
                      </a:cubicBezTo>
                      <a:cubicBezTo>
                        <a:pt x="0" y="6"/>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8" name="Freeform 402"/>
                <p:cNvSpPr>
                  <a:spLocks/>
                </p:cNvSpPr>
                <p:nvPr>
                  <p:custDataLst>
                    <p:tags r:id="rId384"/>
                  </p:custDataLst>
                </p:nvPr>
              </p:nvSpPr>
              <p:spPr bwMode="gray">
                <a:xfrm>
                  <a:off x="5714674" y="4824408"/>
                  <a:ext cx="191797" cy="122656"/>
                </a:xfrm>
                <a:custGeom>
                  <a:avLst/>
                  <a:gdLst>
                    <a:gd name="T0" fmla="*/ 4 w 19"/>
                    <a:gd name="T1" fmla="*/ 6 h 11"/>
                    <a:gd name="T2" fmla="*/ 2 w 19"/>
                    <a:gd name="T3" fmla="*/ 7 h 11"/>
                    <a:gd name="T4" fmla="*/ 2 w 19"/>
                    <a:gd name="T5" fmla="*/ 7 h 11"/>
                    <a:gd name="T6" fmla="*/ 0 w 19"/>
                    <a:gd name="T7" fmla="*/ 4 h 11"/>
                    <a:gd name="T8" fmla="*/ 2 w 19"/>
                    <a:gd name="T9" fmla="*/ 1 h 11"/>
                    <a:gd name="T10" fmla="*/ 7 w 19"/>
                    <a:gd name="T11" fmla="*/ 2 h 11"/>
                    <a:gd name="T12" fmla="*/ 10 w 19"/>
                    <a:gd name="T13" fmla="*/ 0 h 11"/>
                    <a:gd name="T14" fmla="*/ 17 w 19"/>
                    <a:gd name="T15" fmla="*/ 3 h 11"/>
                    <a:gd name="T16" fmla="*/ 19 w 19"/>
                    <a:gd name="T17" fmla="*/ 6 h 11"/>
                    <a:gd name="T18" fmla="*/ 10 w 19"/>
                    <a:gd name="T19" fmla="*/ 11 h 11"/>
                    <a:gd name="T20" fmla="*/ 9 w 19"/>
                    <a:gd name="T21" fmla="*/ 9 h 11"/>
                    <a:gd name="T22" fmla="*/ 4 w 19"/>
                    <a:gd name="T23" fmla="*/ 6 h 11"/>
                    <a:gd name="T24" fmla="*/ 4 w 19"/>
                    <a:gd name="T25" fmla="*/ 6 h 11"/>
                    <a:gd name="T26" fmla="*/ 4 w 19"/>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1">
                      <a:moveTo>
                        <a:pt x="4" y="6"/>
                      </a:moveTo>
                      <a:lnTo>
                        <a:pt x="2" y="7"/>
                      </a:lnTo>
                      <a:lnTo>
                        <a:pt x="2" y="7"/>
                      </a:lnTo>
                      <a:cubicBezTo>
                        <a:pt x="0" y="7"/>
                        <a:pt x="0" y="4"/>
                        <a:pt x="0" y="4"/>
                      </a:cubicBezTo>
                      <a:cubicBezTo>
                        <a:pt x="0" y="2"/>
                        <a:pt x="1" y="1"/>
                        <a:pt x="2" y="1"/>
                      </a:cubicBezTo>
                      <a:cubicBezTo>
                        <a:pt x="4" y="1"/>
                        <a:pt x="5" y="2"/>
                        <a:pt x="7" y="2"/>
                      </a:cubicBezTo>
                      <a:cubicBezTo>
                        <a:pt x="8" y="2"/>
                        <a:pt x="9" y="0"/>
                        <a:pt x="10" y="0"/>
                      </a:cubicBezTo>
                      <a:cubicBezTo>
                        <a:pt x="13" y="0"/>
                        <a:pt x="16" y="2"/>
                        <a:pt x="17" y="3"/>
                      </a:cubicBezTo>
                      <a:cubicBezTo>
                        <a:pt x="17" y="4"/>
                        <a:pt x="19" y="5"/>
                        <a:pt x="19" y="6"/>
                      </a:cubicBezTo>
                      <a:cubicBezTo>
                        <a:pt x="19" y="8"/>
                        <a:pt x="12" y="11"/>
                        <a:pt x="10" y="11"/>
                      </a:cubicBezTo>
                      <a:cubicBezTo>
                        <a:pt x="10" y="11"/>
                        <a:pt x="9" y="10"/>
                        <a:pt x="9" y="9"/>
                      </a:cubicBezTo>
                      <a:cubicBezTo>
                        <a:pt x="8" y="7"/>
                        <a:pt x="6" y="7"/>
                        <a:pt x="4" y="6"/>
                      </a:cubicBezTo>
                      <a:lnTo>
                        <a:pt x="4" y="6"/>
                      </a:lnTo>
                      <a:lnTo>
                        <a:pt x="4"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69" name="Freeform 403"/>
                <p:cNvSpPr>
                  <a:spLocks/>
                </p:cNvSpPr>
                <p:nvPr>
                  <p:custDataLst>
                    <p:tags r:id="rId385"/>
                  </p:custDataLst>
                </p:nvPr>
              </p:nvSpPr>
              <p:spPr bwMode="gray">
                <a:xfrm>
                  <a:off x="4226838" y="4544500"/>
                  <a:ext cx="21154" cy="20443"/>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1" y="0"/>
                        <a:pt x="1" y="0"/>
                      </a:cubicBezTo>
                      <a:cubicBezTo>
                        <a:pt x="2" y="0"/>
                        <a:pt x="2" y="0"/>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0" name="Freeform 404"/>
                <p:cNvSpPr>
                  <a:spLocks/>
                </p:cNvSpPr>
                <p:nvPr>
                  <p:custDataLst>
                    <p:tags r:id="rId386"/>
                  </p:custDataLst>
                </p:nvPr>
              </p:nvSpPr>
              <p:spPr bwMode="gray">
                <a:xfrm>
                  <a:off x="4177479" y="4387250"/>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2"/>
                        <a:pt x="1" y="2"/>
                        <a:pt x="0"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1" name="Freeform 405"/>
                <p:cNvSpPr>
                  <a:spLocks/>
                </p:cNvSpPr>
                <p:nvPr>
                  <p:custDataLst>
                    <p:tags r:id="rId387"/>
                  </p:custDataLst>
                </p:nvPr>
              </p:nvSpPr>
              <p:spPr bwMode="gray">
                <a:xfrm>
                  <a:off x="4487738" y="3849451"/>
                  <a:ext cx="21155"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2" name="Freeform 406"/>
                <p:cNvSpPr>
                  <a:spLocks/>
                </p:cNvSpPr>
                <p:nvPr>
                  <p:custDataLst>
                    <p:tags r:id="rId388"/>
                  </p:custDataLst>
                </p:nvPr>
              </p:nvSpPr>
              <p:spPr bwMode="gray">
                <a:xfrm>
                  <a:off x="3754397" y="4308624"/>
                  <a:ext cx="50769" cy="34595"/>
                </a:xfrm>
                <a:custGeom>
                  <a:avLst/>
                  <a:gdLst>
                    <a:gd name="T0" fmla="*/ 0 w 5"/>
                    <a:gd name="T1" fmla="*/ 0 h 3"/>
                    <a:gd name="T2" fmla="*/ 2 w 5"/>
                    <a:gd name="T3" fmla="*/ 2 h 3"/>
                    <a:gd name="T4" fmla="*/ 3 w 5"/>
                    <a:gd name="T5" fmla="*/ 3 h 3"/>
                    <a:gd name="T6" fmla="*/ 5 w 5"/>
                    <a:gd name="T7" fmla="*/ 2 h 3"/>
                    <a:gd name="T8" fmla="*/ 5 w 5"/>
                    <a:gd name="T9" fmla="*/ 1 h 3"/>
                    <a:gd name="T10" fmla="*/ 0 w 5"/>
                    <a:gd name="T11" fmla="*/ 0 h 3"/>
                    <a:gd name="T12" fmla="*/ 0 w 5"/>
                    <a:gd name="T13" fmla="*/ 0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cubicBezTo>
                        <a:pt x="0" y="1"/>
                        <a:pt x="1" y="2"/>
                        <a:pt x="2" y="2"/>
                      </a:cubicBezTo>
                      <a:cubicBezTo>
                        <a:pt x="2" y="3"/>
                        <a:pt x="3" y="3"/>
                        <a:pt x="3" y="3"/>
                      </a:cubicBezTo>
                      <a:cubicBezTo>
                        <a:pt x="4" y="3"/>
                        <a:pt x="4" y="2"/>
                        <a:pt x="5" y="2"/>
                      </a:cubicBezTo>
                      <a:cubicBezTo>
                        <a:pt x="4" y="2"/>
                        <a:pt x="4" y="1"/>
                        <a:pt x="5" y="1"/>
                      </a:cubicBezTo>
                      <a:cubicBezTo>
                        <a:pt x="3"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3" name="Freeform 407"/>
                <p:cNvSpPr>
                  <a:spLocks/>
                </p:cNvSpPr>
                <p:nvPr>
                  <p:custDataLst>
                    <p:tags r:id="rId389"/>
                  </p:custDataLst>
                </p:nvPr>
              </p:nvSpPr>
              <p:spPr bwMode="gray">
                <a:xfrm>
                  <a:off x="4226838" y="3591558"/>
                  <a:ext cx="241156" cy="290915"/>
                </a:xfrm>
                <a:custGeom>
                  <a:avLst/>
                  <a:gdLst>
                    <a:gd name="T0" fmla="*/ 5 w 24"/>
                    <a:gd name="T1" fmla="*/ 11 h 26"/>
                    <a:gd name="T2" fmla="*/ 0 w 24"/>
                    <a:gd name="T3" fmla="*/ 8 h 26"/>
                    <a:gd name="T4" fmla="*/ 2 w 24"/>
                    <a:gd name="T5" fmla="*/ 6 h 26"/>
                    <a:gd name="T6" fmla="*/ 3 w 24"/>
                    <a:gd name="T7" fmla="*/ 3 h 26"/>
                    <a:gd name="T8" fmla="*/ 7 w 24"/>
                    <a:gd name="T9" fmla="*/ 1 h 26"/>
                    <a:gd name="T10" fmla="*/ 10 w 24"/>
                    <a:gd name="T11" fmla="*/ 4 h 26"/>
                    <a:gd name="T12" fmla="*/ 10 w 24"/>
                    <a:gd name="T13" fmla="*/ 4 h 26"/>
                    <a:gd name="T14" fmla="*/ 10 w 24"/>
                    <a:gd name="T15" fmla="*/ 3 h 26"/>
                    <a:gd name="T16" fmla="*/ 10 w 24"/>
                    <a:gd name="T17" fmla="*/ 3 h 26"/>
                    <a:gd name="T18" fmla="*/ 9 w 24"/>
                    <a:gd name="T19" fmla="*/ 2 h 26"/>
                    <a:gd name="T20" fmla="*/ 9 w 24"/>
                    <a:gd name="T21" fmla="*/ 2 h 26"/>
                    <a:gd name="T22" fmla="*/ 9 w 24"/>
                    <a:gd name="T23" fmla="*/ 1 h 26"/>
                    <a:gd name="T24" fmla="*/ 9 w 24"/>
                    <a:gd name="T25" fmla="*/ 1 h 26"/>
                    <a:gd name="T26" fmla="*/ 12 w 24"/>
                    <a:gd name="T27" fmla="*/ 1 h 26"/>
                    <a:gd name="T28" fmla="*/ 14 w 24"/>
                    <a:gd name="T29" fmla="*/ 0 h 26"/>
                    <a:gd name="T30" fmla="*/ 15 w 24"/>
                    <a:gd name="T31" fmla="*/ 2 h 26"/>
                    <a:gd name="T32" fmla="*/ 18 w 24"/>
                    <a:gd name="T33" fmla="*/ 9 h 26"/>
                    <a:gd name="T34" fmla="*/ 18 w 24"/>
                    <a:gd name="T35" fmla="*/ 12 h 26"/>
                    <a:gd name="T36" fmla="*/ 24 w 24"/>
                    <a:gd name="T37" fmla="*/ 19 h 26"/>
                    <a:gd name="T38" fmla="*/ 21 w 24"/>
                    <a:gd name="T39" fmla="*/ 25 h 26"/>
                    <a:gd name="T40" fmla="*/ 17 w 24"/>
                    <a:gd name="T41" fmla="*/ 23 h 26"/>
                    <a:gd name="T42" fmla="*/ 13 w 24"/>
                    <a:gd name="T43" fmla="*/ 21 h 26"/>
                    <a:gd name="T44" fmla="*/ 12 w 24"/>
                    <a:gd name="T45" fmla="*/ 16 h 26"/>
                    <a:gd name="T46" fmla="*/ 12 w 24"/>
                    <a:gd name="T47" fmla="*/ 16 h 26"/>
                    <a:gd name="T48" fmla="*/ 12 w 24"/>
                    <a:gd name="T49" fmla="*/ 12 h 26"/>
                    <a:gd name="T50" fmla="*/ 12 w 24"/>
                    <a:gd name="T51" fmla="*/ 12 h 26"/>
                    <a:gd name="T52" fmla="*/ 5 w 24"/>
                    <a:gd name="T53" fmla="*/ 11 h 26"/>
                    <a:gd name="T54" fmla="*/ 5 w 24"/>
                    <a:gd name="T55" fmla="*/ 11 h 26"/>
                    <a:gd name="T56" fmla="*/ 5 w 24"/>
                    <a:gd name="T5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6">
                      <a:moveTo>
                        <a:pt x="5" y="11"/>
                      </a:moveTo>
                      <a:cubicBezTo>
                        <a:pt x="4" y="11"/>
                        <a:pt x="0" y="10"/>
                        <a:pt x="0" y="8"/>
                      </a:cubicBezTo>
                      <a:cubicBezTo>
                        <a:pt x="0" y="7"/>
                        <a:pt x="2" y="6"/>
                        <a:pt x="2" y="6"/>
                      </a:cubicBezTo>
                      <a:cubicBezTo>
                        <a:pt x="4" y="6"/>
                        <a:pt x="3" y="4"/>
                        <a:pt x="3" y="3"/>
                      </a:cubicBezTo>
                      <a:cubicBezTo>
                        <a:pt x="3" y="1"/>
                        <a:pt x="6" y="1"/>
                        <a:pt x="7" y="1"/>
                      </a:cubicBezTo>
                      <a:cubicBezTo>
                        <a:pt x="10" y="1"/>
                        <a:pt x="9" y="4"/>
                        <a:pt x="10" y="4"/>
                      </a:cubicBezTo>
                      <a:lnTo>
                        <a:pt x="10" y="4"/>
                      </a:lnTo>
                      <a:lnTo>
                        <a:pt x="10" y="3"/>
                      </a:lnTo>
                      <a:lnTo>
                        <a:pt x="10" y="3"/>
                      </a:lnTo>
                      <a:cubicBezTo>
                        <a:pt x="10" y="3"/>
                        <a:pt x="9" y="2"/>
                        <a:pt x="9" y="2"/>
                      </a:cubicBezTo>
                      <a:lnTo>
                        <a:pt x="9" y="2"/>
                      </a:lnTo>
                      <a:lnTo>
                        <a:pt x="9" y="1"/>
                      </a:lnTo>
                      <a:lnTo>
                        <a:pt x="9" y="1"/>
                      </a:lnTo>
                      <a:cubicBezTo>
                        <a:pt x="10" y="0"/>
                        <a:pt x="11" y="1"/>
                        <a:pt x="12" y="1"/>
                      </a:cubicBezTo>
                      <a:cubicBezTo>
                        <a:pt x="12" y="1"/>
                        <a:pt x="13" y="0"/>
                        <a:pt x="14" y="0"/>
                      </a:cubicBezTo>
                      <a:cubicBezTo>
                        <a:pt x="15" y="1"/>
                        <a:pt x="15" y="2"/>
                        <a:pt x="15" y="2"/>
                      </a:cubicBezTo>
                      <a:cubicBezTo>
                        <a:pt x="16" y="5"/>
                        <a:pt x="18" y="6"/>
                        <a:pt x="18" y="9"/>
                      </a:cubicBezTo>
                      <a:cubicBezTo>
                        <a:pt x="18" y="10"/>
                        <a:pt x="18" y="11"/>
                        <a:pt x="18" y="12"/>
                      </a:cubicBezTo>
                      <a:cubicBezTo>
                        <a:pt x="18" y="17"/>
                        <a:pt x="24" y="15"/>
                        <a:pt x="24" y="19"/>
                      </a:cubicBezTo>
                      <a:cubicBezTo>
                        <a:pt x="24" y="26"/>
                        <a:pt x="23" y="25"/>
                        <a:pt x="21" y="25"/>
                      </a:cubicBezTo>
                      <a:cubicBezTo>
                        <a:pt x="19" y="25"/>
                        <a:pt x="18" y="23"/>
                        <a:pt x="17" y="23"/>
                      </a:cubicBezTo>
                      <a:cubicBezTo>
                        <a:pt x="16" y="22"/>
                        <a:pt x="14" y="22"/>
                        <a:pt x="13" y="21"/>
                      </a:cubicBezTo>
                      <a:cubicBezTo>
                        <a:pt x="12" y="20"/>
                        <a:pt x="12" y="17"/>
                        <a:pt x="12" y="16"/>
                      </a:cubicBezTo>
                      <a:lnTo>
                        <a:pt x="12" y="16"/>
                      </a:lnTo>
                      <a:lnTo>
                        <a:pt x="12" y="12"/>
                      </a:lnTo>
                      <a:lnTo>
                        <a:pt x="12" y="12"/>
                      </a:lnTo>
                      <a:cubicBezTo>
                        <a:pt x="10" y="10"/>
                        <a:pt x="7" y="11"/>
                        <a:pt x="5" y="11"/>
                      </a:cubicBezTo>
                      <a:lnTo>
                        <a:pt x="5" y="11"/>
                      </a:lnTo>
                      <a:lnTo>
                        <a:pt x="5"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4" name="Freeform 408"/>
                <p:cNvSpPr>
                  <a:spLocks/>
                </p:cNvSpPr>
                <p:nvPr>
                  <p:custDataLst>
                    <p:tags r:id="rId390"/>
                  </p:custDataLst>
                </p:nvPr>
              </p:nvSpPr>
              <p:spPr bwMode="gray">
                <a:xfrm>
                  <a:off x="4095683" y="3379269"/>
                  <a:ext cx="50769" cy="56611"/>
                </a:xfrm>
                <a:custGeom>
                  <a:avLst/>
                  <a:gdLst>
                    <a:gd name="T0" fmla="*/ 0 w 5"/>
                    <a:gd name="T1" fmla="*/ 1 h 5"/>
                    <a:gd name="T2" fmla="*/ 3 w 5"/>
                    <a:gd name="T3" fmla="*/ 0 h 5"/>
                    <a:gd name="T4" fmla="*/ 5 w 5"/>
                    <a:gd name="T5" fmla="*/ 1 h 5"/>
                    <a:gd name="T6" fmla="*/ 1 w 5"/>
                    <a:gd name="T7" fmla="*/ 4 h 5"/>
                    <a:gd name="T8" fmla="*/ 0 w 5"/>
                    <a:gd name="T9" fmla="*/ 1 h 5"/>
                    <a:gd name="T10" fmla="*/ 0 w 5"/>
                    <a:gd name="T11" fmla="*/ 1 h 5"/>
                    <a:gd name="T12" fmla="*/ 0 w 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1"/>
                      </a:moveTo>
                      <a:cubicBezTo>
                        <a:pt x="0" y="0"/>
                        <a:pt x="2" y="0"/>
                        <a:pt x="3" y="0"/>
                      </a:cubicBezTo>
                      <a:cubicBezTo>
                        <a:pt x="5" y="0"/>
                        <a:pt x="5" y="1"/>
                        <a:pt x="5" y="1"/>
                      </a:cubicBezTo>
                      <a:cubicBezTo>
                        <a:pt x="4" y="3"/>
                        <a:pt x="1" y="5"/>
                        <a:pt x="1" y="4"/>
                      </a:cubicBezTo>
                      <a:cubicBezTo>
                        <a:pt x="1" y="2"/>
                        <a:pt x="0" y="3"/>
                        <a:pt x="0" y="1"/>
                      </a:cubicBezTo>
                      <a:lnTo>
                        <a:pt x="0" y="1"/>
                      </a:lnTo>
                      <a:lnTo>
                        <a:pt x="0" y="1"/>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5" name="Freeform 409"/>
                <p:cNvSpPr>
                  <a:spLocks/>
                </p:cNvSpPr>
                <p:nvPr>
                  <p:custDataLst>
                    <p:tags r:id="rId391"/>
                  </p:custDataLst>
                </p:nvPr>
              </p:nvSpPr>
              <p:spPr bwMode="gray">
                <a:xfrm>
                  <a:off x="3834783" y="3088354"/>
                  <a:ext cx="90258" cy="66046"/>
                </a:xfrm>
                <a:custGeom>
                  <a:avLst/>
                  <a:gdLst>
                    <a:gd name="T0" fmla="*/ 2 w 9"/>
                    <a:gd name="T1" fmla="*/ 0 h 6"/>
                    <a:gd name="T2" fmla="*/ 9 w 9"/>
                    <a:gd name="T3" fmla="*/ 5 h 6"/>
                    <a:gd name="T4" fmla="*/ 8 w 9"/>
                    <a:gd name="T5" fmla="*/ 6 h 6"/>
                    <a:gd name="T6" fmla="*/ 4 w 9"/>
                    <a:gd name="T7" fmla="*/ 4 h 6"/>
                    <a:gd name="T8" fmla="*/ 0 w 9"/>
                    <a:gd name="T9" fmla="*/ 2 h 6"/>
                    <a:gd name="T10" fmla="*/ 2 w 9"/>
                    <a:gd name="T11" fmla="*/ 0 h 6"/>
                    <a:gd name="T12" fmla="*/ 2 w 9"/>
                    <a:gd name="T13" fmla="*/ 0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cubicBezTo>
                        <a:pt x="5" y="0"/>
                        <a:pt x="8" y="3"/>
                        <a:pt x="9" y="5"/>
                      </a:cubicBezTo>
                      <a:cubicBezTo>
                        <a:pt x="9" y="6"/>
                        <a:pt x="8" y="6"/>
                        <a:pt x="8" y="6"/>
                      </a:cubicBezTo>
                      <a:cubicBezTo>
                        <a:pt x="6" y="6"/>
                        <a:pt x="6" y="4"/>
                        <a:pt x="4" y="4"/>
                      </a:cubicBezTo>
                      <a:cubicBezTo>
                        <a:pt x="3" y="3"/>
                        <a:pt x="0" y="2"/>
                        <a:pt x="0" y="2"/>
                      </a:cubicBezTo>
                      <a:cubicBezTo>
                        <a:pt x="1" y="2"/>
                        <a:pt x="1" y="0"/>
                        <a:pt x="2" y="0"/>
                      </a:cubicBezTo>
                      <a:lnTo>
                        <a:pt x="2" y="0"/>
                      </a:lnTo>
                      <a:lnTo>
                        <a:pt x="2" y="0"/>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6" name="Freeform 410"/>
                <p:cNvSpPr>
                  <a:spLocks/>
                </p:cNvSpPr>
                <p:nvPr>
                  <p:custDataLst>
                    <p:tags r:id="rId392"/>
                  </p:custDataLst>
                </p:nvPr>
              </p:nvSpPr>
              <p:spPr bwMode="gray">
                <a:xfrm>
                  <a:off x="3944784" y="3099362"/>
                  <a:ext cx="21154" cy="20442"/>
                </a:xfrm>
                <a:custGeom>
                  <a:avLst/>
                  <a:gdLst>
                    <a:gd name="T0" fmla="*/ 0 w 2"/>
                    <a:gd name="T1" fmla="*/ 1 h 2"/>
                    <a:gd name="T2" fmla="*/ 1 w 2"/>
                    <a:gd name="T3" fmla="*/ 1 h 2"/>
                    <a:gd name="T4" fmla="*/ 2 w 2"/>
                    <a:gd name="T5" fmla="*/ 1 h 2"/>
                    <a:gd name="T6" fmla="*/ 2 w 2"/>
                    <a:gd name="T7" fmla="*/ 1 h 2"/>
                    <a:gd name="T8" fmla="*/ 1 w 2"/>
                    <a:gd name="T9" fmla="*/ 0 h 2"/>
                    <a:gd name="T10" fmla="*/ 1 w 2"/>
                    <a:gd name="T11" fmla="*/ 0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2"/>
                        <a:pt x="0" y="1"/>
                        <a:pt x="1" y="1"/>
                      </a:cubicBezTo>
                      <a:cubicBezTo>
                        <a:pt x="1" y="1"/>
                        <a:pt x="2" y="1"/>
                        <a:pt x="2" y="1"/>
                      </a:cubicBezTo>
                      <a:lnTo>
                        <a:pt x="2" y="1"/>
                      </a:lnTo>
                      <a:lnTo>
                        <a:pt x="1" y="0"/>
                      </a:lnTo>
                      <a:lnTo>
                        <a:pt x="1" y="0"/>
                      </a:ln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7" name="Freeform 411"/>
                <p:cNvSpPr>
                  <a:spLocks/>
                </p:cNvSpPr>
                <p:nvPr>
                  <p:custDataLst>
                    <p:tags r:id="rId393"/>
                  </p:custDataLst>
                </p:nvPr>
              </p:nvSpPr>
              <p:spPr bwMode="gray">
                <a:xfrm>
                  <a:off x="3944785" y="3143392"/>
                  <a:ext cx="31026" cy="45602"/>
                </a:xfrm>
                <a:custGeom>
                  <a:avLst/>
                  <a:gdLst>
                    <a:gd name="T0" fmla="*/ 0 w 3"/>
                    <a:gd name="T1" fmla="*/ 0 h 4"/>
                    <a:gd name="T2" fmla="*/ 3 w 3"/>
                    <a:gd name="T3" fmla="*/ 4 h 4"/>
                    <a:gd name="T4" fmla="*/ 3 w 3"/>
                    <a:gd name="T5" fmla="*/ 4 h 4"/>
                    <a:gd name="T6" fmla="*/ 3 w 3"/>
                    <a:gd name="T7" fmla="*/ 1 h 4"/>
                    <a:gd name="T8" fmla="*/ 3 w 3"/>
                    <a:gd name="T9" fmla="*/ 1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cubicBezTo>
                        <a:pt x="0" y="2"/>
                        <a:pt x="1" y="4"/>
                        <a:pt x="3" y="4"/>
                      </a:cubicBezTo>
                      <a:lnTo>
                        <a:pt x="3" y="4"/>
                      </a:lnTo>
                      <a:lnTo>
                        <a:pt x="3" y="1"/>
                      </a:lnTo>
                      <a:lnTo>
                        <a:pt x="3" y="1"/>
                      </a:lnTo>
                      <a:cubicBezTo>
                        <a:pt x="2"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8" name="Freeform 412"/>
                <p:cNvSpPr>
                  <a:spLocks/>
                </p:cNvSpPr>
                <p:nvPr>
                  <p:custDataLst>
                    <p:tags r:id="rId394"/>
                  </p:custDataLst>
                </p:nvPr>
              </p:nvSpPr>
              <p:spPr bwMode="gray">
                <a:xfrm>
                  <a:off x="4115426" y="3299070"/>
                  <a:ext cx="91668" cy="69191"/>
                </a:xfrm>
                <a:custGeom>
                  <a:avLst/>
                  <a:gdLst>
                    <a:gd name="T0" fmla="*/ 0 w 9"/>
                    <a:gd name="T1" fmla="*/ 4 h 6"/>
                    <a:gd name="T2" fmla="*/ 3 w 9"/>
                    <a:gd name="T3" fmla="*/ 0 h 6"/>
                    <a:gd name="T4" fmla="*/ 4 w 9"/>
                    <a:gd name="T5" fmla="*/ 1 h 6"/>
                    <a:gd name="T6" fmla="*/ 9 w 9"/>
                    <a:gd name="T7" fmla="*/ 5 h 6"/>
                    <a:gd name="T8" fmla="*/ 8 w 9"/>
                    <a:gd name="T9" fmla="*/ 6 h 6"/>
                    <a:gd name="T10" fmla="*/ 4 w 9"/>
                    <a:gd name="T11" fmla="*/ 4 h 6"/>
                    <a:gd name="T12" fmla="*/ 0 w 9"/>
                    <a:gd name="T13" fmla="*/ 6 h 6"/>
                    <a:gd name="T14" fmla="*/ 1 w 9"/>
                    <a:gd name="T15" fmla="*/ 4 h 6"/>
                    <a:gd name="T16" fmla="*/ 1 w 9"/>
                    <a:gd name="T17" fmla="*/ 4 h 6"/>
                    <a:gd name="T18" fmla="*/ 0 w 9"/>
                    <a:gd name="T19" fmla="*/ 4 h 6"/>
                    <a:gd name="T20" fmla="*/ 0 w 9"/>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2" y="3"/>
                        <a:pt x="1" y="0"/>
                        <a:pt x="3" y="0"/>
                      </a:cubicBezTo>
                      <a:cubicBezTo>
                        <a:pt x="3" y="0"/>
                        <a:pt x="4" y="1"/>
                        <a:pt x="4" y="1"/>
                      </a:cubicBezTo>
                      <a:cubicBezTo>
                        <a:pt x="5" y="2"/>
                        <a:pt x="9" y="4"/>
                        <a:pt x="9" y="5"/>
                      </a:cubicBezTo>
                      <a:cubicBezTo>
                        <a:pt x="9" y="6"/>
                        <a:pt x="8" y="6"/>
                        <a:pt x="8" y="6"/>
                      </a:cubicBezTo>
                      <a:cubicBezTo>
                        <a:pt x="6" y="6"/>
                        <a:pt x="5" y="4"/>
                        <a:pt x="4" y="4"/>
                      </a:cubicBezTo>
                      <a:cubicBezTo>
                        <a:pt x="2" y="4"/>
                        <a:pt x="2" y="6"/>
                        <a:pt x="0" y="6"/>
                      </a:cubicBezTo>
                      <a:cubicBezTo>
                        <a:pt x="0" y="5"/>
                        <a:pt x="1" y="5"/>
                        <a:pt x="1" y="4"/>
                      </a:cubicBezTo>
                      <a:lnTo>
                        <a:pt x="1" y="4"/>
                      </a:ln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79" name="Freeform 413"/>
                <p:cNvSpPr>
                  <a:spLocks/>
                </p:cNvSpPr>
                <p:nvPr>
                  <p:custDataLst>
                    <p:tags r:id="rId395"/>
                  </p:custDataLst>
                </p:nvPr>
              </p:nvSpPr>
              <p:spPr bwMode="gray">
                <a:xfrm>
                  <a:off x="4105555" y="3244033"/>
                  <a:ext cx="9871" cy="12580"/>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0" name="Freeform 414"/>
                <p:cNvSpPr>
                  <a:spLocks/>
                </p:cNvSpPr>
                <p:nvPr>
                  <p:custDataLst>
                    <p:tags r:id="rId396"/>
                  </p:custDataLst>
                </p:nvPr>
              </p:nvSpPr>
              <p:spPr bwMode="gray">
                <a:xfrm>
                  <a:off x="4166196" y="3154400"/>
                  <a:ext cx="1128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1" name="Freeform 415"/>
                <p:cNvSpPr>
                  <a:spLocks/>
                </p:cNvSpPr>
                <p:nvPr>
                  <p:custDataLst>
                    <p:tags r:id="rId397"/>
                  </p:custDataLst>
                </p:nvPr>
              </p:nvSpPr>
              <p:spPr bwMode="gray">
                <a:xfrm>
                  <a:off x="4085811" y="3188996"/>
                  <a:ext cx="9871"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1" y="0"/>
                        <a:pt x="1" y="0"/>
                        <a:pt x="1" y="1"/>
                      </a:cubicBezTo>
                      <a:cubicBezTo>
                        <a:pt x="1" y="1"/>
                        <a:pt x="1" y="2"/>
                        <a:pt x="0" y="2"/>
                      </a:cubicBezTo>
                      <a:cubicBezTo>
                        <a:pt x="0" y="2"/>
                        <a:pt x="0" y="1"/>
                        <a:pt x="0" y="1"/>
                      </a:cubicBezTo>
                      <a:lnTo>
                        <a:pt x="0" y="1"/>
                      </a:lnTo>
                      <a:lnTo>
                        <a:pt x="0" y="1"/>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2" name="Freeform 416"/>
                <p:cNvSpPr>
                  <a:spLocks/>
                </p:cNvSpPr>
                <p:nvPr>
                  <p:custDataLst>
                    <p:tags r:id="rId398"/>
                  </p:custDataLst>
                </p:nvPr>
              </p:nvSpPr>
              <p:spPr bwMode="gray">
                <a:xfrm>
                  <a:off x="4115426" y="3267620"/>
                  <a:ext cx="11282" cy="20443"/>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3" name="Freeform 417"/>
                <p:cNvSpPr>
                  <a:spLocks/>
                </p:cNvSpPr>
                <p:nvPr>
                  <p:custDataLst>
                    <p:tags r:id="rId399"/>
                  </p:custDataLst>
                </p:nvPr>
              </p:nvSpPr>
              <p:spPr bwMode="gray">
                <a:xfrm>
                  <a:off x="3965938" y="3355681"/>
                  <a:ext cx="50769" cy="23588"/>
                </a:xfrm>
                <a:custGeom>
                  <a:avLst/>
                  <a:gdLst>
                    <a:gd name="T0" fmla="*/ 0 w 5"/>
                    <a:gd name="T1" fmla="*/ 2 h 2"/>
                    <a:gd name="T2" fmla="*/ 2 w 5"/>
                    <a:gd name="T3" fmla="*/ 0 h 2"/>
                    <a:gd name="T4" fmla="*/ 5 w 5"/>
                    <a:gd name="T5" fmla="*/ 1 h 2"/>
                    <a:gd name="T6" fmla="*/ 0 w 5"/>
                    <a:gd name="T7" fmla="*/ 2 h 2"/>
                    <a:gd name="T8" fmla="*/ 0 w 5"/>
                    <a:gd name="T9" fmla="*/ 2 h 2"/>
                    <a:gd name="T10" fmla="*/ 0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0" y="2"/>
                      </a:moveTo>
                      <a:cubicBezTo>
                        <a:pt x="1" y="0"/>
                        <a:pt x="1" y="0"/>
                        <a:pt x="2" y="0"/>
                      </a:cubicBezTo>
                      <a:cubicBezTo>
                        <a:pt x="4" y="0"/>
                        <a:pt x="4" y="0"/>
                        <a:pt x="5" y="1"/>
                      </a:cubicBezTo>
                      <a:cubicBezTo>
                        <a:pt x="4" y="2"/>
                        <a:pt x="1" y="2"/>
                        <a:pt x="0" y="2"/>
                      </a:cubicBezTo>
                      <a:lnTo>
                        <a:pt x="0" y="2"/>
                      </a:lnTo>
                      <a:lnTo>
                        <a:pt x="0" y="2"/>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4" name="Freeform 418"/>
                <p:cNvSpPr>
                  <a:spLocks/>
                </p:cNvSpPr>
                <p:nvPr>
                  <p:custDataLst>
                    <p:tags r:id="rId400"/>
                  </p:custDataLst>
                </p:nvPr>
              </p:nvSpPr>
              <p:spPr bwMode="gray">
                <a:xfrm>
                  <a:off x="3916578" y="3176415"/>
                  <a:ext cx="28206" cy="34595"/>
                </a:xfrm>
                <a:custGeom>
                  <a:avLst/>
                  <a:gdLst>
                    <a:gd name="T0" fmla="*/ 0 w 3"/>
                    <a:gd name="T1" fmla="*/ 2 h 3"/>
                    <a:gd name="T2" fmla="*/ 1 w 3"/>
                    <a:gd name="T3" fmla="*/ 3 h 3"/>
                    <a:gd name="T4" fmla="*/ 3 w 3"/>
                    <a:gd name="T5" fmla="*/ 3 h 3"/>
                    <a:gd name="T6" fmla="*/ 3 w 3"/>
                    <a:gd name="T7" fmla="*/ 3 h 3"/>
                    <a:gd name="T8" fmla="*/ 3 w 3"/>
                    <a:gd name="T9" fmla="*/ 2 h 3"/>
                    <a:gd name="T10" fmla="*/ 2 w 3"/>
                    <a:gd name="T11" fmla="*/ 0 h 3"/>
                    <a:gd name="T12" fmla="*/ 0 w 3"/>
                    <a:gd name="T13" fmla="*/ 2 h 3"/>
                    <a:gd name="T14" fmla="*/ 0 w 3"/>
                    <a:gd name="T15" fmla="*/ 2 h 3"/>
                    <a:gd name="T16" fmla="*/ 0 w 3"/>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2"/>
                      </a:moveTo>
                      <a:lnTo>
                        <a:pt x="1" y="3"/>
                      </a:lnTo>
                      <a:lnTo>
                        <a:pt x="3" y="3"/>
                      </a:lnTo>
                      <a:lnTo>
                        <a:pt x="3" y="3"/>
                      </a:lnTo>
                      <a:cubicBezTo>
                        <a:pt x="3" y="2"/>
                        <a:pt x="3" y="2"/>
                        <a:pt x="3" y="2"/>
                      </a:cubicBezTo>
                      <a:cubicBezTo>
                        <a:pt x="3" y="1"/>
                        <a:pt x="2" y="0"/>
                        <a:pt x="2" y="0"/>
                      </a:cubicBezTo>
                      <a:cubicBezTo>
                        <a:pt x="1" y="0"/>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5" name="Freeform 419"/>
                <p:cNvSpPr>
                  <a:spLocks/>
                </p:cNvSpPr>
                <p:nvPr>
                  <p:custDataLst>
                    <p:tags r:id="rId401"/>
                  </p:custDataLst>
                </p:nvPr>
              </p:nvSpPr>
              <p:spPr bwMode="gray">
                <a:xfrm>
                  <a:off x="4077349" y="3088354"/>
                  <a:ext cx="88846" cy="55039"/>
                </a:xfrm>
                <a:custGeom>
                  <a:avLst/>
                  <a:gdLst>
                    <a:gd name="T0" fmla="*/ 2 w 9"/>
                    <a:gd name="T1" fmla="*/ 0 h 5"/>
                    <a:gd name="T2" fmla="*/ 4 w 9"/>
                    <a:gd name="T3" fmla="*/ 2 h 5"/>
                    <a:gd name="T4" fmla="*/ 7 w 9"/>
                    <a:gd name="T5" fmla="*/ 5 h 5"/>
                    <a:gd name="T6" fmla="*/ 9 w 9"/>
                    <a:gd name="T7" fmla="*/ 3 h 5"/>
                    <a:gd name="T8" fmla="*/ 6 w 9"/>
                    <a:gd name="T9" fmla="*/ 0 h 5"/>
                    <a:gd name="T10" fmla="*/ 2 w 9"/>
                    <a:gd name="T11" fmla="*/ 0 h 5"/>
                    <a:gd name="T12" fmla="*/ 2 w 9"/>
                    <a:gd name="T13" fmla="*/ 0 h 5"/>
                    <a:gd name="T14" fmla="*/ 2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2" y="0"/>
                      </a:moveTo>
                      <a:cubicBezTo>
                        <a:pt x="0" y="4"/>
                        <a:pt x="4" y="1"/>
                        <a:pt x="4" y="2"/>
                      </a:cubicBezTo>
                      <a:cubicBezTo>
                        <a:pt x="4" y="3"/>
                        <a:pt x="5" y="5"/>
                        <a:pt x="7" y="5"/>
                      </a:cubicBezTo>
                      <a:cubicBezTo>
                        <a:pt x="7" y="5"/>
                        <a:pt x="9" y="3"/>
                        <a:pt x="9" y="3"/>
                      </a:cubicBezTo>
                      <a:cubicBezTo>
                        <a:pt x="8" y="2"/>
                        <a:pt x="6" y="1"/>
                        <a:pt x="6" y="0"/>
                      </a:cubicBezTo>
                      <a:cubicBezTo>
                        <a:pt x="6" y="0"/>
                        <a:pt x="2"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6" name="Freeform 420"/>
                <p:cNvSpPr>
                  <a:spLocks/>
                </p:cNvSpPr>
                <p:nvPr>
                  <p:custDataLst>
                    <p:tags r:id="rId402"/>
                  </p:custDataLst>
                </p:nvPr>
              </p:nvSpPr>
              <p:spPr bwMode="gray">
                <a:xfrm>
                  <a:off x="4046324" y="3088353"/>
                  <a:ext cx="31026" cy="20443"/>
                </a:xfrm>
                <a:custGeom>
                  <a:avLst/>
                  <a:gdLst>
                    <a:gd name="T0" fmla="*/ 0 w 3"/>
                    <a:gd name="T1" fmla="*/ 1 h 2"/>
                    <a:gd name="T2" fmla="*/ 1 w 3"/>
                    <a:gd name="T3" fmla="*/ 0 h 2"/>
                    <a:gd name="T4" fmla="*/ 1 w 3"/>
                    <a:gd name="T5" fmla="*/ 0 h 2"/>
                    <a:gd name="T6" fmla="*/ 3 w 3"/>
                    <a:gd name="T7" fmla="*/ 0 h 2"/>
                    <a:gd name="T8" fmla="*/ 3 w 3"/>
                    <a:gd name="T9" fmla="*/ 1 h 2"/>
                    <a:gd name="T10" fmla="*/ 3 w 3"/>
                    <a:gd name="T11" fmla="*/ 1 h 2"/>
                    <a:gd name="T12" fmla="*/ 1 w 3"/>
                    <a:gd name="T13" fmla="*/ 2 h 2"/>
                    <a:gd name="T14" fmla="*/ 0 w 3"/>
                    <a:gd name="T15" fmla="*/ 1 h 2"/>
                    <a:gd name="T16" fmla="*/ 0 w 3"/>
                    <a:gd name="T17" fmla="*/ 1 h 2"/>
                    <a:gd name="T18" fmla="*/ 0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1"/>
                      </a:moveTo>
                      <a:cubicBezTo>
                        <a:pt x="0" y="1"/>
                        <a:pt x="1" y="0"/>
                        <a:pt x="1" y="0"/>
                      </a:cubicBezTo>
                      <a:lnTo>
                        <a:pt x="1" y="0"/>
                      </a:lnTo>
                      <a:lnTo>
                        <a:pt x="3" y="0"/>
                      </a:lnTo>
                      <a:lnTo>
                        <a:pt x="3" y="1"/>
                      </a:lnTo>
                      <a:lnTo>
                        <a:pt x="3" y="1"/>
                      </a:lnTo>
                      <a:cubicBezTo>
                        <a:pt x="2" y="2"/>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7" name="Freeform 421"/>
                <p:cNvSpPr>
                  <a:spLocks/>
                </p:cNvSpPr>
                <p:nvPr>
                  <p:custDataLst>
                    <p:tags r:id="rId403"/>
                  </p:custDataLst>
                </p:nvPr>
              </p:nvSpPr>
              <p:spPr bwMode="gray">
                <a:xfrm>
                  <a:off x="4066068" y="3132385"/>
                  <a:ext cx="19744" cy="11009"/>
                </a:xfrm>
                <a:custGeom>
                  <a:avLst/>
                  <a:gdLst>
                    <a:gd name="T0" fmla="*/ 2 w 2"/>
                    <a:gd name="T1" fmla="*/ 1 h 1"/>
                    <a:gd name="T2" fmla="*/ 2 w 2"/>
                    <a:gd name="T3" fmla="*/ 1 h 1"/>
                    <a:gd name="T4" fmla="*/ 0 w 2"/>
                    <a:gd name="T5" fmla="*/ 0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2" y="1"/>
                      </a:cubicBezTo>
                      <a:cubicBezTo>
                        <a:pt x="1" y="1"/>
                        <a:pt x="1" y="1"/>
                        <a:pt x="0" y="0"/>
                      </a:cubicBezTo>
                      <a:cubicBezTo>
                        <a:pt x="0" y="0"/>
                        <a:pt x="1" y="0"/>
                        <a:pt x="1" y="0"/>
                      </a:cubicBezTo>
                      <a:cubicBezTo>
                        <a:pt x="1" y="0"/>
                        <a:pt x="2" y="1"/>
                        <a:pt x="2" y="1"/>
                      </a:cubicBezTo>
                      <a:lnTo>
                        <a:pt x="2" y="1"/>
                      </a:lnTo>
                      <a:lnTo>
                        <a:pt x="2"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8" name="Freeform 422"/>
                <p:cNvSpPr>
                  <a:spLocks/>
                </p:cNvSpPr>
                <p:nvPr>
                  <p:custDataLst>
                    <p:tags r:id="rId404"/>
                  </p:custDataLst>
                </p:nvPr>
              </p:nvSpPr>
              <p:spPr bwMode="gray">
                <a:xfrm>
                  <a:off x="4077350" y="3154400"/>
                  <a:ext cx="18332" cy="22015"/>
                </a:xfrm>
                <a:custGeom>
                  <a:avLst/>
                  <a:gdLst>
                    <a:gd name="T0" fmla="*/ 2 w 2"/>
                    <a:gd name="T1" fmla="*/ 1 h 2"/>
                    <a:gd name="T2" fmla="*/ 1 w 2"/>
                    <a:gd name="T3" fmla="*/ 2 h 2"/>
                    <a:gd name="T4" fmla="*/ 0 w 2"/>
                    <a:gd name="T5" fmla="*/ 0 h 2"/>
                    <a:gd name="T6" fmla="*/ 2 w 2"/>
                    <a:gd name="T7" fmla="*/ 1 h 2"/>
                    <a:gd name="T8" fmla="*/ 2 w 2"/>
                    <a:gd name="T9" fmla="*/ 1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2" y="2"/>
                        <a:pt x="2" y="2"/>
                        <a:pt x="1" y="2"/>
                      </a:cubicBezTo>
                      <a:cubicBezTo>
                        <a:pt x="1" y="2"/>
                        <a:pt x="0" y="0"/>
                        <a:pt x="0" y="0"/>
                      </a:cubicBezTo>
                      <a:cubicBezTo>
                        <a:pt x="1" y="0"/>
                        <a:pt x="2" y="0"/>
                        <a:pt x="2" y="1"/>
                      </a:cubicBezTo>
                      <a:lnTo>
                        <a:pt x="2" y="1"/>
                      </a:lnTo>
                      <a:lnTo>
                        <a:pt x="2" y="1"/>
                      </a:lnTo>
                    </a:path>
                  </a:pathLst>
                </a:custGeom>
                <a:solidFill>
                  <a:srgbClr val="EAEAEA"/>
                </a:solidFill>
                <a:ln w="9525" cap="flat" cmpd="sng">
                  <a:solidFill>
                    <a:srgbClr val="B2B2B2"/>
                  </a:solidFill>
                  <a:prstDash val="solid"/>
                  <a:round/>
                  <a:headEnd type="none" w="med" len="med"/>
                  <a:tailEnd type="none" w="med" len="med"/>
                </a:ln>
                <a:effectLst/>
                <a:extLst/>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89" name="Freeform 423"/>
                <p:cNvSpPr>
                  <a:spLocks/>
                </p:cNvSpPr>
                <p:nvPr>
                  <p:custDataLst>
                    <p:tags r:id="rId405"/>
                  </p:custDataLst>
                </p:nvPr>
              </p:nvSpPr>
              <p:spPr bwMode="gray">
                <a:xfrm>
                  <a:off x="4026581" y="3143392"/>
                  <a:ext cx="1410" cy="11008"/>
                </a:xfrm>
                <a:custGeom>
                  <a:avLst/>
                  <a:gdLst>
                    <a:gd name="T0" fmla="*/ 0 h 1"/>
                    <a:gd name="T1" fmla="*/ 1 h 1"/>
                    <a:gd name="T2" fmla="*/ 1 h 1"/>
                    <a:gd name="T3" fmla="*/ 1 h 1"/>
                    <a:gd name="T4" fmla="*/ 0 h 1"/>
                    <a:gd name="T5" fmla="*/ 0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lnTo>
                        <a:pt x="0" y="1"/>
                      </a:lnTo>
                      <a:lnTo>
                        <a:pt x="0" y="1"/>
                      </a:lnTo>
                      <a:lnTo>
                        <a:pt x="0" y="1"/>
                      </a:lnTo>
                      <a:cubicBezTo>
                        <a:pt x="0" y="0"/>
                        <a:pt x="0" y="0"/>
                        <a:pt x="0" y="0"/>
                      </a:cubicBezTo>
                      <a:lnTo>
                        <a:pt x="0"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0" name="Freeform 424"/>
                <p:cNvSpPr>
                  <a:spLocks/>
                </p:cNvSpPr>
                <p:nvPr>
                  <p:custDataLst>
                    <p:tags r:id="rId406"/>
                  </p:custDataLst>
                </p:nvPr>
              </p:nvSpPr>
              <p:spPr bwMode="gray">
                <a:xfrm>
                  <a:off x="4026580" y="3108796"/>
                  <a:ext cx="9871" cy="11008"/>
                </a:xfrm>
                <a:custGeom>
                  <a:avLst/>
                  <a:gdLst>
                    <a:gd name="T0" fmla="*/ 1 w 1"/>
                    <a:gd name="T1" fmla="*/ 0 h 1"/>
                    <a:gd name="T2" fmla="*/ 0 w 1"/>
                    <a:gd name="T3" fmla="*/ 1 h 1"/>
                    <a:gd name="T4" fmla="*/ 0 w 1"/>
                    <a:gd name="T5" fmla="*/ 1 h 1"/>
                    <a:gd name="T6" fmla="*/ 1 w 1"/>
                    <a:gd name="T7" fmla="*/ 1 h 1"/>
                    <a:gd name="T8" fmla="*/ 1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lnTo>
                        <a:pt x="0" y="1"/>
                      </a:lnTo>
                      <a:lnTo>
                        <a:pt x="0" y="1"/>
                      </a:lnTo>
                      <a:lnTo>
                        <a:pt x="1" y="1"/>
                      </a:lnTo>
                      <a:lnTo>
                        <a:pt x="1" y="1"/>
                      </a:lnTo>
                      <a:cubicBezTo>
                        <a:pt x="1" y="1"/>
                        <a:pt x="1" y="1"/>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1" name="Freeform 425"/>
                <p:cNvSpPr>
                  <a:spLocks/>
                </p:cNvSpPr>
                <p:nvPr>
                  <p:custDataLst>
                    <p:tags r:id="rId407"/>
                  </p:custDataLst>
                </p:nvPr>
              </p:nvSpPr>
              <p:spPr bwMode="gray">
                <a:xfrm>
                  <a:off x="4036452" y="3143393"/>
                  <a:ext cx="9872" cy="22015"/>
                </a:xfrm>
                <a:custGeom>
                  <a:avLst/>
                  <a:gdLst>
                    <a:gd name="T0" fmla="*/ 0 w 1"/>
                    <a:gd name="T1" fmla="*/ 1 h 2"/>
                    <a:gd name="T2" fmla="*/ 1 w 1"/>
                    <a:gd name="T3" fmla="*/ 1 h 2"/>
                    <a:gd name="T4" fmla="*/ 0 w 1"/>
                    <a:gd name="T5" fmla="*/ 0 h 2"/>
                    <a:gd name="T6" fmla="*/ 0 w 1"/>
                    <a:gd name="T7" fmla="*/ 1 h 2"/>
                    <a:gd name="T8" fmla="*/ 0 w 1"/>
                    <a:gd name="T9" fmla="*/ 1 h 2"/>
                    <a:gd name="T10" fmla="*/ 0 w 1"/>
                    <a:gd name="T11" fmla="*/ 1 h 2"/>
                  </a:gdLst>
                  <a:ahLst/>
                  <a:cxnLst>
                    <a:cxn ang="0">
                      <a:pos x="T0" y="T1"/>
                    </a:cxn>
                    <a:cxn ang="0">
                      <a:pos x="T2" y="T3"/>
                    </a:cxn>
                    <a:cxn ang="0">
                      <a:pos x="T4" y="T5"/>
                    </a:cxn>
                    <a:cxn ang="0">
                      <a:pos x="T6" y="T7"/>
                    </a:cxn>
                    <a:cxn ang="0">
                      <a:pos x="T8" y="T9"/>
                    </a:cxn>
                    <a:cxn ang="0">
                      <a:pos x="T10" y="T11"/>
                    </a:cxn>
                  </a:cxnLst>
                  <a:rect l="0" t="0" r="r" b="b"/>
                  <a:pathLst>
                    <a:path w="1" h="2">
                      <a:moveTo>
                        <a:pt x="0" y="1"/>
                      </a:moveTo>
                      <a:cubicBezTo>
                        <a:pt x="0" y="2"/>
                        <a:pt x="1" y="1"/>
                        <a:pt x="1" y="1"/>
                      </a:cubicBezTo>
                      <a:cubicBezTo>
                        <a:pt x="1" y="1"/>
                        <a:pt x="0" y="1"/>
                        <a:pt x="0"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2" name="Freeform 426"/>
                <p:cNvSpPr>
                  <a:spLocks/>
                </p:cNvSpPr>
                <p:nvPr>
                  <p:custDataLst>
                    <p:tags r:id="rId408"/>
                  </p:custDataLst>
                </p:nvPr>
              </p:nvSpPr>
              <p:spPr bwMode="gray">
                <a:xfrm>
                  <a:off x="4910820" y="3478337"/>
                  <a:ext cx="59231" cy="69191"/>
                </a:xfrm>
                <a:custGeom>
                  <a:avLst/>
                  <a:gdLst>
                    <a:gd name="T0" fmla="*/ 2 w 6"/>
                    <a:gd name="T1" fmla="*/ 0 h 6"/>
                    <a:gd name="T2" fmla="*/ 1 w 6"/>
                    <a:gd name="T3" fmla="*/ 4 h 6"/>
                    <a:gd name="T4" fmla="*/ 0 w 6"/>
                    <a:gd name="T5" fmla="*/ 4 h 6"/>
                    <a:gd name="T6" fmla="*/ 0 w 6"/>
                    <a:gd name="T7" fmla="*/ 4 h 6"/>
                    <a:gd name="T8" fmla="*/ 0 w 6"/>
                    <a:gd name="T9" fmla="*/ 5 h 6"/>
                    <a:gd name="T10" fmla="*/ 0 w 6"/>
                    <a:gd name="T11" fmla="*/ 5 h 6"/>
                    <a:gd name="T12" fmla="*/ 3 w 6"/>
                    <a:gd name="T13" fmla="*/ 6 h 6"/>
                    <a:gd name="T14" fmla="*/ 6 w 6"/>
                    <a:gd name="T15" fmla="*/ 3 h 6"/>
                    <a:gd name="T16" fmla="*/ 2 w 6"/>
                    <a:gd name="T17" fmla="*/ 0 h 6"/>
                    <a:gd name="T18" fmla="*/ 2 w 6"/>
                    <a:gd name="T19" fmla="*/ 0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cubicBezTo>
                        <a:pt x="1" y="1"/>
                        <a:pt x="1" y="2"/>
                        <a:pt x="1" y="4"/>
                      </a:cubicBezTo>
                      <a:cubicBezTo>
                        <a:pt x="0" y="4"/>
                        <a:pt x="0" y="4"/>
                        <a:pt x="0" y="4"/>
                      </a:cubicBezTo>
                      <a:lnTo>
                        <a:pt x="0" y="4"/>
                      </a:lnTo>
                      <a:lnTo>
                        <a:pt x="0" y="5"/>
                      </a:lnTo>
                      <a:lnTo>
                        <a:pt x="0" y="5"/>
                      </a:lnTo>
                      <a:cubicBezTo>
                        <a:pt x="1" y="5"/>
                        <a:pt x="2" y="6"/>
                        <a:pt x="3" y="6"/>
                      </a:cubicBezTo>
                      <a:cubicBezTo>
                        <a:pt x="4" y="6"/>
                        <a:pt x="6" y="4"/>
                        <a:pt x="6" y="3"/>
                      </a:cubicBezTo>
                      <a:cubicBezTo>
                        <a:pt x="6" y="1"/>
                        <a:pt x="4"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3" name="Freeform 427"/>
                <p:cNvSpPr>
                  <a:spLocks/>
                </p:cNvSpPr>
                <p:nvPr>
                  <p:custDataLst>
                    <p:tags r:id="rId409"/>
                  </p:custDataLst>
                </p:nvPr>
              </p:nvSpPr>
              <p:spPr bwMode="gray">
                <a:xfrm>
                  <a:off x="4618893" y="3770823"/>
                  <a:ext cx="121283" cy="133664"/>
                </a:xfrm>
                <a:custGeom>
                  <a:avLst/>
                  <a:gdLst>
                    <a:gd name="T0" fmla="*/ 1 w 12"/>
                    <a:gd name="T1" fmla="*/ 5 h 12"/>
                    <a:gd name="T2" fmla="*/ 5 w 12"/>
                    <a:gd name="T3" fmla="*/ 0 h 12"/>
                    <a:gd name="T4" fmla="*/ 7 w 12"/>
                    <a:gd name="T5" fmla="*/ 1 h 12"/>
                    <a:gd name="T6" fmla="*/ 12 w 12"/>
                    <a:gd name="T7" fmla="*/ 7 h 12"/>
                    <a:gd name="T8" fmla="*/ 11 w 12"/>
                    <a:gd name="T9" fmla="*/ 8 h 12"/>
                    <a:gd name="T10" fmla="*/ 7 w 12"/>
                    <a:gd name="T11" fmla="*/ 12 h 12"/>
                    <a:gd name="T12" fmla="*/ 4 w 12"/>
                    <a:gd name="T13" fmla="*/ 10 h 12"/>
                    <a:gd name="T14" fmla="*/ 3 w 12"/>
                    <a:gd name="T15" fmla="*/ 12 h 12"/>
                    <a:gd name="T16" fmla="*/ 0 w 12"/>
                    <a:gd name="T17" fmla="*/ 7 h 12"/>
                    <a:gd name="T18" fmla="*/ 1 w 12"/>
                    <a:gd name="T19" fmla="*/ 5 h 12"/>
                    <a:gd name="T20" fmla="*/ 1 w 12"/>
                    <a:gd name="T21" fmla="*/ 5 h 12"/>
                    <a:gd name="T22" fmla="*/ 1 w 12"/>
                    <a:gd name="T23" fmla="*/ 5 h 12"/>
                    <a:gd name="T24" fmla="*/ 1 w 12"/>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1" y="5"/>
                      </a:moveTo>
                      <a:cubicBezTo>
                        <a:pt x="2" y="3"/>
                        <a:pt x="3" y="0"/>
                        <a:pt x="5" y="0"/>
                      </a:cubicBezTo>
                      <a:cubicBezTo>
                        <a:pt x="6" y="0"/>
                        <a:pt x="6" y="1"/>
                        <a:pt x="7" y="1"/>
                      </a:cubicBezTo>
                      <a:cubicBezTo>
                        <a:pt x="8" y="3"/>
                        <a:pt x="12" y="3"/>
                        <a:pt x="12" y="7"/>
                      </a:cubicBezTo>
                      <a:cubicBezTo>
                        <a:pt x="12" y="8"/>
                        <a:pt x="11" y="8"/>
                        <a:pt x="11" y="8"/>
                      </a:cubicBezTo>
                      <a:cubicBezTo>
                        <a:pt x="10" y="9"/>
                        <a:pt x="9" y="12"/>
                        <a:pt x="7" y="12"/>
                      </a:cubicBezTo>
                      <a:cubicBezTo>
                        <a:pt x="6" y="12"/>
                        <a:pt x="5" y="10"/>
                        <a:pt x="4" y="10"/>
                      </a:cubicBezTo>
                      <a:cubicBezTo>
                        <a:pt x="4" y="11"/>
                        <a:pt x="4" y="12"/>
                        <a:pt x="3" y="12"/>
                      </a:cubicBezTo>
                      <a:cubicBezTo>
                        <a:pt x="1" y="12"/>
                        <a:pt x="0" y="8"/>
                        <a:pt x="0" y="7"/>
                      </a:cubicBezTo>
                      <a:cubicBezTo>
                        <a:pt x="0" y="6"/>
                        <a:pt x="1" y="5"/>
                        <a:pt x="1" y="5"/>
                      </a:cubicBezTo>
                      <a:cubicBezTo>
                        <a:pt x="1" y="5"/>
                        <a:pt x="1" y="5"/>
                        <a:pt x="1" y="5"/>
                      </a:cubicBezTo>
                      <a:lnTo>
                        <a:pt x="1" y="5"/>
                      </a:lnTo>
                      <a:lnTo>
                        <a:pt x="1"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4" name="Freeform 428"/>
                <p:cNvSpPr>
                  <a:spLocks/>
                </p:cNvSpPr>
                <p:nvPr>
                  <p:custDataLst>
                    <p:tags r:id="rId410"/>
                  </p:custDataLst>
                </p:nvPr>
              </p:nvSpPr>
              <p:spPr bwMode="gray">
                <a:xfrm>
                  <a:off x="6237885" y="2627607"/>
                  <a:ext cx="19744" cy="34595"/>
                </a:xfrm>
                <a:custGeom>
                  <a:avLst/>
                  <a:gdLst>
                    <a:gd name="T0" fmla="*/ 0 w 2"/>
                    <a:gd name="T1" fmla="*/ 2 h 3"/>
                    <a:gd name="T2" fmla="*/ 1 w 2"/>
                    <a:gd name="T3" fmla="*/ 0 h 3"/>
                    <a:gd name="T4" fmla="*/ 2 w 2"/>
                    <a:gd name="T5" fmla="*/ 2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0" y="0"/>
                        <a:pt x="1" y="0"/>
                      </a:cubicBezTo>
                      <a:cubicBezTo>
                        <a:pt x="1" y="0"/>
                        <a:pt x="2" y="1"/>
                        <a:pt x="2" y="2"/>
                      </a:cubicBezTo>
                      <a:cubicBezTo>
                        <a:pt x="2" y="2"/>
                        <a:pt x="1" y="3"/>
                        <a:pt x="1" y="3"/>
                      </a:cubicBezTo>
                      <a:cubicBezTo>
                        <a:pt x="0"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5" name="Freeform 429"/>
                <p:cNvSpPr>
                  <a:spLocks/>
                </p:cNvSpPr>
                <p:nvPr>
                  <p:custDataLst>
                    <p:tags r:id="rId411"/>
                  </p:custDataLst>
                </p:nvPr>
              </p:nvSpPr>
              <p:spPr bwMode="gray">
                <a:xfrm>
                  <a:off x="6206859" y="2528541"/>
                  <a:ext cx="2115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6" name="Freeform 430"/>
                <p:cNvSpPr>
                  <a:spLocks/>
                </p:cNvSpPr>
                <p:nvPr>
                  <p:custDataLst>
                    <p:tags r:id="rId412"/>
                  </p:custDataLst>
                </p:nvPr>
              </p:nvSpPr>
              <p:spPr bwMode="gray">
                <a:xfrm>
                  <a:off x="6218141" y="2493944"/>
                  <a:ext cx="39488" cy="56611"/>
                </a:xfrm>
                <a:custGeom>
                  <a:avLst/>
                  <a:gdLst>
                    <a:gd name="T0" fmla="*/ 1 w 4"/>
                    <a:gd name="T1" fmla="*/ 0 h 5"/>
                    <a:gd name="T2" fmla="*/ 4 w 4"/>
                    <a:gd name="T3" fmla="*/ 2 h 5"/>
                    <a:gd name="T4" fmla="*/ 4 w 4"/>
                    <a:gd name="T5" fmla="*/ 2 h 5"/>
                    <a:gd name="T6" fmla="*/ 4 w 4"/>
                    <a:gd name="T7" fmla="*/ 5 h 5"/>
                    <a:gd name="T8" fmla="*/ 4 w 4"/>
                    <a:gd name="T9" fmla="*/ 5 h 5"/>
                    <a:gd name="T10" fmla="*/ 3 w 4"/>
                    <a:gd name="T11" fmla="*/ 5 h 5"/>
                    <a:gd name="T12" fmla="*/ 3 w 4"/>
                    <a:gd name="T13" fmla="*/ 5 h 5"/>
                    <a:gd name="T14" fmla="*/ 0 w 4"/>
                    <a:gd name="T15" fmla="*/ 1 h 5"/>
                    <a:gd name="T16" fmla="*/ 0 w 4"/>
                    <a:gd name="T17" fmla="*/ 1 h 5"/>
                    <a:gd name="T18" fmla="*/ 1 w 4"/>
                    <a:gd name="T19" fmla="*/ 0 h 5"/>
                    <a:gd name="T20" fmla="*/ 1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1" y="0"/>
                      </a:moveTo>
                      <a:cubicBezTo>
                        <a:pt x="2" y="1"/>
                        <a:pt x="2" y="2"/>
                        <a:pt x="4" y="2"/>
                      </a:cubicBezTo>
                      <a:lnTo>
                        <a:pt x="4" y="2"/>
                      </a:lnTo>
                      <a:lnTo>
                        <a:pt x="4" y="5"/>
                      </a:lnTo>
                      <a:lnTo>
                        <a:pt x="4" y="5"/>
                      </a:lnTo>
                      <a:lnTo>
                        <a:pt x="3" y="5"/>
                      </a:lnTo>
                      <a:lnTo>
                        <a:pt x="3" y="5"/>
                      </a:lnTo>
                      <a:cubicBezTo>
                        <a:pt x="2" y="4"/>
                        <a:pt x="1" y="2"/>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7" name="Freeform 431"/>
                <p:cNvSpPr>
                  <a:spLocks/>
                </p:cNvSpPr>
                <p:nvPr>
                  <p:custDataLst>
                    <p:tags r:id="rId413"/>
                  </p:custDataLst>
                </p:nvPr>
              </p:nvSpPr>
              <p:spPr bwMode="gray">
                <a:xfrm>
                  <a:off x="5955831" y="3939084"/>
                  <a:ext cx="50769" cy="122656"/>
                </a:xfrm>
                <a:custGeom>
                  <a:avLst/>
                  <a:gdLst>
                    <a:gd name="T0" fmla="*/ 1 w 5"/>
                    <a:gd name="T1" fmla="*/ 11 h 11"/>
                    <a:gd name="T2" fmla="*/ 0 w 5"/>
                    <a:gd name="T3" fmla="*/ 6 h 11"/>
                    <a:gd name="T4" fmla="*/ 3 w 5"/>
                    <a:gd name="T5" fmla="*/ 0 h 11"/>
                    <a:gd name="T6" fmla="*/ 5 w 5"/>
                    <a:gd name="T7" fmla="*/ 3 h 11"/>
                    <a:gd name="T8" fmla="*/ 4 w 5"/>
                    <a:gd name="T9" fmla="*/ 6 h 11"/>
                    <a:gd name="T10" fmla="*/ 4 w 5"/>
                    <a:gd name="T11" fmla="*/ 8 h 11"/>
                    <a:gd name="T12" fmla="*/ 1 w 5"/>
                    <a:gd name="T13" fmla="*/ 11 h 11"/>
                    <a:gd name="T14" fmla="*/ 1 w 5"/>
                    <a:gd name="T15" fmla="*/ 11 h 11"/>
                    <a:gd name="T16" fmla="*/ 1 w 5"/>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1" y="11"/>
                      </a:moveTo>
                      <a:cubicBezTo>
                        <a:pt x="1" y="11"/>
                        <a:pt x="0" y="6"/>
                        <a:pt x="0" y="6"/>
                      </a:cubicBezTo>
                      <a:cubicBezTo>
                        <a:pt x="0" y="4"/>
                        <a:pt x="1" y="0"/>
                        <a:pt x="3" y="0"/>
                      </a:cubicBezTo>
                      <a:cubicBezTo>
                        <a:pt x="3" y="0"/>
                        <a:pt x="5" y="1"/>
                        <a:pt x="5" y="3"/>
                      </a:cubicBezTo>
                      <a:cubicBezTo>
                        <a:pt x="5" y="4"/>
                        <a:pt x="4" y="6"/>
                        <a:pt x="4" y="6"/>
                      </a:cubicBezTo>
                      <a:cubicBezTo>
                        <a:pt x="4" y="7"/>
                        <a:pt x="4" y="7"/>
                        <a:pt x="4" y="8"/>
                      </a:cubicBezTo>
                      <a:cubicBezTo>
                        <a:pt x="4" y="10"/>
                        <a:pt x="3" y="11"/>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8" name="Freeform 432"/>
                <p:cNvSpPr>
                  <a:spLocks/>
                </p:cNvSpPr>
                <p:nvPr>
                  <p:custDataLst>
                    <p:tags r:id="rId414"/>
                  </p:custDataLst>
                </p:nvPr>
              </p:nvSpPr>
              <p:spPr bwMode="gray">
                <a:xfrm>
                  <a:off x="3805167" y="3099362"/>
                  <a:ext cx="90258" cy="66046"/>
                </a:xfrm>
                <a:custGeom>
                  <a:avLst/>
                  <a:gdLst>
                    <a:gd name="T0" fmla="*/ 0 w 9"/>
                    <a:gd name="T1" fmla="*/ 4 h 6"/>
                    <a:gd name="T2" fmla="*/ 4 w 9"/>
                    <a:gd name="T3" fmla="*/ 5 h 6"/>
                    <a:gd name="T4" fmla="*/ 7 w 9"/>
                    <a:gd name="T5" fmla="*/ 5 h 6"/>
                    <a:gd name="T6" fmla="*/ 9 w 9"/>
                    <a:gd name="T7" fmla="*/ 6 h 6"/>
                    <a:gd name="T8" fmla="*/ 9 w 9"/>
                    <a:gd name="T9" fmla="*/ 6 h 6"/>
                    <a:gd name="T10" fmla="*/ 9 w 9"/>
                    <a:gd name="T11" fmla="*/ 4 h 6"/>
                    <a:gd name="T12" fmla="*/ 6 w 9"/>
                    <a:gd name="T13" fmla="*/ 2 h 6"/>
                    <a:gd name="T14" fmla="*/ 3 w 9"/>
                    <a:gd name="T15" fmla="*/ 2 h 6"/>
                    <a:gd name="T16" fmla="*/ 1 w 9"/>
                    <a:gd name="T17" fmla="*/ 0 h 6"/>
                    <a:gd name="T18" fmla="*/ 0 w 9"/>
                    <a:gd name="T19" fmla="*/ 4 h 6"/>
                    <a:gd name="T20" fmla="*/ 0 w 9"/>
                    <a:gd name="T21" fmla="*/ 4 h 6"/>
                    <a:gd name="T22" fmla="*/ 0 w 9"/>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0" y="4"/>
                      </a:moveTo>
                      <a:cubicBezTo>
                        <a:pt x="0" y="5"/>
                        <a:pt x="2" y="5"/>
                        <a:pt x="4" y="5"/>
                      </a:cubicBezTo>
                      <a:cubicBezTo>
                        <a:pt x="5" y="5"/>
                        <a:pt x="6" y="5"/>
                        <a:pt x="7" y="5"/>
                      </a:cubicBezTo>
                      <a:cubicBezTo>
                        <a:pt x="8" y="5"/>
                        <a:pt x="8" y="6"/>
                        <a:pt x="9" y="6"/>
                      </a:cubicBezTo>
                      <a:cubicBezTo>
                        <a:pt x="9" y="6"/>
                        <a:pt x="9" y="6"/>
                        <a:pt x="9" y="6"/>
                      </a:cubicBezTo>
                      <a:cubicBezTo>
                        <a:pt x="9" y="5"/>
                        <a:pt x="9" y="4"/>
                        <a:pt x="9" y="4"/>
                      </a:cubicBezTo>
                      <a:cubicBezTo>
                        <a:pt x="7" y="3"/>
                        <a:pt x="8" y="3"/>
                        <a:pt x="6" y="2"/>
                      </a:cubicBezTo>
                      <a:cubicBezTo>
                        <a:pt x="5" y="2"/>
                        <a:pt x="4" y="3"/>
                        <a:pt x="3" y="2"/>
                      </a:cubicBezTo>
                      <a:cubicBezTo>
                        <a:pt x="2" y="2"/>
                        <a:pt x="2" y="0"/>
                        <a:pt x="1" y="0"/>
                      </a:cubicBezTo>
                      <a:cubicBezTo>
                        <a:pt x="1"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299" name="Freeform 433"/>
                <p:cNvSpPr>
                  <a:spLocks/>
                </p:cNvSpPr>
                <p:nvPr>
                  <p:custDataLst>
                    <p:tags r:id="rId415"/>
                  </p:custDataLst>
                </p:nvPr>
              </p:nvSpPr>
              <p:spPr bwMode="gray">
                <a:xfrm>
                  <a:off x="3452598" y="3827434"/>
                  <a:ext cx="40898" cy="100641"/>
                </a:xfrm>
                <a:custGeom>
                  <a:avLst/>
                  <a:gdLst>
                    <a:gd name="T0" fmla="*/ 0 w 4"/>
                    <a:gd name="T1" fmla="*/ 3 h 9"/>
                    <a:gd name="T2" fmla="*/ 4 w 4"/>
                    <a:gd name="T3" fmla="*/ 9 h 9"/>
                    <a:gd name="T4" fmla="*/ 4 w 4"/>
                    <a:gd name="T5" fmla="*/ 7 h 9"/>
                    <a:gd name="T6" fmla="*/ 4 w 4"/>
                    <a:gd name="T7" fmla="*/ 6 h 9"/>
                    <a:gd name="T8" fmla="*/ 0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4"/>
                        <a:pt x="2" y="9"/>
                        <a:pt x="4" y="9"/>
                      </a:cubicBezTo>
                      <a:cubicBezTo>
                        <a:pt x="3" y="8"/>
                        <a:pt x="4" y="8"/>
                        <a:pt x="4" y="7"/>
                      </a:cubicBezTo>
                      <a:cubicBezTo>
                        <a:pt x="4" y="7"/>
                        <a:pt x="4" y="6"/>
                        <a:pt x="4" y="6"/>
                      </a:cubicBezTo>
                      <a:cubicBezTo>
                        <a:pt x="3" y="3"/>
                        <a:pt x="2" y="2"/>
                        <a:pt x="0" y="0"/>
                      </a:cubicBezTo>
                      <a:cubicBezTo>
                        <a:pt x="0" y="2"/>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0" name="Freeform 434"/>
                <p:cNvSpPr>
                  <a:spLocks/>
                </p:cNvSpPr>
                <p:nvPr>
                  <p:custDataLst>
                    <p:tags r:id="rId416"/>
                  </p:custDataLst>
                </p:nvPr>
              </p:nvSpPr>
              <p:spPr bwMode="gray">
                <a:xfrm>
                  <a:off x="3411702" y="3781832"/>
                  <a:ext cx="40897" cy="55038"/>
                </a:xfrm>
                <a:custGeom>
                  <a:avLst/>
                  <a:gdLst>
                    <a:gd name="T0" fmla="*/ 1 w 4"/>
                    <a:gd name="T1" fmla="*/ 2 h 5"/>
                    <a:gd name="T2" fmla="*/ 1 w 4"/>
                    <a:gd name="T3" fmla="*/ 5 h 5"/>
                    <a:gd name="T4" fmla="*/ 4 w 4"/>
                    <a:gd name="T5" fmla="*/ 3 h 5"/>
                    <a:gd name="T6" fmla="*/ 1 w 4"/>
                    <a:gd name="T7" fmla="*/ 0 h 5"/>
                    <a:gd name="T8" fmla="*/ 1 w 4"/>
                    <a:gd name="T9" fmla="*/ 2 h 5"/>
                    <a:gd name="T10" fmla="*/ 1 w 4"/>
                    <a:gd name="T11" fmla="*/ 2 h 5"/>
                    <a:gd name="T12" fmla="*/ 1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1" y="2"/>
                      </a:moveTo>
                      <a:cubicBezTo>
                        <a:pt x="1" y="2"/>
                        <a:pt x="1" y="5"/>
                        <a:pt x="1" y="5"/>
                      </a:cubicBezTo>
                      <a:cubicBezTo>
                        <a:pt x="2" y="5"/>
                        <a:pt x="4" y="4"/>
                        <a:pt x="4" y="3"/>
                      </a:cubicBezTo>
                      <a:cubicBezTo>
                        <a:pt x="4" y="1"/>
                        <a:pt x="2" y="1"/>
                        <a:pt x="1"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1" name="Freeform 435"/>
                <p:cNvSpPr>
                  <a:spLocks/>
                </p:cNvSpPr>
                <p:nvPr>
                  <p:custDataLst>
                    <p:tags r:id="rId417"/>
                  </p:custDataLst>
                </p:nvPr>
              </p:nvSpPr>
              <p:spPr bwMode="gray">
                <a:xfrm>
                  <a:off x="3342598" y="3681191"/>
                  <a:ext cx="60642" cy="67618"/>
                </a:xfrm>
                <a:custGeom>
                  <a:avLst/>
                  <a:gdLst>
                    <a:gd name="T0" fmla="*/ 0 w 6"/>
                    <a:gd name="T1" fmla="*/ 2 h 6"/>
                    <a:gd name="T2" fmla="*/ 5 w 6"/>
                    <a:gd name="T3" fmla="*/ 6 h 6"/>
                    <a:gd name="T4" fmla="*/ 5 w 6"/>
                    <a:gd name="T5" fmla="*/ 6 h 6"/>
                    <a:gd name="T6" fmla="*/ 6 w 6"/>
                    <a:gd name="T7" fmla="*/ 6 h 6"/>
                    <a:gd name="T8" fmla="*/ 6 w 6"/>
                    <a:gd name="T9" fmla="*/ 6 h 6"/>
                    <a:gd name="T10" fmla="*/ 2 w 6"/>
                    <a:gd name="T11" fmla="*/ 0 h 6"/>
                    <a:gd name="T12" fmla="*/ 1 w 6"/>
                    <a:gd name="T13" fmla="*/ 1 h 6"/>
                    <a:gd name="T14" fmla="*/ 1 w 6"/>
                    <a:gd name="T15" fmla="*/ 1 h 6"/>
                    <a:gd name="T16" fmla="*/ 0 w 6"/>
                    <a:gd name="T17" fmla="*/ 2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cubicBezTo>
                        <a:pt x="1" y="4"/>
                        <a:pt x="3" y="6"/>
                        <a:pt x="5" y="6"/>
                      </a:cubicBezTo>
                      <a:lnTo>
                        <a:pt x="5" y="6"/>
                      </a:lnTo>
                      <a:lnTo>
                        <a:pt x="6" y="6"/>
                      </a:lnTo>
                      <a:lnTo>
                        <a:pt x="6" y="6"/>
                      </a:lnTo>
                      <a:cubicBezTo>
                        <a:pt x="4" y="5"/>
                        <a:pt x="4" y="0"/>
                        <a:pt x="2" y="0"/>
                      </a:cubicBezTo>
                      <a:cubicBezTo>
                        <a:pt x="1" y="0"/>
                        <a:pt x="1" y="1"/>
                        <a:pt x="1" y="1"/>
                      </a:cubicBezTo>
                      <a:lnTo>
                        <a:pt x="1" y="1"/>
                      </a:ln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2" name="Freeform 436"/>
                <p:cNvSpPr>
                  <a:spLocks/>
                </p:cNvSpPr>
                <p:nvPr>
                  <p:custDataLst>
                    <p:tags r:id="rId418"/>
                  </p:custDataLst>
                </p:nvPr>
              </p:nvSpPr>
              <p:spPr bwMode="gray">
                <a:xfrm>
                  <a:off x="3191700" y="3478337"/>
                  <a:ext cx="110001" cy="158825"/>
                </a:xfrm>
                <a:custGeom>
                  <a:avLst/>
                  <a:gdLst>
                    <a:gd name="T0" fmla="*/ 0 w 11"/>
                    <a:gd name="T1" fmla="*/ 4 h 14"/>
                    <a:gd name="T2" fmla="*/ 2 w 11"/>
                    <a:gd name="T3" fmla="*/ 7 h 14"/>
                    <a:gd name="T4" fmla="*/ 9 w 11"/>
                    <a:gd name="T5" fmla="*/ 14 h 14"/>
                    <a:gd name="T6" fmla="*/ 11 w 11"/>
                    <a:gd name="T7" fmla="*/ 12 h 14"/>
                    <a:gd name="T8" fmla="*/ 11 w 11"/>
                    <a:gd name="T9" fmla="*/ 10 h 14"/>
                    <a:gd name="T10" fmla="*/ 9 w 11"/>
                    <a:gd name="T11" fmla="*/ 6 h 14"/>
                    <a:gd name="T12" fmla="*/ 6 w 11"/>
                    <a:gd name="T13" fmla="*/ 1 h 14"/>
                    <a:gd name="T14" fmla="*/ 0 w 11"/>
                    <a:gd name="T15" fmla="*/ 4 h 14"/>
                    <a:gd name="T16" fmla="*/ 0 w 11"/>
                    <a:gd name="T17" fmla="*/ 4 h 14"/>
                    <a:gd name="T18" fmla="*/ 0 w 11"/>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4"/>
                      </a:moveTo>
                      <a:cubicBezTo>
                        <a:pt x="0" y="6"/>
                        <a:pt x="2" y="6"/>
                        <a:pt x="2" y="7"/>
                      </a:cubicBezTo>
                      <a:cubicBezTo>
                        <a:pt x="4" y="10"/>
                        <a:pt x="5" y="14"/>
                        <a:pt x="9" y="14"/>
                      </a:cubicBezTo>
                      <a:cubicBezTo>
                        <a:pt x="9" y="14"/>
                        <a:pt x="11" y="13"/>
                        <a:pt x="11" y="12"/>
                      </a:cubicBezTo>
                      <a:cubicBezTo>
                        <a:pt x="11" y="11"/>
                        <a:pt x="11" y="11"/>
                        <a:pt x="11" y="10"/>
                      </a:cubicBezTo>
                      <a:cubicBezTo>
                        <a:pt x="9" y="10"/>
                        <a:pt x="9" y="8"/>
                        <a:pt x="9" y="6"/>
                      </a:cubicBezTo>
                      <a:cubicBezTo>
                        <a:pt x="8" y="4"/>
                        <a:pt x="6" y="3"/>
                        <a:pt x="6" y="1"/>
                      </a:cubicBezTo>
                      <a:cubicBezTo>
                        <a:pt x="3" y="0"/>
                        <a:pt x="0" y="1"/>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3" name="Freeform 437"/>
                <p:cNvSpPr>
                  <a:spLocks/>
                </p:cNvSpPr>
                <p:nvPr>
                  <p:custDataLst>
                    <p:tags r:id="rId419"/>
                  </p:custDataLst>
                </p:nvPr>
              </p:nvSpPr>
              <p:spPr bwMode="gray">
                <a:xfrm>
                  <a:off x="2970287" y="2887072"/>
                  <a:ext cx="31026" cy="31450"/>
                </a:xfrm>
                <a:custGeom>
                  <a:avLst/>
                  <a:gdLst>
                    <a:gd name="T0" fmla="*/ 3 w 3"/>
                    <a:gd name="T1" fmla="*/ 3 h 3"/>
                    <a:gd name="T2" fmla="*/ 3 w 3"/>
                    <a:gd name="T3" fmla="*/ 1 h 3"/>
                    <a:gd name="T4" fmla="*/ 3 w 3"/>
                    <a:gd name="T5" fmla="*/ 1 h 3"/>
                    <a:gd name="T6" fmla="*/ 0 w 3"/>
                    <a:gd name="T7" fmla="*/ 0 h 3"/>
                    <a:gd name="T8" fmla="*/ 3 w 3"/>
                    <a:gd name="T9" fmla="*/ 3 h 3"/>
                    <a:gd name="T10" fmla="*/ 3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1"/>
                      </a:lnTo>
                      <a:lnTo>
                        <a:pt x="3" y="1"/>
                      </a:lnTo>
                      <a:cubicBezTo>
                        <a:pt x="1" y="1"/>
                        <a:pt x="1" y="0"/>
                        <a:pt x="0" y="0"/>
                      </a:cubicBezTo>
                      <a:cubicBezTo>
                        <a:pt x="1" y="1"/>
                        <a:pt x="1" y="2"/>
                        <a:pt x="3" y="3"/>
                      </a:cubicBezTo>
                      <a:lnTo>
                        <a:pt x="3" y="3"/>
                      </a:lnTo>
                      <a:lnTo>
                        <a:pt x="3"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4" name="Freeform 438"/>
                <p:cNvSpPr>
                  <a:spLocks/>
                </p:cNvSpPr>
                <p:nvPr>
                  <p:custDataLst>
                    <p:tags r:id="rId420"/>
                  </p:custDataLst>
                </p:nvPr>
              </p:nvSpPr>
              <p:spPr bwMode="gray">
                <a:xfrm>
                  <a:off x="2950542" y="2909086"/>
                  <a:ext cx="19744" cy="20443"/>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1" y="0"/>
                        <a:pt x="2" y="1"/>
                        <a:pt x="2" y="1"/>
                      </a:cubicBezTo>
                      <a:cubicBezTo>
                        <a:pt x="2" y="2"/>
                        <a:pt x="1"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5" name="Freeform 439"/>
                <p:cNvSpPr>
                  <a:spLocks/>
                </p:cNvSpPr>
                <p:nvPr>
                  <p:custDataLst>
                    <p:tags r:id="rId421"/>
                  </p:custDataLst>
                </p:nvPr>
              </p:nvSpPr>
              <p:spPr bwMode="gray">
                <a:xfrm>
                  <a:off x="2739002" y="2750263"/>
                  <a:ext cx="121283" cy="113221"/>
                </a:xfrm>
                <a:custGeom>
                  <a:avLst/>
                  <a:gdLst>
                    <a:gd name="T0" fmla="*/ 12 w 12"/>
                    <a:gd name="T1" fmla="*/ 8 h 10"/>
                    <a:gd name="T2" fmla="*/ 12 w 12"/>
                    <a:gd name="T3" fmla="*/ 9 h 10"/>
                    <a:gd name="T4" fmla="*/ 11 w 12"/>
                    <a:gd name="T5" fmla="*/ 10 h 10"/>
                    <a:gd name="T6" fmla="*/ 5 w 12"/>
                    <a:gd name="T7" fmla="*/ 6 h 10"/>
                    <a:gd name="T8" fmla="*/ 0 w 12"/>
                    <a:gd name="T9" fmla="*/ 2 h 10"/>
                    <a:gd name="T10" fmla="*/ 1 w 12"/>
                    <a:gd name="T11" fmla="*/ 0 h 10"/>
                    <a:gd name="T12" fmla="*/ 4 w 12"/>
                    <a:gd name="T13" fmla="*/ 3 h 10"/>
                    <a:gd name="T14" fmla="*/ 12 w 12"/>
                    <a:gd name="T15" fmla="*/ 8 h 10"/>
                    <a:gd name="T16" fmla="*/ 12 w 12"/>
                    <a:gd name="T17" fmla="*/ 8 h 10"/>
                    <a:gd name="T18" fmla="*/ 12 w 12"/>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2" y="8"/>
                      </a:moveTo>
                      <a:cubicBezTo>
                        <a:pt x="12" y="8"/>
                        <a:pt x="12" y="9"/>
                        <a:pt x="12" y="9"/>
                      </a:cubicBezTo>
                      <a:cubicBezTo>
                        <a:pt x="12" y="10"/>
                        <a:pt x="11" y="10"/>
                        <a:pt x="11" y="10"/>
                      </a:cubicBezTo>
                      <a:cubicBezTo>
                        <a:pt x="9" y="10"/>
                        <a:pt x="6" y="6"/>
                        <a:pt x="5" y="6"/>
                      </a:cubicBezTo>
                      <a:cubicBezTo>
                        <a:pt x="2" y="6"/>
                        <a:pt x="0" y="4"/>
                        <a:pt x="0" y="2"/>
                      </a:cubicBezTo>
                      <a:cubicBezTo>
                        <a:pt x="1" y="2"/>
                        <a:pt x="1" y="1"/>
                        <a:pt x="1" y="0"/>
                      </a:cubicBezTo>
                      <a:cubicBezTo>
                        <a:pt x="3" y="0"/>
                        <a:pt x="4" y="2"/>
                        <a:pt x="4" y="3"/>
                      </a:cubicBezTo>
                      <a:cubicBezTo>
                        <a:pt x="5" y="4"/>
                        <a:pt x="9" y="6"/>
                        <a:pt x="12" y="8"/>
                      </a:cubicBezTo>
                      <a:lnTo>
                        <a:pt x="12" y="8"/>
                      </a:lnTo>
                      <a:lnTo>
                        <a:pt x="12"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6" name="Freeform 440"/>
                <p:cNvSpPr>
                  <a:spLocks/>
                </p:cNvSpPr>
                <p:nvPr>
                  <p:custDataLst>
                    <p:tags r:id="rId422"/>
                  </p:custDataLst>
                </p:nvPr>
              </p:nvSpPr>
              <p:spPr bwMode="gray">
                <a:xfrm>
                  <a:off x="8327907" y="3344675"/>
                  <a:ext cx="1578093" cy="1681016"/>
                </a:xfrm>
                <a:custGeom>
                  <a:avLst/>
                  <a:gdLst>
                    <a:gd name="T0" fmla="*/ 150 w 157"/>
                    <a:gd name="T1" fmla="*/ 141 h 150"/>
                    <a:gd name="T2" fmla="*/ 143 w 157"/>
                    <a:gd name="T3" fmla="*/ 131 h 150"/>
                    <a:gd name="T4" fmla="*/ 130 w 157"/>
                    <a:gd name="T5" fmla="*/ 131 h 150"/>
                    <a:gd name="T6" fmla="*/ 124 w 157"/>
                    <a:gd name="T7" fmla="*/ 134 h 150"/>
                    <a:gd name="T8" fmla="*/ 124 w 157"/>
                    <a:gd name="T9" fmla="*/ 130 h 150"/>
                    <a:gd name="T10" fmla="*/ 127 w 157"/>
                    <a:gd name="T11" fmla="*/ 124 h 150"/>
                    <a:gd name="T12" fmla="*/ 125 w 157"/>
                    <a:gd name="T13" fmla="*/ 121 h 150"/>
                    <a:gd name="T14" fmla="*/ 122 w 157"/>
                    <a:gd name="T15" fmla="*/ 118 h 150"/>
                    <a:gd name="T16" fmla="*/ 129 w 157"/>
                    <a:gd name="T17" fmla="*/ 117 h 150"/>
                    <a:gd name="T18" fmla="*/ 122 w 157"/>
                    <a:gd name="T19" fmla="*/ 112 h 150"/>
                    <a:gd name="T20" fmla="*/ 128 w 157"/>
                    <a:gd name="T21" fmla="*/ 113 h 150"/>
                    <a:gd name="T22" fmla="*/ 126 w 157"/>
                    <a:gd name="T23" fmla="*/ 111 h 150"/>
                    <a:gd name="T24" fmla="*/ 121 w 157"/>
                    <a:gd name="T25" fmla="*/ 107 h 150"/>
                    <a:gd name="T26" fmla="*/ 116 w 157"/>
                    <a:gd name="T27" fmla="*/ 94 h 150"/>
                    <a:gd name="T28" fmla="*/ 111 w 157"/>
                    <a:gd name="T29" fmla="*/ 89 h 150"/>
                    <a:gd name="T30" fmla="*/ 103 w 157"/>
                    <a:gd name="T31" fmla="*/ 83 h 150"/>
                    <a:gd name="T32" fmla="*/ 85 w 157"/>
                    <a:gd name="T33" fmla="*/ 75 h 150"/>
                    <a:gd name="T34" fmla="*/ 63 w 157"/>
                    <a:gd name="T35" fmla="*/ 69 h 150"/>
                    <a:gd name="T36" fmla="*/ 62 w 157"/>
                    <a:gd name="T37" fmla="*/ 62 h 150"/>
                    <a:gd name="T38" fmla="*/ 54 w 157"/>
                    <a:gd name="T39" fmla="*/ 61 h 150"/>
                    <a:gd name="T40" fmla="*/ 50 w 157"/>
                    <a:gd name="T41" fmla="*/ 60 h 150"/>
                    <a:gd name="T42" fmla="*/ 45 w 157"/>
                    <a:gd name="T43" fmla="*/ 58 h 150"/>
                    <a:gd name="T44" fmla="*/ 43 w 157"/>
                    <a:gd name="T45" fmla="*/ 58 h 150"/>
                    <a:gd name="T46" fmla="*/ 41 w 157"/>
                    <a:gd name="T47" fmla="*/ 56 h 150"/>
                    <a:gd name="T48" fmla="*/ 38 w 157"/>
                    <a:gd name="T49" fmla="*/ 59 h 150"/>
                    <a:gd name="T50" fmla="*/ 39 w 157"/>
                    <a:gd name="T51" fmla="*/ 61 h 150"/>
                    <a:gd name="T52" fmla="*/ 33 w 157"/>
                    <a:gd name="T53" fmla="*/ 64 h 150"/>
                    <a:gd name="T54" fmla="*/ 27 w 157"/>
                    <a:gd name="T55" fmla="*/ 58 h 150"/>
                    <a:gd name="T56" fmla="*/ 29 w 157"/>
                    <a:gd name="T57" fmla="*/ 54 h 150"/>
                    <a:gd name="T58" fmla="*/ 25 w 157"/>
                    <a:gd name="T59" fmla="*/ 49 h 150"/>
                    <a:gd name="T60" fmla="*/ 16 w 157"/>
                    <a:gd name="T61" fmla="*/ 44 h 150"/>
                    <a:gd name="T62" fmla="*/ 27 w 157"/>
                    <a:gd name="T63" fmla="*/ 43 h 150"/>
                    <a:gd name="T64" fmla="*/ 37 w 157"/>
                    <a:gd name="T65" fmla="*/ 38 h 150"/>
                    <a:gd name="T66" fmla="*/ 44 w 157"/>
                    <a:gd name="T67" fmla="*/ 37 h 150"/>
                    <a:gd name="T68" fmla="*/ 46 w 157"/>
                    <a:gd name="T69" fmla="*/ 32 h 150"/>
                    <a:gd name="T70" fmla="*/ 35 w 157"/>
                    <a:gd name="T71" fmla="*/ 33 h 150"/>
                    <a:gd name="T72" fmla="*/ 24 w 157"/>
                    <a:gd name="T73" fmla="*/ 33 h 150"/>
                    <a:gd name="T74" fmla="*/ 16 w 157"/>
                    <a:gd name="T75" fmla="*/ 25 h 150"/>
                    <a:gd name="T76" fmla="*/ 15 w 157"/>
                    <a:gd name="T77" fmla="*/ 22 h 150"/>
                    <a:gd name="T78" fmla="*/ 11 w 157"/>
                    <a:gd name="T79" fmla="*/ 22 h 150"/>
                    <a:gd name="T80" fmla="*/ 6 w 157"/>
                    <a:gd name="T81" fmla="*/ 20 h 150"/>
                    <a:gd name="T82" fmla="*/ 5 w 157"/>
                    <a:gd name="T83" fmla="*/ 21 h 150"/>
                    <a:gd name="T84" fmla="*/ 3 w 157"/>
                    <a:gd name="T85" fmla="*/ 16 h 150"/>
                    <a:gd name="T86" fmla="*/ 12 w 157"/>
                    <a:gd name="T87" fmla="*/ 8 h 150"/>
                    <a:gd name="T88" fmla="*/ 30 w 157"/>
                    <a:gd name="T89" fmla="*/ 4 h 150"/>
                    <a:gd name="T90" fmla="*/ 38 w 157"/>
                    <a:gd name="T91" fmla="*/ 8 h 150"/>
                    <a:gd name="T92" fmla="*/ 48 w 157"/>
                    <a:gd name="T93" fmla="*/ 9 h 150"/>
                    <a:gd name="T94" fmla="*/ 50 w 157"/>
                    <a:gd name="T95" fmla="*/ 16 h 150"/>
                    <a:gd name="T96" fmla="*/ 49 w 157"/>
                    <a:gd name="T97" fmla="*/ 27 h 150"/>
                    <a:gd name="T98" fmla="*/ 55 w 157"/>
                    <a:gd name="T99" fmla="*/ 44 h 150"/>
                    <a:gd name="T100" fmla="*/ 59 w 157"/>
                    <a:gd name="T101" fmla="*/ 45 h 150"/>
                    <a:gd name="T102" fmla="*/ 65 w 157"/>
                    <a:gd name="T103" fmla="*/ 53 h 150"/>
                    <a:gd name="T104" fmla="*/ 78 w 157"/>
                    <a:gd name="T105" fmla="*/ 46 h 150"/>
                    <a:gd name="T106" fmla="*/ 87 w 157"/>
                    <a:gd name="T107" fmla="*/ 33 h 150"/>
                    <a:gd name="T108" fmla="*/ 98 w 157"/>
                    <a:gd name="T109" fmla="*/ 31 h 150"/>
                    <a:gd name="T110" fmla="*/ 104 w 157"/>
                    <a:gd name="T111" fmla="*/ 22 h 150"/>
                    <a:gd name="T112" fmla="*/ 126 w 157"/>
                    <a:gd name="T113" fmla="*/ 29 h 150"/>
                    <a:gd name="T114" fmla="*/ 143 w 157"/>
                    <a:gd name="T115" fmla="*/ 35 h 150"/>
                    <a:gd name="T116" fmla="*/ 154 w 157"/>
                    <a:gd name="T117" fmla="*/ 39 h 150"/>
                    <a:gd name="T118" fmla="*/ 157 w 157"/>
                    <a:gd name="T119" fmla="*/ 40 h 150"/>
                    <a:gd name="T120" fmla="*/ 157 w 157"/>
                    <a:gd name="T121" fmla="*/ 102 h 150"/>
                    <a:gd name="T122" fmla="*/ 157 w 157"/>
                    <a:gd name="T123" fmla="*/ 113 h 150"/>
                    <a:gd name="T124" fmla="*/ 157 w 157"/>
                    <a:gd name="T12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 h="150">
                      <a:moveTo>
                        <a:pt x="157" y="150"/>
                      </a:moveTo>
                      <a:cubicBezTo>
                        <a:pt x="154" y="150"/>
                        <a:pt x="150" y="141"/>
                        <a:pt x="150" y="141"/>
                      </a:cubicBezTo>
                      <a:cubicBezTo>
                        <a:pt x="147" y="138"/>
                        <a:pt x="143" y="135"/>
                        <a:pt x="143" y="135"/>
                      </a:cubicBezTo>
                      <a:cubicBezTo>
                        <a:pt x="141" y="133"/>
                        <a:pt x="143" y="131"/>
                        <a:pt x="143" y="131"/>
                      </a:cubicBezTo>
                      <a:cubicBezTo>
                        <a:pt x="141" y="134"/>
                        <a:pt x="136" y="133"/>
                        <a:pt x="136" y="133"/>
                      </a:cubicBezTo>
                      <a:cubicBezTo>
                        <a:pt x="129" y="137"/>
                        <a:pt x="130" y="131"/>
                        <a:pt x="130" y="131"/>
                      </a:cubicBezTo>
                      <a:cubicBezTo>
                        <a:pt x="129" y="134"/>
                        <a:pt x="127" y="133"/>
                        <a:pt x="127" y="133"/>
                      </a:cubicBezTo>
                      <a:cubicBezTo>
                        <a:pt x="123" y="138"/>
                        <a:pt x="124" y="134"/>
                        <a:pt x="124" y="134"/>
                      </a:cubicBezTo>
                      <a:lnTo>
                        <a:pt x="124" y="134"/>
                      </a:lnTo>
                      <a:lnTo>
                        <a:pt x="124" y="130"/>
                      </a:lnTo>
                      <a:lnTo>
                        <a:pt x="124" y="130"/>
                      </a:lnTo>
                      <a:cubicBezTo>
                        <a:pt x="128" y="126"/>
                        <a:pt x="127" y="124"/>
                        <a:pt x="127" y="124"/>
                      </a:cubicBezTo>
                      <a:cubicBezTo>
                        <a:pt x="124" y="123"/>
                        <a:pt x="125" y="121"/>
                        <a:pt x="125" y="121"/>
                      </a:cubicBezTo>
                      <a:lnTo>
                        <a:pt x="125" y="121"/>
                      </a:lnTo>
                      <a:lnTo>
                        <a:pt x="122" y="118"/>
                      </a:lnTo>
                      <a:lnTo>
                        <a:pt x="122" y="118"/>
                      </a:lnTo>
                      <a:cubicBezTo>
                        <a:pt x="124" y="116"/>
                        <a:pt x="126" y="118"/>
                        <a:pt x="126" y="118"/>
                      </a:cubicBezTo>
                      <a:cubicBezTo>
                        <a:pt x="129" y="119"/>
                        <a:pt x="129" y="117"/>
                        <a:pt x="129" y="117"/>
                      </a:cubicBezTo>
                      <a:cubicBezTo>
                        <a:pt x="122" y="117"/>
                        <a:pt x="120" y="113"/>
                        <a:pt x="120" y="113"/>
                      </a:cubicBezTo>
                      <a:cubicBezTo>
                        <a:pt x="119" y="112"/>
                        <a:pt x="122" y="112"/>
                        <a:pt x="122" y="112"/>
                      </a:cubicBezTo>
                      <a:cubicBezTo>
                        <a:pt x="126" y="110"/>
                        <a:pt x="128" y="113"/>
                        <a:pt x="128" y="113"/>
                      </a:cubicBezTo>
                      <a:lnTo>
                        <a:pt x="128" y="113"/>
                      </a:lnTo>
                      <a:lnTo>
                        <a:pt x="126" y="111"/>
                      </a:lnTo>
                      <a:lnTo>
                        <a:pt x="126" y="111"/>
                      </a:lnTo>
                      <a:cubicBezTo>
                        <a:pt x="123" y="111"/>
                        <a:pt x="123" y="110"/>
                        <a:pt x="123" y="110"/>
                      </a:cubicBezTo>
                      <a:cubicBezTo>
                        <a:pt x="120" y="109"/>
                        <a:pt x="121" y="107"/>
                        <a:pt x="121" y="107"/>
                      </a:cubicBezTo>
                      <a:cubicBezTo>
                        <a:pt x="117" y="104"/>
                        <a:pt x="117" y="100"/>
                        <a:pt x="117" y="100"/>
                      </a:cubicBezTo>
                      <a:cubicBezTo>
                        <a:pt x="113" y="95"/>
                        <a:pt x="116" y="94"/>
                        <a:pt x="116" y="94"/>
                      </a:cubicBezTo>
                      <a:cubicBezTo>
                        <a:pt x="110" y="95"/>
                        <a:pt x="115" y="92"/>
                        <a:pt x="115" y="92"/>
                      </a:cubicBezTo>
                      <a:cubicBezTo>
                        <a:pt x="110" y="93"/>
                        <a:pt x="111" y="89"/>
                        <a:pt x="111" y="89"/>
                      </a:cubicBezTo>
                      <a:cubicBezTo>
                        <a:pt x="110" y="85"/>
                        <a:pt x="107" y="86"/>
                        <a:pt x="107" y="86"/>
                      </a:cubicBezTo>
                      <a:cubicBezTo>
                        <a:pt x="107" y="84"/>
                        <a:pt x="104" y="85"/>
                        <a:pt x="103" y="83"/>
                      </a:cubicBezTo>
                      <a:cubicBezTo>
                        <a:pt x="101" y="83"/>
                        <a:pt x="100" y="79"/>
                        <a:pt x="97" y="80"/>
                      </a:cubicBezTo>
                      <a:cubicBezTo>
                        <a:pt x="97" y="78"/>
                        <a:pt x="91" y="80"/>
                        <a:pt x="85" y="75"/>
                      </a:cubicBezTo>
                      <a:cubicBezTo>
                        <a:pt x="80" y="75"/>
                        <a:pt x="78" y="72"/>
                        <a:pt x="78" y="72"/>
                      </a:cubicBezTo>
                      <a:cubicBezTo>
                        <a:pt x="69" y="72"/>
                        <a:pt x="63" y="69"/>
                        <a:pt x="63" y="69"/>
                      </a:cubicBezTo>
                      <a:cubicBezTo>
                        <a:pt x="57" y="66"/>
                        <a:pt x="58" y="63"/>
                        <a:pt x="58" y="63"/>
                      </a:cubicBezTo>
                      <a:cubicBezTo>
                        <a:pt x="62" y="64"/>
                        <a:pt x="62" y="62"/>
                        <a:pt x="62" y="62"/>
                      </a:cubicBezTo>
                      <a:cubicBezTo>
                        <a:pt x="57" y="61"/>
                        <a:pt x="56" y="64"/>
                        <a:pt x="56" y="64"/>
                      </a:cubicBezTo>
                      <a:cubicBezTo>
                        <a:pt x="54" y="64"/>
                        <a:pt x="56" y="62"/>
                        <a:pt x="54" y="61"/>
                      </a:cubicBezTo>
                      <a:cubicBezTo>
                        <a:pt x="51" y="64"/>
                        <a:pt x="49" y="63"/>
                        <a:pt x="49" y="63"/>
                      </a:cubicBezTo>
                      <a:cubicBezTo>
                        <a:pt x="51" y="61"/>
                        <a:pt x="50" y="60"/>
                        <a:pt x="50" y="60"/>
                      </a:cubicBezTo>
                      <a:cubicBezTo>
                        <a:pt x="48" y="59"/>
                        <a:pt x="47" y="61"/>
                        <a:pt x="47" y="61"/>
                      </a:cubicBezTo>
                      <a:cubicBezTo>
                        <a:pt x="45" y="61"/>
                        <a:pt x="45" y="58"/>
                        <a:pt x="45" y="58"/>
                      </a:cubicBezTo>
                      <a:lnTo>
                        <a:pt x="45" y="58"/>
                      </a:lnTo>
                      <a:lnTo>
                        <a:pt x="43" y="58"/>
                      </a:lnTo>
                      <a:lnTo>
                        <a:pt x="42" y="54"/>
                      </a:lnTo>
                      <a:lnTo>
                        <a:pt x="41" y="56"/>
                      </a:lnTo>
                      <a:lnTo>
                        <a:pt x="41" y="56"/>
                      </a:lnTo>
                      <a:cubicBezTo>
                        <a:pt x="41" y="58"/>
                        <a:pt x="38" y="59"/>
                        <a:pt x="38" y="59"/>
                      </a:cubicBezTo>
                      <a:lnTo>
                        <a:pt x="38" y="59"/>
                      </a:lnTo>
                      <a:lnTo>
                        <a:pt x="39" y="61"/>
                      </a:lnTo>
                      <a:lnTo>
                        <a:pt x="39" y="61"/>
                      </a:lnTo>
                      <a:cubicBezTo>
                        <a:pt x="36" y="66"/>
                        <a:pt x="33" y="64"/>
                        <a:pt x="33" y="64"/>
                      </a:cubicBezTo>
                      <a:cubicBezTo>
                        <a:pt x="31" y="67"/>
                        <a:pt x="29" y="63"/>
                        <a:pt x="29" y="63"/>
                      </a:cubicBezTo>
                      <a:cubicBezTo>
                        <a:pt x="29" y="60"/>
                        <a:pt x="27" y="58"/>
                        <a:pt x="27" y="58"/>
                      </a:cubicBezTo>
                      <a:cubicBezTo>
                        <a:pt x="27" y="56"/>
                        <a:pt x="30" y="57"/>
                        <a:pt x="30" y="57"/>
                      </a:cubicBezTo>
                      <a:cubicBezTo>
                        <a:pt x="31" y="54"/>
                        <a:pt x="29" y="54"/>
                        <a:pt x="29" y="54"/>
                      </a:cubicBezTo>
                      <a:cubicBezTo>
                        <a:pt x="29" y="50"/>
                        <a:pt x="27" y="52"/>
                        <a:pt x="27" y="52"/>
                      </a:cubicBezTo>
                      <a:cubicBezTo>
                        <a:pt x="25" y="52"/>
                        <a:pt x="25" y="49"/>
                        <a:pt x="25" y="49"/>
                      </a:cubicBezTo>
                      <a:cubicBezTo>
                        <a:pt x="22" y="45"/>
                        <a:pt x="20" y="46"/>
                        <a:pt x="20" y="46"/>
                      </a:cubicBezTo>
                      <a:cubicBezTo>
                        <a:pt x="16" y="46"/>
                        <a:pt x="16" y="44"/>
                        <a:pt x="16" y="44"/>
                      </a:cubicBezTo>
                      <a:cubicBezTo>
                        <a:pt x="16" y="41"/>
                        <a:pt x="20" y="41"/>
                        <a:pt x="20" y="41"/>
                      </a:cubicBezTo>
                      <a:cubicBezTo>
                        <a:pt x="25" y="40"/>
                        <a:pt x="27" y="43"/>
                        <a:pt x="27" y="43"/>
                      </a:cubicBezTo>
                      <a:cubicBezTo>
                        <a:pt x="30" y="41"/>
                        <a:pt x="31" y="39"/>
                        <a:pt x="31" y="39"/>
                      </a:cubicBezTo>
                      <a:cubicBezTo>
                        <a:pt x="35" y="35"/>
                        <a:pt x="37" y="38"/>
                        <a:pt x="37" y="38"/>
                      </a:cubicBezTo>
                      <a:cubicBezTo>
                        <a:pt x="39" y="41"/>
                        <a:pt x="41" y="38"/>
                        <a:pt x="41" y="38"/>
                      </a:cubicBezTo>
                      <a:cubicBezTo>
                        <a:pt x="44" y="41"/>
                        <a:pt x="44" y="37"/>
                        <a:pt x="44" y="37"/>
                      </a:cubicBezTo>
                      <a:cubicBezTo>
                        <a:pt x="47" y="38"/>
                        <a:pt x="46" y="34"/>
                        <a:pt x="46" y="34"/>
                      </a:cubicBezTo>
                      <a:cubicBezTo>
                        <a:pt x="42" y="37"/>
                        <a:pt x="46" y="32"/>
                        <a:pt x="46" y="32"/>
                      </a:cubicBezTo>
                      <a:cubicBezTo>
                        <a:pt x="43" y="35"/>
                        <a:pt x="41" y="34"/>
                        <a:pt x="41" y="34"/>
                      </a:cubicBezTo>
                      <a:cubicBezTo>
                        <a:pt x="39" y="35"/>
                        <a:pt x="35" y="33"/>
                        <a:pt x="35" y="33"/>
                      </a:cubicBezTo>
                      <a:cubicBezTo>
                        <a:pt x="31" y="36"/>
                        <a:pt x="29" y="34"/>
                        <a:pt x="29" y="34"/>
                      </a:cubicBezTo>
                      <a:cubicBezTo>
                        <a:pt x="27" y="36"/>
                        <a:pt x="26" y="33"/>
                        <a:pt x="24" y="33"/>
                      </a:cubicBezTo>
                      <a:cubicBezTo>
                        <a:pt x="20" y="36"/>
                        <a:pt x="18" y="31"/>
                        <a:pt x="18" y="31"/>
                      </a:cubicBezTo>
                      <a:cubicBezTo>
                        <a:pt x="13" y="27"/>
                        <a:pt x="16" y="25"/>
                        <a:pt x="16" y="25"/>
                      </a:cubicBezTo>
                      <a:cubicBezTo>
                        <a:pt x="13" y="25"/>
                        <a:pt x="15" y="22"/>
                        <a:pt x="15" y="22"/>
                      </a:cubicBezTo>
                      <a:lnTo>
                        <a:pt x="15" y="22"/>
                      </a:lnTo>
                      <a:lnTo>
                        <a:pt x="11" y="22"/>
                      </a:lnTo>
                      <a:lnTo>
                        <a:pt x="11" y="22"/>
                      </a:lnTo>
                      <a:cubicBezTo>
                        <a:pt x="5" y="22"/>
                        <a:pt x="6" y="20"/>
                        <a:pt x="6" y="20"/>
                      </a:cubicBezTo>
                      <a:lnTo>
                        <a:pt x="6" y="20"/>
                      </a:lnTo>
                      <a:lnTo>
                        <a:pt x="5" y="21"/>
                      </a:lnTo>
                      <a:lnTo>
                        <a:pt x="5" y="21"/>
                      </a:lnTo>
                      <a:cubicBezTo>
                        <a:pt x="2" y="22"/>
                        <a:pt x="0" y="20"/>
                        <a:pt x="0" y="20"/>
                      </a:cubicBezTo>
                      <a:cubicBezTo>
                        <a:pt x="0" y="17"/>
                        <a:pt x="3" y="16"/>
                        <a:pt x="3" y="16"/>
                      </a:cubicBezTo>
                      <a:cubicBezTo>
                        <a:pt x="5" y="14"/>
                        <a:pt x="5" y="10"/>
                        <a:pt x="5" y="10"/>
                      </a:cubicBezTo>
                      <a:cubicBezTo>
                        <a:pt x="7" y="7"/>
                        <a:pt x="12" y="8"/>
                        <a:pt x="12" y="8"/>
                      </a:cubicBezTo>
                      <a:cubicBezTo>
                        <a:pt x="14" y="8"/>
                        <a:pt x="16" y="4"/>
                        <a:pt x="19" y="3"/>
                      </a:cubicBezTo>
                      <a:cubicBezTo>
                        <a:pt x="26" y="0"/>
                        <a:pt x="30" y="4"/>
                        <a:pt x="30" y="4"/>
                      </a:cubicBezTo>
                      <a:cubicBezTo>
                        <a:pt x="35" y="4"/>
                        <a:pt x="38" y="8"/>
                        <a:pt x="38" y="8"/>
                      </a:cubicBezTo>
                      <a:lnTo>
                        <a:pt x="38" y="8"/>
                      </a:lnTo>
                      <a:lnTo>
                        <a:pt x="48" y="9"/>
                      </a:lnTo>
                      <a:lnTo>
                        <a:pt x="48" y="9"/>
                      </a:lnTo>
                      <a:cubicBezTo>
                        <a:pt x="52" y="11"/>
                        <a:pt x="48" y="12"/>
                        <a:pt x="48" y="12"/>
                      </a:cubicBezTo>
                      <a:cubicBezTo>
                        <a:pt x="48" y="14"/>
                        <a:pt x="50" y="16"/>
                        <a:pt x="50" y="16"/>
                      </a:cubicBezTo>
                      <a:cubicBezTo>
                        <a:pt x="54" y="18"/>
                        <a:pt x="51" y="23"/>
                        <a:pt x="51" y="23"/>
                      </a:cubicBezTo>
                      <a:cubicBezTo>
                        <a:pt x="48" y="24"/>
                        <a:pt x="49" y="27"/>
                        <a:pt x="49" y="27"/>
                      </a:cubicBezTo>
                      <a:cubicBezTo>
                        <a:pt x="50" y="28"/>
                        <a:pt x="50" y="32"/>
                        <a:pt x="50" y="36"/>
                      </a:cubicBezTo>
                      <a:cubicBezTo>
                        <a:pt x="53" y="38"/>
                        <a:pt x="55" y="44"/>
                        <a:pt x="55" y="44"/>
                      </a:cubicBezTo>
                      <a:lnTo>
                        <a:pt x="55" y="44"/>
                      </a:lnTo>
                      <a:lnTo>
                        <a:pt x="59" y="45"/>
                      </a:lnTo>
                      <a:lnTo>
                        <a:pt x="59" y="45"/>
                      </a:lnTo>
                      <a:cubicBezTo>
                        <a:pt x="60" y="52"/>
                        <a:pt x="65" y="53"/>
                        <a:pt x="65" y="53"/>
                      </a:cubicBezTo>
                      <a:cubicBezTo>
                        <a:pt x="72" y="53"/>
                        <a:pt x="73" y="51"/>
                        <a:pt x="73" y="51"/>
                      </a:cubicBezTo>
                      <a:cubicBezTo>
                        <a:pt x="73" y="47"/>
                        <a:pt x="78" y="46"/>
                        <a:pt x="78" y="46"/>
                      </a:cubicBezTo>
                      <a:cubicBezTo>
                        <a:pt x="78" y="41"/>
                        <a:pt x="83" y="40"/>
                        <a:pt x="83" y="40"/>
                      </a:cubicBezTo>
                      <a:cubicBezTo>
                        <a:pt x="84" y="33"/>
                        <a:pt x="87" y="33"/>
                        <a:pt x="87" y="33"/>
                      </a:cubicBezTo>
                      <a:cubicBezTo>
                        <a:pt x="91" y="35"/>
                        <a:pt x="93" y="33"/>
                        <a:pt x="93" y="33"/>
                      </a:cubicBezTo>
                      <a:cubicBezTo>
                        <a:pt x="93" y="31"/>
                        <a:pt x="98" y="31"/>
                        <a:pt x="98" y="31"/>
                      </a:cubicBezTo>
                      <a:cubicBezTo>
                        <a:pt x="99" y="29"/>
                        <a:pt x="96" y="27"/>
                        <a:pt x="96" y="27"/>
                      </a:cubicBezTo>
                      <a:cubicBezTo>
                        <a:pt x="97" y="25"/>
                        <a:pt x="99" y="27"/>
                        <a:pt x="104" y="22"/>
                      </a:cubicBezTo>
                      <a:cubicBezTo>
                        <a:pt x="108" y="18"/>
                        <a:pt x="110" y="23"/>
                        <a:pt x="115" y="24"/>
                      </a:cubicBezTo>
                      <a:cubicBezTo>
                        <a:pt x="121" y="24"/>
                        <a:pt x="126" y="29"/>
                        <a:pt x="126" y="29"/>
                      </a:cubicBezTo>
                      <a:cubicBezTo>
                        <a:pt x="130" y="32"/>
                        <a:pt x="136" y="34"/>
                        <a:pt x="136" y="34"/>
                      </a:cubicBezTo>
                      <a:cubicBezTo>
                        <a:pt x="139" y="38"/>
                        <a:pt x="143" y="35"/>
                        <a:pt x="143" y="35"/>
                      </a:cubicBezTo>
                      <a:cubicBezTo>
                        <a:pt x="145" y="35"/>
                        <a:pt x="147" y="37"/>
                        <a:pt x="147" y="37"/>
                      </a:cubicBezTo>
                      <a:cubicBezTo>
                        <a:pt x="153" y="35"/>
                        <a:pt x="154" y="39"/>
                        <a:pt x="154" y="39"/>
                      </a:cubicBezTo>
                      <a:cubicBezTo>
                        <a:pt x="154" y="40"/>
                        <a:pt x="156" y="40"/>
                        <a:pt x="157" y="40"/>
                      </a:cubicBezTo>
                      <a:lnTo>
                        <a:pt x="157" y="40"/>
                      </a:lnTo>
                      <a:lnTo>
                        <a:pt x="157" y="102"/>
                      </a:lnTo>
                      <a:lnTo>
                        <a:pt x="157" y="102"/>
                      </a:lnTo>
                      <a:cubicBezTo>
                        <a:pt x="154" y="111"/>
                        <a:pt x="155" y="109"/>
                        <a:pt x="157" y="113"/>
                      </a:cubicBezTo>
                      <a:lnTo>
                        <a:pt x="157" y="113"/>
                      </a:lnTo>
                      <a:lnTo>
                        <a:pt x="157" y="150"/>
                      </a:lnTo>
                      <a:lnTo>
                        <a:pt x="157" y="15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7" name="Freeform 441"/>
                <p:cNvSpPr>
                  <a:spLocks/>
                </p:cNvSpPr>
                <p:nvPr>
                  <p:custDataLst>
                    <p:tags r:id="rId423"/>
                  </p:custDataLst>
                </p:nvPr>
              </p:nvSpPr>
              <p:spPr bwMode="gray">
                <a:xfrm>
                  <a:off x="4820561" y="2471928"/>
                  <a:ext cx="1618992" cy="1624407"/>
                </a:xfrm>
                <a:custGeom>
                  <a:avLst/>
                  <a:gdLst>
                    <a:gd name="T0" fmla="*/ 121 w 161"/>
                    <a:gd name="T1" fmla="*/ 117 h 145"/>
                    <a:gd name="T2" fmla="*/ 115 w 161"/>
                    <a:gd name="T3" fmla="*/ 123 h 145"/>
                    <a:gd name="T4" fmla="*/ 112 w 161"/>
                    <a:gd name="T5" fmla="*/ 135 h 145"/>
                    <a:gd name="T6" fmla="*/ 91 w 161"/>
                    <a:gd name="T7" fmla="*/ 140 h 145"/>
                    <a:gd name="T8" fmla="*/ 87 w 161"/>
                    <a:gd name="T9" fmla="*/ 129 h 145"/>
                    <a:gd name="T10" fmla="*/ 76 w 161"/>
                    <a:gd name="T11" fmla="*/ 132 h 145"/>
                    <a:gd name="T12" fmla="*/ 73 w 161"/>
                    <a:gd name="T13" fmla="*/ 128 h 145"/>
                    <a:gd name="T14" fmla="*/ 66 w 161"/>
                    <a:gd name="T15" fmla="*/ 124 h 145"/>
                    <a:gd name="T16" fmla="*/ 63 w 161"/>
                    <a:gd name="T17" fmla="*/ 130 h 145"/>
                    <a:gd name="T18" fmla="*/ 47 w 161"/>
                    <a:gd name="T19" fmla="*/ 134 h 145"/>
                    <a:gd name="T20" fmla="*/ 47 w 161"/>
                    <a:gd name="T21" fmla="*/ 132 h 145"/>
                    <a:gd name="T22" fmla="*/ 43 w 161"/>
                    <a:gd name="T23" fmla="*/ 124 h 145"/>
                    <a:gd name="T24" fmla="*/ 32 w 161"/>
                    <a:gd name="T25" fmla="*/ 124 h 145"/>
                    <a:gd name="T26" fmla="*/ 22 w 161"/>
                    <a:gd name="T27" fmla="*/ 121 h 145"/>
                    <a:gd name="T28" fmla="*/ 17 w 161"/>
                    <a:gd name="T29" fmla="*/ 105 h 145"/>
                    <a:gd name="T30" fmla="*/ 16 w 161"/>
                    <a:gd name="T31" fmla="*/ 92 h 145"/>
                    <a:gd name="T32" fmla="*/ 10 w 161"/>
                    <a:gd name="T33" fmla="*/ 89 h 145"/>
                    <a:gd name="T34" fmla="*/ 5 w 161"/>
                    <a:gd name="T35" fmla="*/ 78 h 145"/>
                    <a:gd name="T36" fmla="*/ 5 w 161"/>
                    <a:gd name="T37" fmla="*/ 73 h 145"/>
                    <a:gd name="T38" fmla="*/ 2 w 161"/>
                    <a:gd name="T39" fmla="*/ 58 h 145"/>
                    <a:gd name="T40" fmla="*/ 8 w 161"/>
                    <a:gd name="T41" fmla="*/ 43 h 145"/>
                    <a:gd name="T42" fmla="*/ 12 w 161"/>
                    <a:gd name="T43" fmla="*/ 41 h 145"/>
                    <a:gd name="T44" fmla="*/ 22 w 161"/>
                    <a:gd name="T45" fmla="*/ 55 h 145"/>
                    <a:gd name="T46" fmla="*/ 36 w 161"/>
                    <a:gd name="T47" fmla="*/ 57 h 145"/>
                    <a:gd name="T48" fmla="*/ 52 w 161"/>
                    <a:gd name="T49" fmla="*/ 55 h 145"/>
                    <a:gd name="T50" fmla="*/ 60 w 161"/>
                    <a:gd name="T51" fmla="*/ 49 h 145"/>
                    <a:gd name="T52" fmla="*/ 70 w 161"/>
                    <a:gd name="T53" fmla="*/ 51 h 145"/>
                    <a:gd name="T54" fmla="*/ 82 w 161"/>
                    <a:gd name="T55" fmla="*/ 50 h 145"/>
                    <a:gd name="T56" fmla="*/ 91 w 161"/>
                    <a:gd name="T57" fmla="*/ 49 h 145"/>
                    <a:gd name="T58" fmla="*/ 97 w 161"/>
                    <a:gd name="T59" fmla="*/ 35 h 145"/>
                    <a:gd name="T60" fmla="*/ 105 w 161"/>
                    <a:gd name="T61" fmla="*/ 22 h 145"/>
                    <a:gd name="T62" fmla="*/ 112 w 161"/>
                    <a:gd name="T63" fmla="*/ 1 h 145"/>
                    <a:gd name="T64" fmla="*/ 122 w 161"/>
                    <a:gd name="T65" fmla="*/ 1 h 145"/>
                    <a:gd name="T66" fmla="*/ 137 w 161"/>
                    <a:gd name="T67" fmla="*/ 5 h 145"/>
                    <a:gd name="T68" fmla="*/ 139 w 161"/>
                    <a:gd name="T69" fmla="*/ 13 h 145"/>
                    <a:gd name="T70" fmla="*/ 132 w 161"/>
                    <a:gd name="T71" fmla="*/ 16 h 145"/>
                    <a:gd name="T72" fmla="*/ 133 w 161"/>
                    <a:gd name="T73" fmla="*/ 21 h 145"/>
                    <a:gd name="T74" fmla="*/ 141 w 161"/>
                    <a:gd name="T75" fmla="*/ 28 h 145"/>
                    <a:gd name="T76" fmla="*/ 142 w 161"/>
                    <a:gd name="T77" fmla="*/ 42 h 145"/>
                    <a:gd name="T78" fmla="*/ 156 w 161"/>
                    <a:gd name="T79" fmla="*/ 53 h 145"/>
                    <a:gd name="T80" fmla="*/ 157 w 161"/>
                    <a:gd name="T81" fmla="*/ 60 h 145"/>
                    <a:gd name="T82" fmla="*/ 143 w 161"/>
                    <a:gd name="T83" fmla="*/ 55 h 145"/>
                    <a:gd name="T84" fmla="*/ 140 w 161"/>
                    <a:gd name="T85" fmla="*/ 63 h 145"/>
                    <a:gd name="T86" fmla="*/ 137 w 161"/>
                    <a:gd name="T87" fmla="*/ 75 h 145"/>
                    <a:gd name="T88" fmla="*/ 137 w 161"/>
                    <a:gd name="T89" fmla="*/ 87 h 145"/>
                    <a:gd name="T90" fmla="*/ 126 w 161"/>
                    <a:gd name="T91" fmla="*/ 96 h 145"/>
                    <a:gd name="T92" fmla="*/ 121 w 161"/>
                    <a:gd name="T93" fmla="*/ 101 h 145"/>
                    <a:gd name="T94" fmla="*/ 120 w 161"/>
                    <a:gd name="T95" fmla="*/ 109 h 145"/>
                    <a:gd name="T96" fmla="*/ 117 w 161"/>
                    <a:gd name="T97" fmla="*/ 111 h 145"/>
                    <a:gd name="T98" fmla="*/ 121 w 161"/>
                    <a:gd name="T99" fmla="*/ 11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145">
                      <a:moveTo>
                        <a:pt x="121" y="116"/>
                      </a:moveTo>
                      <a:lnTo>
                        <a:pt x="121" y="117"/>
                      </a:lnTo>
                      <a:lnTo>
                        <a:pt x="121" y="117"/>
                      </a:lnTo>
                      <a:cubicBezTo>
                        <a:pt x="119" y="115"/>
                        <a:pt x="118" y="118"/>
                        <a:pt x="118" y="118"/>
                      </a:cubicBezTo>
                      <a:cubicBezTo>
                        <a:pt x="120" y="119"/>
                        <a:pt x="118" y="123"/>
                        <a:pt x="118" y="123"/>
                      </a:cubicBezTo>
                      <a:cubicBezTo>
                        <a:pt x="117" y="126"/>
                        <a:pt x="115" y="123"/>
                        <a:pt x="115" y="123"/>
                      </a:cubicBezTo>
                      <a:cubicBezTo>
                        <a:pt x="114" y="126"/>
                        <a:pt x="117" y="126"/>
                        <a:pt x="117" y="128"/>
                      </a:cubicBezTo>
                      <a:cubicBezTo>
                        <a:pt x="117" y="129"/>
                        <a:pt x="114" y="130"/>
                        <a:pt x="114" y="130"/>
                      </a:cubicBezTo>
                      <a:cubicBezTo>
                        <a:pt x="113" y="132"/>
                        <a:pt x="112" y="135"/>
                        <a:pt x="112" y="135"/>
                      </a:cubicBezTo>
                      <a:cubicBezTo>
                        <a:pt x="106" y="139"/>
                        <a:pt x="100" y="141"/>
                        <a:pt x="100" y="141"/>
                      </a:cubicBezTo>
                      <a:cubicBezTo>
                        <a:pt x="96" y="143"/>
                        <a:pt x="92" y="145"/>
                        <a:pt x="92" y="145"/>
                      </a:cubicBezTo>
                      <a:cubicBezTo>
                        <a:pt x="90" y="144"/>
                        <a:pt x="91" y="140"/>
                        <a:pt x="91" y="140"/>
                      </a:cubicBezTo>
                      <a:cubicBezTo>
                        <a:pt x="91" y="136"/>
                        <a:pt x="90" y="134"/>
                        <a:pt x="89" y="133"/>
                      </a:cubicBezTo>
                      <a:cubicBezTo>
                        <a:pt x="88" y="132"/>
                        <a:pt x="87" y="132"/>
                        <a:pt x="87" y="132"/>
                      </a:cubicBezTo>
                      <a:cubicBezTo>
                        <a:pt x="85" y="132"/>
                        <a:pt x="87" y="129"/>
                        <a:pt x="87" y="129"/>
                      </a:cubicBezTo>
                      <a:cubicBezTo>
                        <a:pt x="84" y="133"/>
                        <a:pt x="83" y="130"/>
                        <a:pt x="83" y="130"/>
                      </a:cubicBezTo>
                      <a:cubicBezTo>
                        <a:pt x="79" y="134"/>
                        <a:pt x="76" y="132"/>
                        <a:pt x="76" y="132"/>
                      </a:cubicBezTo>
                      <a:lnTo>
                        <a:pt x="76" y="132"/>
                      </a:lnTo>
                      <a:lnTo>
                        <a:pt x="75" y="128"/>
                      </a:lnTo>
                      <a:lnTo>
                        <a:pt x="75" y="128"/>
                      </a:lnTo>
                      <a:cubicBezTo>
                        <a:pt x="75" y="126"/>
                        <a:pt x="73" y="128"/>
                        <a:pt x="73" y="128"/>
                      </a:cubicBezTo>
                      <a:cubicBezTo>
                        <a:pt x="71" y="130"/>
                        <a:pt x="69" y="127"/>
                        <a:pt x="69" y="127"/>
                      </a:cubicBezTo>
                      <a:lnTo>
                        <a:pt x="69" y="127"/>
                      </a:lnTo>
                      <a:lnTo>
                        <a:pt x="66" y="124"/>
                      </a:lnTo>
                      <a:lnTo>
                        <a:pt x="65" y="126"/>
                      </a:lnTo>
                      <a:lnTo>
                        <a:pt x="65" y="126"/>
                      </a:lnTo>
                      <a:cubicBezTo>
                        <a:pt x="66" y="129"/>
                        <a:pt x="63" y="130"/>
                        <a:pt x="63" y="130"/>
                      </a:cubicBezTo>
                      <a:cubicBezTo>
                        <a:pt x="59" y="134"/>
                        <a:pt x="56" y="131"/>
                        <a:pt x="56" y="131"/>
                      </a:cubicBezTo>
                      <a:cubicBezTo>
                        <a:pt x="54" y="129"/>
                        <a:pt x="54" y="129"/>
                        <a:pt x="52" y="131"/>
                      </a:cubicBezTo>
                      <a:cubicBezTo>
                        <a:pt x="49" y="136"/>
                        <a:pt x="47" y="134"/>
                        <a:pt x="47" y="134"/>
                      </a:cubicBezTo>
                      <a:lnTo>
                        <a:pt x="47" y="134"/>
                      </a:lnTo>
                      <a:lnTo>
                        <a:pt x="47" y="132"/>
                      </a:lnTo>
                      <a:lnTo>
                        <a:pt x="47" y="132"/>
                      </a:lnTo>
                      <a:cubicBezTo>
                        <a:pt x="46" y="130"/>
                        <a:pt x="47" y="127"/>
                        <a:pt x="47" y="127"/>
                      </a:cubicBezTo>
                      <a:cubicBezTo>
                        <a:pt x="48" y="123"/>
                        <a:pt x="46" y="121"/>
                        <a:pt x="46" y="121"/>
                      </a:cubicBezTo>
                      <a:cubicBezTo>
                        <a:pt x="45" y="126"/>
                        <a:pt x="43" y="124"/>
                        <a:pt x="43" y="124"/>
                      </a:cubicBezTo>
                      <a:cubicBezTo>
                        <a:pt x="42" y="123"/>
                        <a:pt x="40" y="124"/>
                        <a:pt x="40" y="124"/>
                      </a:cubicBezTo>
                      <a:cubicBezTo>
                        <a:pt x="38" y="123"/>
                        <a:pt x="36" y="126"/>
                        <a:pt x="36" y="126"/>
                      </a:cubicBezTo>
                      <a:cubicBezTo>
                        <a:pt x="31" y="127"/>
                        <a:pt x="32" y="124"/>
                        <a:pt x="32" y="124"/>
                      </a:cubicBezTo>
                      <a:cubicBezTo>
                        <a:pt x="27" y="129"/>
                        <a:pt x="28" y="123"/>
                        <a:pt x="28" y="123"/>
                      </a:cubicBezTo>
                      <a:cubicBezTo>
                        <a:pt x="27" y="121"/>
                        <a:pt x="25" y="123"/>
                        <a:pt x="25" y="123"/>
                      </a:cubicBezTo>
                      <a:cubicBezTo>
                        <a:pt x="23" y="126"/>
                        <a:pt x="21" y="124"/>
                        <a:pt x="22" y="121"/>
                      </a:cubicBezTo>
                      <a:cubicBezTo>
                        <a:pt x="21" y="119"/>
                        <a:pt x="22" y="117"/>
                        <a:pt x="22" y="117"/>
                      </a:cubicBezTo>
                      <a:cubicBezTo>
                        <a:pt x="19" y="114"/>
                        <a:pt x="21" y="111"/>
                        <a:pt x="21" y="111"/>
                      </a:cubicBezTo>
                      <a:cubicBezTo>
                        <a:pt x="21" y="107"/>
                        <a:pt x="17" y="105"/>
                        <a:pt x="17" y="105"/>
                      </a:cubicBezTo>
                      <a:cubicBezTo>
                        <a:pt x="20" y="102"/>
                        <a:pt x="20" y="98"/>
                        <a:pt x="20" y="98"/>
                      </a:cubicBezTo>
                      <a:lnTo>
                        <a:pt x="20" y="98"/>
                      </a:lnTo>
                      <a:lnTo>
                        <a:pt x="16" y="92"/>
                      </a:lnTo>
                      <a:lnTo>
                        <a:pt x="16" y="92"/>
                      </a:lnTo>
                      <a:cubicBezTo>
                        <a:pt x="14" y="92"/>
                        <a:pt x="14" y="89"/>
                        <a:pt x="14" y="89"/>
                      </a:cubicBezTo>
                      <a:cubicBezTo>
                        <a:pt x="11" y="91"/>
                        <a:pt x="10" y="89"/>
                        <a:pt x="10" y="89"/>
                      </a:cubicBezTo>
                      <a:cubicBezTo>
                        <a:pt x="7" y="92"/>
                        <a:pt x="7" y="87"/>
                        <a:pt x="7" y="87"/>
                      </a:cubicBezTo>
                      <a:cubicBezTo>
                        <a:pt x="7" y="84"/>
                        <a:pt x="5" y="82"/>
                        <a:pt x="5" y="82"/>
                      </a:cubicBezTo>
                      <a:cubicBezTo>
                        <a:pt x="3" y="77"/>
                        <a:pt x="5" y="78"/>
                        <a:pt x="5" y="78"/>
                      </a:cubicBezTo>
                      <a:lnTo>
                        <a:pt x="5" y="78"/>
                      </a:lnTo>
                      <a:lnTo>
                        <a:pt x="5" y="73"/>
                      </a:lnTo>
                      <a:lnTo>
                        <a:pt x="5" y="73"/>
                      </a:lnTo>
                      <a:cubicBezTo>
                        <a:pt x="6" y="70"/>
                        <a:pt x="2" y="69"/>
                        <a:pt x="2" y="69"/>
                      </a:cubicBezTo>
                      <a:cubicBezTo>
                        <a:pt x="2" y="65"/>
                        <a:pt x="1" y="61"/>
                        <a:pt x="1" y="61"/>
                      </a:cubicBezTo>
                      <a:cubicBezTo>
                        <a:pt x="0" y="59"/>
                        <a:pt x="3" y="60"/>
                        <a:pt x="2" y="58"/>
                      </a:cubicBezTo>
                      <a:cubicBezTo>
                        <a:pt x="1" y="55"/>
                        <a:pt x="3" y="53"/>
                        <a:pt x="3" y="53"/>
                      </a:cubicBezTo>
                      <a:cubicBezTo>
                        <a:pt x="5" y="51"/>
                        <a:pt x="2" y="49"/>
                        <a:pt x="4" y="48"/>
                      </a:cubicBezTo>
                      <a:cubicBezTo>
                        <a:pt x="7" y="47"/>
                        <a:pt x="8" y="43"/>
                        <a:pt x="8" y="43"/>
                      </a:cubicBezTo>
                      <a:lnTo>
                        <a:pt x="8" y="43"/>
                      </a:lnTo>
                      <a:lnTo>
                        <a:pt x="12" y="41"/>
                      </a:lnTo>
                      <a:lnTo>
                        <a:pt x="12" y="41"/>
                      </a:lnTo>
                      <a:cubicBezTo>
                        <a:pt x="10" y="45"/>
                        <a:pt x="12" y="45"/>
                        <a:pt x="12" y="45"/>
                      </a:cubicBezTo>
                      <a:cubicBezTo>
                        <a:pt x="14" y="44"/>
                        <a:pt x="11" y="48"/>
                        <a:pt x="16" y="51"/>
                      </a:cubicBezTo>
                      <a:cubicBezTo>
                        <a:pt x="19" y="51"/>
                        <a:pt x="18" y="54"/>
                        <a:pt x="22" y="55"/>
                      </a:cubicBezTo>
                      <a:cubicBezTo>
                        <a:pt x="22" y="59"/>
                        <a:pt x="24" y="57"/>
                        <a:pt x="25" y="59"/>
                      </a:cubicBezTo>
                      <a:cubicBezTo>
                        <a:pt x="27" y="62"/>
                        <a:pt x="30" y="59"/>
                        <a:pt x="30" y="59"/>
                      </a:cubicBezTo>
                      <a:cubicBezTo>
                        <a:pt x="32" y="57"/>
                        <a:pt x="36" y="57"/>
                        <a:pt x="36" y="57"/>
                      </a:cubicBezTo>
                      <a:cubicBezTo>
                        <a:pt x="40" y="56"/>
                        <a:pt x="42" y="59"/>
                        <a:pt x="42" y="59"/>
                      </a:cubicBezTo>
                      <a:cubicBezTo>
                        <a:pt x="44" y="56"/>
                        <a:pt x="46" y="58"/>
                        <a:pt x="46" y="58"/>
                      </a:cubicBezTo>
                      <a:cubicBezTo>
                        <a:pt x="48" y="55"/>
                        <a:pt x="52" y="55"/>
                        <a:pt x="52" y="55"/>
                      </a:cubicBezTo>
                      <a:cubicBezTo>
                        <a:pt x="53" y="55"/>
                        <a:pt x="53" y="50"/>
                        <a:pt x="53" y="50"/>
                      </a:cubicBezTo>
                      <a:cubicBezTo>
                        <a:pt x="55" y="48"/>
                        <a:pt x="60" y="49"/>
                        <a:pt x="60" y="49"/>
                      </a:cubicBezTo>
                      <a:lnTo>
                        <a:pt x="60" y="49"/>
                      </a:lnTo>
                      <a:lnTo>
                        <a:pt x="65" y="49"/>
                      </a:lnTo>
                      <a:lnTo>
                        <a:pt x="65" y="49"/>
                      </a:lnTo>
                      <a:cubicBezTo>
                        <a:pt x="65" y="53"/>
                        <a:pt x="70" y="51"/>
                        <a:pt x="70" y="51"/>
                      </a:cubicBezTo>
                      <a:cubicBezTo>
                        <a:pt x="71" y="53"/>
                        <a:pt x="73" y="53"/>
                        <a:pt x="73" y="53"/>
                      </a:cubicBezTo>
                      <a:cubicBezTo>
                        <a:pt x="77" y="55"/>
                        <a:pt x="78" y="52"/>
                        <a:pt x="78" y="52"/>
                      </a:cubicBezTo>
                      <a:cubicBezTo>
                        <a:pt x="79" y="50"/>
                        <a:pt x="82" y="50"/>
                        <a:pt x="82" y="50"/>
                      </a:cubicBezTo>
                      <a:cubicBezTo>
                        <a:pt x="82" y="50"/>
                        <a:pt x="83" y="50"/>
                        <a:pt x="83" y="50"/>
                      </a:cubicBezTo>
                      <a:cubicBezTo>
                        <a:pt x="85" y="51"/>
                        <a:pt x="86" y="50"/>
                        <a:pt x="86" y="50"/>
                      </a:cubicBezTo>
                      <a:cubicBezTo>
                        <a:pt x="88" y="49"/>
                        <a:pt x="91" y="53"/>
                        <a:pt x="91" y="49"/>
                      </a:cubicBezTo>
                      <a:cubicBezTo>
                        <a:pt x="92" y="48"/>
                        <a:pt x="92" y="44"/>
                        <a:pt x="92" y="44"/>
                      </a:cubicBezTo>
                      <a:cubicBezTo>
                        <a:pt x="97" y="43"/>
                        <a:pt x="93" y="40"/>
                        <a:pt x="93" y="39"/>
                      </a:cubicBezTo>
                      <a:cubicBezTo>
                        <a:pt x="94" y="36"/>
                        <a:pt x="97" y="37"/>
                        <a:pt x="97" y="35"/>
                      </a:cubicBezTo>
                      <a:cubicBezTo>
                        <a:pt x="102" y="33"/>
                        <a:pt x="99" y="31"/>
                        <a:pt x="99" y="31"/>
                      </a:cubicBezTo>
                      <a:cubicBezTo>
                        <a:pt x="97" y="28"/>
                        <a:pt x="100" y="25"/>
                        <a:pt x="100" y="25"/>
                      </a:cubicBezTo>
                      <a:cubicBezTo>
                        <a:pt x="101" y="23"/>
                        <a:pt x="105" y="25"/>
                        <a:pt x="105" y="22"/>
                      </a:cubicBezTo>
                      <a:cubicBezTo>
                        <a:pt x="107" y="17"/>
                        <a:pt x="106" y="14"/>
                        <a:pt x="106" y="14"/>
                      </a:cubicBezTo>
                      <a:cubicBezTo>
                        <a:pt x="105" y="9"/>
                        <a:pt x="107" y="6"/>
                        <a:pt x="107" y="6"/>
                      </a:cubicBezTo>
                      <a:cubicBezTo>
                        <a:pt x="107" y="4"/>
                        <a:pt x="112" y="1"/>
                        <a:pt x="112" y="1"/>
                      </a:cubicBezTo>
                      <a:cubicBezTo>
                        <a:pt x="114" y="5"/>
                        <a:pt x="116" y="0"/>
                        <a:pt x="116" y="0"/>
                      </a:cubicBezTo>
                      <a:cubicBezTo>
                        <a:pt x="117" y="3"/>
                        <a:pt x="119" y="1"/>
                        <a:pt x="119" y="1"/>
                      </a:cubicBezTo>
                      <a:cubicBezTo>
                        <a:pt x="119" y="5"/>
                        <a:pt x="122" y="1"/>
                        <a:pt x="122" y="1"/>
                      </a:cubicBezTo>
                      <a:cubicBezTo>
                        <a:pt x="125" y="2"/>
                        <a:pt x="131" y="2"/>
                        <a:pt x="131" y="2"/>
                      </a:cubicBezTo>
                      <a:cubicBezTo>
                        <a:pt x="132" y="0"/>
                        <a:pt x="135" y="3"/>
                        <a:pt x="135" y="3"/>
                      </a:cubicBezTo>
                      <a:cubicBezTo>
                        <a:pt x="135" y="6"/>
                        <a:pt x="137" y="5"/>
                        <a:pt x="137" y="5"/>
                      </a:cubicBezTo>
                      <a:cubicBezTo>
                        <a:pt x="137" y="6"/>
                        <a:pt x="137" y="6"/>
                        <a:pt x="137" y="6"/>
                      </a:cubicBezTo>
                      <a:cubicBezTo>
                        <a:pt x="136" y="7"/>
                        <a:pt x="140" y="10"/>
                        <a:pt x="140" y="10"/>
                      </a:cubicBezTo>
                      <a:cubicBezTo>
                        <a:pt x="143" y="9"/>
                        <a:pt x="142" y="14"/>
                        <a:pt x="139" y="13"/>
                      </a:cubicBezTo>
                      <a:cubicBezTo>
                        <a:pt x="137" y="13"/>
                        <a:pt x="137" y="11"/>
                        <a:pt x="137" y="11"/>
                      </a:cubicBezTo>
                      <a:cubicBezTo>
                        <a:pt x="136" y="14"/>
                        <a:pt x="130" y="13"/>
                        <a:pt x="130" y="13"/>
                      </a:cubicBezTo>
                      <a:cubicBezTo>
                        <a:pt x="128" y="14"/>
                        <a:pt x="133" y="13"/>
                        <a:pt x="132" y="16"/>
                      </a:cubicBezTo>
                      <a:cubicBezTo>
                        <a:pt x="135" y="16"/>
                        <a:pt x="135" y="18"/>
                        <a:pt x="135" y="18"/>
                      </a:cubicBezTo>
                      <a:lnTo>
                        <a:pt x="135" y="18"/>
                      </a:lnTo>
                      <a:lnTo>
                        <a:pt x="133" y="21"/>
                      </a:lnTo>
                      <a:lnTo>
                        <a:pt x="138" y="24"/>
                      </a:lnTo>
                      <a:lnTo>
                        <a:pt x="138" y="24"/>
                      </a:lnTo>
                      <a:cubicBezTo>
                        <a:pt x="140" y="25"/>
                        <a:pt x="141" y="28"/>
                        <a:pt x="141" y="28"/>
                      </a:cubicBezTo>
                      <a:cubicBezTo>
                        <a:pt x="141" y="31"/>
                        <a:pt x="144" y="32"/>
                        <a:pt x="144" y="32"/>
                      </a:cubicBezTo>
                      <a:cubicBezTo>
                        <a:pt x="148" y="36"/>
                        <a:pt x="145" y="37"/>
                        <a:pt x="145" y="37"/>
                      </a:cubicBezTo>
                      <a:cubicBezTo>
                        <a:pt x="140" y="40"/>
                        <a:pt x="142" y="42"/>
                        <a:pt x="142" y="42"/>
                      </a:cubicBezTo>
                      <a:cubicBezTo>
                        <a:pt x="145" y="46"/>
                        <a:pt x="152" y="50"/>
                        <a:pt x="152" y="50"/>
                      </a:cubicBezTo>
                      <a:lnTo>
                        <a:pt x="152" y="50"/>
                      </a:lnTo>
                      <a:lnTo>
                        <a:pt x="156" y="53"/>
                      </a:lnTo>
                      <a:lnTo>
                        <a:pt x="156" y="53"/>
                      </a:lnTo>
                      <a:cubicBezTo>
                        <a:pt x="157" y="57"/>
                        <a:pt x="160" y="56"/>
                        <a:pt x="160" y="56"/>
                      </a:cubicBezTo>
                      <a:cubicBezTo>
                        <a:pt x="161" y="60"/>
                        <a:pt x="157" y="60"/>
                        <a:pt x="157" y="60"/>
                      </a:cubicBezTo>
                      <a:cubicBezTo>
                        <a:pt x="150" y="61"/>
                        <a:pt x="146" y="60"/>
                        <a:pt x="146" y="60"/>
                      </a:cubicBezTo>
                      <a:lnTo>
                        <a:pt x="146" y="60"/>
                      </a:lnTo>
                      <a:lnTo>
                        <a:pt x="143" y="55"/>
                      </a:lnTo>
                      <a:lnTo>
                        <a:pt x="143" y="55"/>
                      </a:lnTo>
                      <a:cubicBezTo>
                        <a:pt x="146" y="61"/>
                        <a:pt x="144" y="61"/>
                        <a:pt x="144" y="61"/>
                      </a:cubicBezTo>
                      <a:cubicBezTo>
                        <a:pt x="141" y="60"/>
                        <a:pt x="140" y="63"/>
                        <a:pt x="140" y="63"/>
                      </a:cubicBezTo>
                      <a:cubicBezTo>
                        <a:pt x="140" y="66"/>
                        <a:pt x="137" y="70"/>
                        <a:pt x="137" y="70"/>
                      </a:cubicBezTo>
                      <a:lnTo>
                        <a:pt x="137" y="70"/>
                      </a:lnTo>
                      <a:lnTo>
                        <a:pt x="137" y="75"/>
                      </a:lnTo>
                      <a:lnTo>
                        <a:pt x="137" y="75"/>
                      </a:lnTo>
                      <a:cubicBezTo>
                        <a:pt x="134" y="80"/>
                        <a:pt x="137" y="80"/>
                        <a:pt x="137" y="80"/>
                      </a:cubicBezTo>
                      <a:cubicBezTo>
                        <a:pt x="140" y="82"/>
                        <a:pt x="136" y="84"/>
                        <a:pt x="137" y="87"/>
                      </a:cubicBezTo>
                      <a:cubicBezTo>
                        <a:pt x="135" y="85"/>
                        <a:pt x="134" y="88"/>
                        <a:pt x="134" y="88"/>
                      </a:cubicBezTo>
                      <a:cubicBezTo>
                        <a:pt x="133" y="88"/>
                        <a:pt x="130" y="93"/>
                        <a:pt x="130" y="93"/>
                      </a:cubicBezTo>
                      <a:cubicBezTo>
                        <a:pt x="128" y="96"/>
                        <a:pt x="126" y="96"/>
                        <a:pt x="126" y="96"/>
                      </a:cubicBezTo>
                      <a:cubicBezTo>
                        <a:pt x="126" y="93"/>
                        <a:pt x="124" y="92"/>
                        <a:pt x="124" y="92"/>
                      </a:cubicBezTo>
                      <a:cubicBezTo>
                        <a:pt x="127" y="98"/>
                        <a:pt x="123" y="98"/>
                        <a:pt x="123" y="98"/>
                      </a:cubicBezTo>
                      <a:cubicBezTo>
                        <a:pt x="120" y="100"/>
                        <a:pt x="121" y="101"/>
                        <a:pt x="121" y="101"/>
                      </a:cubicBezTo>
                      <a:cubicBezTo>
                        <a:pt x="122" y="103"/>
                        <a:pt x="119" y="103"/>
                        <a:pt x="119" y="103"/>
                      </a:cubicBezTo>
                      <a:cubicBezTo>
                        <a:pt x="116" y="104"/>
                        <a:pt x="118" y="105"/>
                        <a:pt x="118" y="105"/>
                      </a:cubicBezTo>
                      <a:cubicBezTo>
                        <a:pt x="121" y="103"/>
                        <a:pt x="120" y="109"/>
                        <a:pt x="120" y="109"/>
                      </a:cubicBezTo>
                      <a:lnTo>
                        <a:pt x="120" y="109"/>
                      </a:lnTo>
                      <a:lnTo>
                        <a:pt x="117" y="111"/>
                      </a:lnTo>
                      <a:lnTo>
                        <a:pt x="117" y="111"/>
                      </a:lnTo>
                      <a:cubicBezTo>
                        <a:pt x="121" y="109"/>
                        <a:pt x="122" y="112"/>
                        <a:pt x="122" y="112"/>
                      </a:cubicBezTo>
                      <a:lnTo>
                        <a:pt x="122" y="112"/>
                      </a:lnTo>
                      <a:lnTo>
                        <a:pt x="121" y="116"/>
                      </a:lnTo>
                      <a:lnTo>
                        <a:pt x="121" y="116"/>
                      </a:lnTo>
                      <a:lnTo>
                        <a:pt x="121" y="11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8" name="Freeform 442"/>
                <p:cNvSpPr>
                  <a:spLocks/>
                </p:cNvSpPr>
                <p:nvPr>
                  <p:custDataLst>
                    <p:tags r:id="rId424"/>
                  </p:custDataLst>
                </p:nvPr>
              </p:nvSpPr>
              <p:spPr bwMode="gray">
                <a:xfrm>
                  <a:off x="4238121" y="4398257"/>
                  <a:ext cx="1517452" cy="570822"/>
                </a:xfrm>
                <a:custGeom>
                  <a:avLst/>
                  <a:gdLst>
                    <a:gd name="T0" fmla="*/ 99 w 151"/>
                    <a:gd name="T1" fmla="*/ 15 h 51"/>
                    <a:gd name="T2" fmla="*/ 87 w 151"/>
                    <a:gd name="T3" fmla="*/ 13 h 51"/>
                    <a:gd name="T4" fmla="*/ 77 w 151"/>
                    <a:gd name="T5" fmla="*/ 19 h 51"/>
                    <a:gd name="T6" fmla="*/ 63 w 151"/>
                    <a:gd name="T7" fmla="*/ 18 h 51"/>
                    <a:gd name="T8" fmla="*/ 54 w 151"/>
                    <a:gd name="T9" fmla="*/ 14 h 51"/>
                    <a:gd name="T10" fmla="*/ 47 w 151"/>
                    <a:gd name="T11" fmla="*/ 9 h 51"/>
                    <a:gd name="T12" fmla="*/ 38 w 151"/>
                    <a:gd name="T13" fmla="*/ 6 h 51"/>
                    <a:gd name="T14" fmla="*/ 29 w 151"/>
                    <a:gd name="T15" fmla="*/ 2 h 51"/>
                    <a:gd name="T16" fmla="*/ 26 w 151"/>
                    <a:gd name="T17" fmla="*/ 5 h 51"/>
                    <a:gd name="T18" fmla="*/ 20 w 151"/>
                    <a:gd name="T19" fmla="*/ 4 h 51"/>
                    <a:gd name="T20" fmla="*/ 14 w 151"/>
                    <a:gd name="T21" fmla="*/ 2 h 51"/>
                    <a:gd name="T22" fmla="*/ 9 w 151"/>
                    <a:gd name="T23" fmla="*/ 12 h 51"/>
                    <a:gd name="T24" fmla="*/ 5 w 151"/>
                    <a:gd name="T25" fmla="*/ 16 h 51"/>
                    <a:gd name="T26" fmla="*/ 2 w 151"/>
                    <a:gd name="T27" fmla="*/ 17 h 51"/>
                    <a:gd name="T28" fmla="*/ 14 w 151"/>
                    <a:gd name="T29" fmla="*/ 18 h 51"/>
                    <a:gd name="T30" fmla="*/ 20 w 151"/>
                    <a:gd name="T31" fmla="*/ 23 h 51"/>
                    <a:gd name="T32" fmla="*/ 30 w 151"/>
                    <a:gd name="T33" fmla="*/ 28 h 51"/>
                    <a:gd name="T34" fmla="*/ 50 w 151"/>
                    <a:gd name="T35" fmla="*/ 34 h 51"/>
                    <a:gd name="T36" fmla="*/ 52 w 151"/>
                    <a:gd name="T37" fmla="*/ 34 h 51"/>
                    <a:gd name="T38" fmla="*/ 55 w 151"/>
                    <a:gd name="T39" fmla="*/ 32 h 51"/>
                    <a:gd name="T40" fmla="*/ 61 w 151"/>
                    <a:gd name="T41" fmla="*/ 33 h 51"/>
                    <a:gd name="T42" fmla="*/ 77 w 151"/>
                    <a:gd name="T43" fmla="*/ 35 h 51"/>
                    <a:gd name="T44" fmla="*/ 88 w 151"/>
                    <a:gd name="T45" fmla="*/ 41 h 51"/>
                    <a:gd name="T46" fmla="*/ 105 w 151"/>
                    <a:gd name="T47" fmla="*/ 42 h 51"/>
                    <a:gd name="T48" fmla="*/ 120 w 151"/>
                    <a:gd name="T49" fmla="*/ 44 h 51"/>
                    <a:gd name="T50" fmla="*/ 131 w 151"/>
                    <a:gd name="T51" fmla="*/ 44 h 51"/>
                    <a:gd name="T52" fmla="*/ 145 w 151"/>
                    <a:gd name="T53" fmla="*/ 48 h 51"/>
                    <a:gd name="T54" fmla="*/ 147 w 151"/>
                    <a:gd name="T55" fmla="*/ 48 h 51"/>
                    <a:gd name="T56" fmla="*/ 145 w 151"/>
                    <a:gd name="T57" fmla="*/ 33 h 51"/>
                    <a:gd name="T58" fmla="*/ 131 w 151"/>
                    <a:gd name="T59" fmla="*/ 32 h 51"/>
                    <a:gd name="T60" fmla="*/ 118 w 151"/>
                    <a:gd name="T61" fmla="*/ 22 h 51"/>
                    <a:gd name="T62" fmla="*/ 109 w 151"/>
                    <a:gd name="T63" fmla="*/ 19 h 51"/>
                    <a:gd name="T64" fmla="*/ 104 w 151"/>
                    <a:gd name="T65"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51">
                      <a:moveTo>
                        <a:pt x="104" y="16"/>
                      </a:moveTo>
                      <a:cubicBezTo>
                        <a:pt x="102" y="15"/>
                        <a:pt x="100" y="13"/>
                        <a:pt x="99" y="15"/>
                      </a:cubicBezTo>
                      <a:cubicBezTo>
                        <a:pt x="99" y="15"/>
                        <a:pt x="94" y="16"/>
                        <a:pt x="93" y="12"/>
                      </a:cubicBezTo>
                      <a:cubicBezTo>
                        <a:pt x="94" y="10"/>
                        <a:pt x="88" y="9"/>
                        <a:pt x="87" y="13"/>
                      </a:cubicBezTo>
                      <a:cubicBezTo>
                        <a:pt x="87" y="13"/>
                        <a:pt x="86" y="19"/>
                        <a:pt x="82" y="19"/>
                      </a:cubicBezTo>
                      <a:cubicBezTo>
                        <a:pt x="82" y="19"/>
                        <a:pt x="80" y="18"/>
                        <a:pt x="77" y="19"/>
                      </a:cubicBezTo>
                      <a:cubicBezTo>
                        <a:pt x="73" y="19"/>
                        <a:pt x="74" y="17"/>
                        <a:pt x="70" y="17"/>
                      </a:cubicBezTo>
                      <a:cubicBezTo>
                        <a:pt x="70" y="17"/>
                        <a:pt x="68" y="18"/>
                        <a:pt x="63" y="18"/>
                      </a:cubicBezTo>
                      <a:cubicBezTo>
                        <a:pt x="63" y="18"/>
                        <a:pt x="58" y="16"/>
                        <a:pt x="57" y="17"/>
                      </a:cubicBezTo>
                      <a:cubicBezTo>
                        <a:pt x="57" y="17"/>
                        <a:pt x="55" y="17"/>
                        <a:pt x="54" y="14"/>
                      </a:cubicBezTo>
                      <a:cubicBezTo>
                        <a:pt x="54" y="14"/>
                        <a:pt x="54" y="11"/>
                        <a:pt x="50" y="9"/>
                      </a:cubicBezTo>
                      <a:cubicBezTo>
                        <a:pt x="50" y="6"/>
                        <a:pt x="49" y="8"/>
                        <a:pt x="47" y="9"/>
                      </a:cubicBezTo>
                      <a:cubicBezTo>
                        <a:pt x="44" y="9"/>
                        <a:pt x="44" y="6"/>
                        <a:pt x="42" y="6"/>
                      </a:cubicBezTo>
                      <a:cubicBezTo>
                        <a:pt x="42" y="6"/>
                        <a:pt x="40" y="9"/>
                        <a:pt x="38" y="6"/>
                      </a:cubicBezTo>
                      <a:cubicBezTo>
                        <a:pt x="38" y="6"/>
                        <a:pt x="37" y="7"/>
                        <a:pt x="34" y="3"/>
                      </a:cubicBezTo>
                      <a:cubicBezTo>
                        <a:pt x="34" y="3"/>
                        <a:pt x="33" y="4"/>
                        <a:pt x="29" y="2"/>
                      </a:cubicBezTo>
                      <a:cubicBezTo>
                        <a:pt x="29" y="2"/>
                        <a:pt x="29" y="4"/>
                        <a:pt x="28" y="5"/>
                      </a:cubicBezTo>
                      <a:cubicBezTo>
                        <a:pt x="27" y="5"/>
                        <a:pt x="27" y="5"/>
                        <a:pt x="26" y="5"/>
                      </a:cubicBezTo>
                      <a:cubicBezTo>
                        <a:pt x="26" y="5"/>
                        <a:pt x="25" y="4"/>
                        <a:pt x="24" y="4"/>
                      </a:cubicBezTo>
                      <a:cubicBezTo>
                        <a:pt x="23" y="4"/>
                        <a:pt x="22" y="3"/>
                        <a:pt x="20" y="4"/>
                      </a:cubicBezTo>
                      <a:cubicBezTo>
                        <a:pt x="20" y="4"/>
                        <a:pt x="18" y="1"/>
                        <a:pt x="16" y="4"/>
                      </a:cubicBezTo>
                      <a:cubicBezTo>
                        <a:pt x="16" y="4"/>
                        <a:pt x="14" y="0"/>
                        <a:pt x="14" y="2"/>
                      </a:cubicBezTo>
                      <a:cubicBezTo>
                        <a:pt x="14" y="2"/>
                        <a:pt x="11" y="4"/>
                        <a:pt x="11" y="8"/>
                      </a:cubicBezTo>
                      <a:cubicBezTo>
                        <a:pt x="11" y="8"/>
                        <a:pt x="11" y="13"/>
                        <a:pt x="9" y="12"/>
                      </a:cubicBezTo>
                      <a:cubicBezTo>
                        <a:pt x="9" y="12"/>
                        <a:pt x="7" y="11"/>
                        <a:pt x="7" y="14"/>
                      </a:cubicBezTo>
                      <a:cubicBezTo>
                        <a:pt x="7" y="14"/>
                        <a:pt x="7" y="16"/>
                        <a:pt x="5" y="16"/>
                      </a:cubicBezTo>
                      <a:cubicBezTo>
                        <a:pt x="5" y="16"/>
                        <a:pt x="3" y="14"/>
                        <a:pt x="2" y="16"/>
                      </a:cubicBezTo>
                      <a:cubicBezTo>
                        <a:pt x="2" y="16"/>
                        <a:pt x="0" y="16"/>
                        <a:pt x="2" y="17"/>
                      </a:cubicBezTo>
                      <a:cubicBezTo>
                        <a:pt x="2" y="17"/>
                        <a:pt x="4" y="19"/>
                        <a:pt x="5" y="18"/>
                      </a:cubicBezTo>
                      <a:cubicBezTo>
                        <a:pt x="12" y="19"/>
                        <a:pt x="12" y="16"/>
                        <a:pt x="14" y="18"/>
                      </a:cubicBezTo>
                      <a:cubicBezTo>
                        <a:pt x="14" y="18"/>
                        <a:pt x="17" y="21"/>
                        <a:pt x="22" y="20"/>
                      </a:cubicBezTo>
                      <a:cubicBezTo>
                        <a:pt x="22" y="20"/>
                        <a:pt x="23" y="22"/>
                        <a:pt x="20" y="23"/>
                      </a:cubicBezTo>
                      <a:cubicBezTo>
                        <a:pt x="20" y="23"/>
                        <a:pt x="18" y="26"/>
                        <a:pt x="20" y="27"/>
                      </a:cubicBezTo>
                      <a:cubicBezTo>
                        <a:pt x="22" y="29"/>
                        <a:pt x="30" y="27"/>
                        <a:pt x="30" y="28"/>
                      </a:cubicBezTo>
                      <a:cubicBezTo>
                        <a:pt x="30" y="28"/>
                        <a:pt x="37" y="28"/>
                        <a:pt x="40" y="31"/>
                      </a:cubicBezTo>
                      <a:cubicBezTo>
                        <a:pt x="40" y="31"/>
                        <a:pt x="43" y="34"/>
                        <a:pt x="50" y="34"/>
                      </a:cubicBezTo>
                      <a:lnTo>
                        <a:pt x="50" y="34"/>
                      </a:lnTo>
                      <a:lnTo>
                        <a:pt x="52" y="34"/>
                      </a:lnTo>
                      <a:lnTo>
                        <a:pt x="55" y="32"/>
                      </a:lnTo>
                      <a:lnTo>
                        <a:pt x="55" y="32"/>
                      </a:lnTo>
                      <a:cubicBezTo>
                        <a:pt x="55" y="32"/>
                        <a:pt x="57" y="33"/>
                        <a:pt x="58" y="33"/>
                      </a:cubicBezTo>
                      <a:cubicBezTo>
                        <a:pt x="59" y="33"/>
                        <a:pt x="60" y="33"/>
                        <a:pt x="61" y="33"/>
                      </a:cubicBezTo>
                      <a:cubicBezTo>
                        <a:pt x="64" y="30"/>
                        <a:pt x="67" y="34"/>
                        <a:pt x="72" y="34"/>
                      </a:cubicBezTo>
                      <a:cubicBezTo>
                        <a:pt x="72" y="34"/>
                        <a:pt x="73" y="34"/>
                        <a:pt x="77" y="35"/>
                      </a:cubicBezTo>
                      <a:cubicBezTo>
                        <a:pt x="79" y="36"/>
                        <a:pt x="81" y="38"/>
                        <a:pt x="84" y="40"/>
                      </a:cubicBezTo>
                      <a:cubicBezTo>
                        <a:pt x="84" y="40"/>
                        <a:pt x="86" y="40"/>
                        <a:pt x="88" y="41"/>
                      </a:cubicBezTo>
                      <a:cubicBezTo>
                        <a:pt x="91" y="41"/>
                        <a:pt x="95" y="42"/>
                        <a:pt x="98" y="42"/>
                      </a:cubicBezTo>
                      <a:cubicBezTo>
                        <a:pt x="98" y="42"/>
                        <a:pt x="103" y="45"/>
                        <a:pt x="105" y="42"/>
                      </a:cubicBezTo>
                      <a:cubicBezTo>
                        <a:pt x="105" y="42"/>
                        <a:pt x="108" y="43"/>
                        <a:pt x="112" y="43"/>
                      </a:cubicBezTo>
                      <a:cubicBezTo>
                        <a:pt x="112" y="43"/>
                        <a:pt x="117" y="46"/>
                        <a:pt x="120" y="44"/>
                      </a:cubicBezTo>
                      <a:cubicBezTo>
                        <a:pt x="120" y="44"/>
                        <a:pt x="122" y="45"/>
                        <a:pt x="124" y="43"/>
                      </a:cubicBezTo>
                      <a:cubicBezTo>
                        <a:pt x="124" y="43"/>
                        <a:pt x="128" y="41"/>
                        <a:pt x="131" y="44"/>
                      </a:cubicBezTo>
                      <a:cubicBezTo>
                        <a:pt x="131" y="44"/>
                        <a:pt x="135" y="47"/>
                        <a:pt x="137" y="46"/>
                      </a:cubicBezTo>
                      <a:cubicBezTo>
                        <a:pt x="139" y="48"/>
                        <a:pt x="138" y="48"/>
                        <a:pt x="145" y="48"/>
                      </a:cubicBezTo>
                      <a:cubicBezTo>
                        <a:pt x="145" y="48"/>
                        <a:pt x="146" y="51"/>
                        <a:pt x="148" y="51"/>
                      </a:cubicBezTo>
                      <a:cubicBezTo>
                        <a:pt x="148" y="51"/>
                        <a:pt x="151" y="49"/>
                        <a:pt x="147" y="48"/>
                      </a:cubicBezTo>
                      <a:cubicBezTo>
                        <a:pt x="147" y="48"/>
                        <a:pt x="145" y="46"/>
                        <a:pt x="146" y="42"/>
                      </a:cubicBezTo>
                      <a:cubicBezTo>
                        <a:pt x="146" y="42"/>
                        <a:pt x="149" y="33"/>
                        <a:pt x="145" y="33"/>
                      </a:cubicBezTo>
                      <a:cubicBezTo>
                        <a:pt x="145" y="33"/>
                        <a:pt x="142" y="31"/>
                        <a:pt x="140" y="31"/>
                      </a:cubicBezTo>
                      <a:cubicBezTo>
                        <a:pt x="137" y="30"/>
                        <a:pt x="135" y="33"/>
                        <a:pt x="131" y="32"/>
                      </a:cubicBezTo>
                      <a:cubicBezTo>
                        <a:pt x="127" y="34"/>
                        <a:pt x="127" y="33"/>
                        <a:pt x="121" y="30"/>
                      </a:cubicBezTo>
                      <a:cubicBezTo>
                        <a:pt x="121" y="30"/>
                        <a:pt x="119" y="30"/>
                        <a:pt x="118" y="22"/>
                      </a:cubicBezTo>
                      <a:cubicBezTo>
                        <a:pt x="118" y="22"/>
                        <a:pt x="118" y="19"/>
                        <a:pt x="116" y="19"/>
                      </a:cubicBezTo>
                      <a:cubicBezTo>
                        <a:pt x="112" y="17"/>
                        <a:pt x="111" y="20"/>
                        <a:pt x="109" y="19"/>
                      </a:cubicBezTo>
                      <a:cubicBezTo>
                        <a:pt x="109" y="19"/>
                        <a:pt x="107" y="15"/>
                        <a:pt x="104" y="16"/>
                      </a:cubicBezTo>
                      <a:lnTo>
                        <a:pt x="104" y="16"/>
                      </a:lnTo>
                      <a:lnTo>
                        <a:pt x="104" y="1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09" name="Freeform 443"/>
                <p:cNvSpPr>
                  <a:spLocks/>
                </p:cNvSpPr>
                <p:nvPr>
                  <p:custDataLst>
                    <p:tags r:id="rId425"/>
                  </p:custDataLst>
                </p:nvPr>
              </p:nvSpPr>
              <p:spPr bwMode="gray">
                <a:xfrm>
                  <a:off x="6388785" y="2953117"/>
                  <a:ext cx="1035139" cy="1421551"/>
                </a:xfrm>
                <a:custGeom>
                  <a:avLst/>
                  <a:gdLst>
                    <a:gd name="T0" fmla="*/ 28 w 103"/>
                    <a:gd name="T1" fmla="*/ 23 h 127"/>
                    <a:gd name="T2" fmla="*/ 26 w 103"/>
                    <a:gd name="T3" fmla="*/ 46 h 127"/>
                    <a:gd name="T4" fmla="*/ 42 w 103"/>
                    <a:gd name="T5" fmla="*/ 48 h 127"/>
                    <a:gd name="T6" fmla="*/ 58 w 103"/>
                    <a:gd name="T7" fmla="*/ 44 h 127"/>
                    <a:gd name="T8" fmla="*/ 69 w 103"/>
                    <a:gd name="T9" fmla="*/ 41 h 127"/>
                    <a:gd name="T10" fmla="*/ 68 w 103"/>
                    <a:gd name="T11" fmla="*/ 46 h 127"/>
                    <a:gd name="T12" fmla="*/ 47 w 103"/>
                    <a:gd name="T13" fmla="*/ 62 h 127"/>
                    <a:gd name="T14" fmla="*/ 44 w 103"/>
                    <a:gd name="T15" fmla="*/ 67 h 127"/>
                    <a:gd name="T16" fmla="*/ 56 w 103"/>
                    <a:gd name="T17" fmla="*/ 82 h 127"/>
                    <a:gd name="T18" fmla="*/ 58 w 103"/>
                    <a:gd name="T19" fmla="*/ 84 h 127"/>
                    <a:gd name="T20" fmla="*/ 55 w 103"/>
                    <a:gd name="T21" fmla="*/ 91 h 127"/>
                    <a:gd name="T22" fmla="*/ 65 w 103"/>
                    <a:gd name="T23" fmla="*/ 99 h 127"/>
                    <a:gd name="T24" fmla="*/ 65 w 103"/>
                    <a:gd name="T25" fmla="*/ 103 h 127"/>
                    <a:gd name="T26" fmla="*/ 52 w 103"/>
                    <a:gd name="T27" fmla="*/ 109 h 127"/>
                    <a:gd name="T28" fmla="*/ 43 w 103"/>
                    <a:gd name="T29" fmla="*/ 109 h 127"/>
                    <a:gd name="T30" fmla="*/ 36 w 103"/>
                    <a:gd name="T31" fmla="*/ 93 h 127"/>
                    <a:gd name="T32" fmla="*/ 37 w 103"/>
                    <a:gd name="T33" fmla="*/ 79 h 127"/>
                    <a:gd name="T34" fmla="*/ 35 w 103"/>
                    <a:gd name="T35" fmla="*/ 79 h 127"/>
                    <a:gd name="T36" fmla="*/ 30 w 103"/>
                    <a:gd name="T37" fmla="*/ 75 h 127"/>
                    <a:gd name="T38" fmla="*/ 26 w 103"/>
                    <a:gd name="T39" fmla="*/ 86 h 127"/>
                    <a:gd name="T40" fmla="*/ 26 w 103"/>
                    <a:gd name="T41" fmla="*/ 102 h 127"/>
                    <a:gd name="T42" fmla="*/ 24 w 103"/>
                    <a:gd name="T43" fmla="*/ 117 h 127"/>
                    <a:gd name="T44" fmla="*/ 17 w 103"/>
                    <a:gd name="T45" fmla="*/ 127 h 127"/>
                    <a:gd name="T46" fmla="*/ 11 w 103"/>
                    <a:gd name="T47" fmla="*/ 118 h 127"/>
                    <a:gd name="T48" fmla="*/ 14 w 103"/>
                    <a:gd name="T49" fmla="*/ 101 h 127"/>
                    <a:gd name="T50" fmla="*/ 11 w 103"/>
                    <a:gd name="T51" fmla="*/ 92 h 127"/>
                    <a:gd name="T52" fmla="*/ 3 w 103"/>
                    <a:gd name="T53" fmla="*/ 91 h 127"/>
                    <a:gd name="T54" fmla="*/ 0 w 103"/>
                    <a:gd name="T55" fmla="*/ 79 h 127"/>
                    <a:gd name="T56" fmla="*/ 10 w 103"/>
                    <a:gd name="T57" fmla="*/ 64 h 127"/>
                    <a:gd name="T58" fmla="*/ 12 w 103"/>
                    <a:gd name="T59" fmla="*/ 47 h 127"/>
                    <a:gd name="T60" fmla="*/ 14 w 103"/>
                    <a:gd name="T61" fmla="*/ 33 h 127"/>
                    <a:gd name="T62" fmla="*/ 18 w 103"/>
                    <a:gd name="T63" fmla="*/ 24 h 127"/>
                    <a:gd name="T64" fmla="*/ 26 w 103"/>
                    <a:gd name="T65" fmla="*/ 17 h 127"/>
                    <a:gd name="T66" fmla="*/ 32 w 103"/>
                    <a:gd name="T67" fmla="*/ 10 h 127"/>
                    <a:gd name="T68" fmla="*/ 42 w 103"/>
                    <a:gd name="T69" fmla="*/ 11 h 127"/>
                    <a:gd name="T70" fmla="*/ 62 w 103"/>
                    <a:gd name="T71" fmla="*/ 15 h 127"/>
                    <a:gd name="T72" fmla="*/ 76 w 103"/>
                    <a:gd name="T73" fmla="*/ 16 h 127"/>
                    <a:gd name="T74" fmla="*/ 92 w 103"/>
                    <a:gd name="T75" fmla="*/ 12 h 127"/>
                    <a:gd name="T76" fmla="*/ 97 w 103"/>
                    <a:gd name="T77" fmla="*/ 4 h 127"/>
                    <a:gd name="T78" fmla="*/ 100 w 103"/>
                    <a:gd name="T79" fmla="*/ 10 h 127"/>
                    <a:gd name="T80" fmla="*/ 77 w 103"/>
                    <a:gd name="T81" fmla="*/ 26 h 127"/>
                    <a:gd name="T82" fmla="*/ 47 w 103"/>
                    <a:gd name="T83" fmla="*/ 23 h 127"/>
                    <a:gd name="T84" fmla="*/ 45 w 103"/>
                    <a:gd name="T85" fmla="*/ 2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3" h="127">
                      <a:moveTo>
                        <a:pt x="45" y="23"/>
                      </a:moveTo>
                      <a:cubicBezTo>
                        <a:pt x="40" y="23"/>
                        <a:pt x="36" y="24"/>
                        <a:pt x="36" y="24"/>
                      </a:cubicBezTo>
                      <a:cubicBezTo>
                        <a:pt x="31" y="22"/>
                        <a:pt x="28" y="23"/>
                        <a:pt x="28" y="23"/>
                      </a:cubicBezTo>
                      <a:cubicBezTo>
                        <a:pt x="22" y="24"/>
                        <a:pt x="21" y="31"/>
                        <a:pt x="21" y="31"/>
                      </a:cubicBezTo>
                      <a:cubicBezTo>
                        <a:pt x="20" y="32"/>
                        <a:pt x="21" y="39"/>
                        <a:pt x="21" y="39"/>
                      </a:cubicBezTo>
                      <a:cubicBezTo>
                        <a:pt x="21" y="47"/>
                        <a:pt x="26" y="46"/>
                        <a:pt x="26" y="46"/>
                      </a:cubicBezTo>
                      <a:cubicBezTo>
                        <a:pt x="29" y="48"/>
                        <a:pt x="30" y="54"/>
                        <a:pt x="30" y="54"/>
                      </a:cubicBezTo>
                      <a:cubicBezTo>
                        <a:pt x="30" y="55"/>
                        <a:pt x="37" y="55"/>
                        <a:pt x="37" y="55"/>
                      </a:cubicBezTo>
                      <a:cubicBezTo>
                        <a:pt x="39" y="50"/>
                        <a:pt x="42" y="48"/>
                        <a:pt x="42" y="48"/>
                      </a:cubicBezTo>
                      <a:cubicBezTo>
                        <a:pt x="45" y="43"/>
                        <a:pt x="47" y="47"/>
                        <a:pt x="47" y="47"/>
                      </a:cubicBezTo>
                      <a:cubicBezTo>
                        <a:pt x="54" y="48"/>
                        <a:pt x="53" y="44"/>
                        <a:pt x="53" y="44"/>
                      </a:cubicBezTo>
                      <a:cubicBezTo>
                        <a:pt x="55" y="42"/>
                        <a:pt x="58" y="44"/>
                        <a:pt x="58" y="44"/>
                      </a:cubicBezTo>
                      <a:cubicBezTo>
                        <a:pt x="60" y="47"/>
                        <a:pt x="62" y="44"/>
                        <a:pt x="66" y="44"/>
                      </a:cubicBezTo>
                      <a:cubicBezTo>
                        <a:pt x="66" y="42"/>
                        <a:pt x="63" y="42"/>
                        <a:pt x="63" y="42"/>
                      </a:cubicBezTo>
                      <a:cubicBezTo>
                        <a:pt x="63" y="39"/>
                        <a:pt x="65" y="43"/>
                        <a:pt x="69" y="41"/>
                      </a:cubicBezTo>
                      <a:cubicBezTo>
                        <a:pt x="72" y="40"/>
                        <a:pt x="74" y="44"/>
                        <a:pt x="74" y="44"/>
                      </a:cubicBezTo>
                      <a:cubicBezTo>
                        <a:pt x="73" y="52"/>
                        <a:pt x="70" y="48"/>
                        <a:pt x="70" y="48"/>
                      </a:cubicBezTo>
                      <a:cubicBezTo>
                        <a:pt x="69" y="44"/>
                        <a:pt x="68" y="46"/>
                        <a:pt x="68" y="46"/>
                      </a:cubicBezTo>
                      <a:cubicBezTo>
                        <a:pt x="63" y="45"/>
                        <a:pt x="62" y="49"/>
                        <a:pt x="62" y="49"/>
                      </a:cubicBezTo>
                      <a:cubicBezTo>
                        <a:pt x="59" y="56"/>
                        <a:pt x="53" y="59"/>
                        <a:pt x="53" y="59"/>
                      </a:cubicBezTo>
                      <a:cubicBezTo>
                        <a:pt x="47" y="59"/>
                        <a:pt x="47" y="62"/>
                        <a:pt x="47" y="62"/>
                      </a:cubicBezTo>
                      <a:cubicBezTo>
                        <a:pt x="46" y="65"/>
                        <a:pt x="43" y="62"/>
                        <a:pt x="43" y="62"/>
                      </a:cubicBezTo>
                      <a:cubicBezTo>
                        <a:pt x="40" y="59"/>
                        <a:pt x="41" y="63"/>
                        <a:pt x="41" y="63"/>
                      </a:cubicBezTo>
                      <a:cubicBezTo>
                        <a:pt x="43" y="64"/>
                        <a:pt x="44" y="67"/>
                        <a:pt x="44" y="67"/>
                      </a:cubicBezTo>
                      <a:cubicBezTo>
                        <a:pt x="50" y="69"/>
                        <a:pt x="51" y="74"/>
                        <a:pt x="51" y="74"/>
                      </a:cubicBezTo>
                      <a:cubicBezTo>
                        <a:pt x="51" y="77"/>
                        <a:pt x="53" y="78"/>
                        <a:pt x="53" y="78"/>
                      </a:cubicBezTo>
                      <a:cubicBezTo>
                        <a:pt x="57" y="80"/>
                        <a:pt x="56" y="82"/>
                        <a:pt x="56" y="82"/>
                      </a:cubicBezTo>
                      <a:lnTo>
                        <a:pt x="56" y="82"/>
                      </a:lnTo>
                      <a:lnTo>
                        <a:pt x="58" y="84"/>
                      </a:lnTo>
                      <a:lnTo>
                        <a:pt x="58" y="84"/>
                      </a:lnTo>
                      <a:cubicBezTo>
                        <a:pt x="58" y="85"/>
                        <a:pt x="58" y="85"/>
                        <a:pt x="57" y="86"/>
                      </a:cubicBezTo>
                      <a:cubicBezTo>
                        <a:pt x="57" y="86"/>
                        <a:pt x="56" y="87"/>
                        <a:pt x="56" y="87"/>
                      </a:cubicBezTo>
                      <a:cubicBezTo>
                        <a:pt x="57" y="93"/>
                        <a:pt x="55" y="91"/>
                        <a:pt x="55" y="91"/>
                      </a:cubicBezTo>
                      <a:cubicBezTo>
                        <a:pt x="55" y="94"/>
                        <a:pt x="59" y="94"/>
                        <a:pt x="59" y="96"/>
                      </a:cubicBezTo>
                      <a:cubicBezTo>
                        <a:pt x="63" y="96"/>
                        <a:pt x="62" y="100"/>
                        <a:pt x="62" y="100"/>
                      </a:cubicBezTo>
                      <a:cubicBezTo>
                        <a:pt x="63" y="102"/>
                        <a:pt x="65" y="99"/>
                        <a:pt x="65" y="99"/>
                      </a:cubicBezTo>
                      <a:lnTo>
                        <a:pt x="65" y="99"/>
                      </a:lnTo>
                      <a:lnTo>
                        <a:pt x="65" y="103"/>
                      </a:lnTo>
                      <a:lnTo>
                        <a:pt x="65" y="103"/>
                      </a:lnTo>
                      <a:cubicBezTo>
                        <a:pt x="66" y="105"/>
                        <a:pt x="63" y="106"/>
                        <a:pt x="63" y="106"/>
                      </a:cubicBezTo>
                      <a:cubicBezTo>
                        <a:pt x="60" y="105"/>
                        <a:pt x="59" y="106"/>
                        <a:pt x="59" y="106"/>
                      </a:cubicBezTo>
                      <a:cubicBezTo>
                        <a:pt x="53" y="106"/>
                        <a:pt x="52" y="109"/>
                        <a:pt x="52" y="109"/>
                      </a:cubicBezTo>
                      <a:cubicBezTo>
                        <a:pt x="51" y="111"/>
                        <a:pt x="53" y="111"/>
                        <a:pt x="53" y="111"/>
                      </a:cubicBezTo>
                      <a:cubicBezTo>
                        <a:pt x="52" y="113"/>
                        <a:pt x="48" y="113"/>
                        <a:pt x="48" y="113"/>
                      </a:cubicBezTo>
                      <a:cubicBezTo>
                        <a:pt x="44" y="112"/>
                        <a:pt x="43" y="109"/>
                        <a:pt x="43" y="109"/>
                      </a:cubicBezTo>
                      <a:cubicBezTo>
                        <a:pt x="43" y="101"/>
                        <a:pt x="45" y="103"/>
                        <a:pt x="45" y="103"/>
                      </a:cubicBezTo>
                      <a:cubicBezTo>
                        <a:pt x="46" y="97"/>
                        <a:pt x="42" y="99"/>
                        <a:pt x="42" y="99"/>
                      </a:cubicBezTo>
                      <a:cubicBezTo>
                        <a:pt x="40" y="97"/>
                        <a:pt x="36" y="93"/>
                        <a:pt x="36" y="93"/>
                      </a:cubicBezTo>
                      <a:cubicBezTo>
                        <a:pt x="35" y="92"/>
                        <a:pt x="34" y="91"/>
                        <a:pt x="34" y="90"/>
                      </a:cubicBezTo>
                      <a:cubicBezTo>
                        <a:pt x="34" y="88"/>
                        <a:pt x="35" y="87"/>
                        <a:pt x="35" y="87"/>
                      </a:cubicBezTo>
                      <a:cubicBezTo>
                        <a:pt x="37" y="85"/>
                        <a:pt x="37" y="79"/>
                        <a:pt x="37" y="79"/>
                      </a:cubicBezTo>
                      <a:lnTo>
                        <a:pt x="37" y="79"/>
                      </a:lnTo>
                      <a:lnTo>
                        <a:pt x="35" y="79"/>
                      </a:lnTo>
                      <a:lnTo>
                        <a:pt x="35" y="79"/>
                      </a:lnTo>
                      <a:cubicBezTo>
                        <a:pt x="38" y="77"/>
                        <a:pt x="35" y="76"/>
                        <a:pt x="35" y="76"/>
                      </a:cubicBezTo>
                      <a:lnTo>
                        <a:pt x="35" y="76"/>
                      </a:lnTo>
                      <a:lnTo>
                        <a:pt x="30" y="75"/>
                      </a:lnTo>
                      <a:lnTo>
                        <a:pt x="30" y="75"/>
                      </a:lnTo>
                      <a:cubicBezTo>
                        <a:pt x="30" y="77"/>
                        <a:pt x="23" y="81"/>
                        <a:pt x="23" y="81"/>
                      </a:cubicBezTo>
                      <a:cubicBezTo>
                        <a:pt x="23" y="84"/>
                        <a:pt x="26" y="86"/>
                        <a:pt x="26" y="86"/>
                      </a:cubicBezTo>
                      <a:cubicBezTo>
                        <a:pt x="26" y="92"/>
                        <a:pt x="27" y="94"/>
                        <a:pt x="27" y="94"/>
                      </a:cubicBezTo>
                      <a:cubicBezTo>
                        <a:pt x="25" y="96"/>
                        <a:pt x="26" y="102"/>
                        <a:pt x="26" y="102"/>
                      </a:cubicBezTo>
                      <a:lnTo>
                        <a:pt x="26" y="102"/>
                      </a:lnTo>
                      <a:lnTo>
                        <a:pt x="27" y="109"/>
                      </a:lnTo>
                      <a:lnTo>
                        <a:pt x="27" y="109"/>
                      </a:lnTo>
                      <a:cubicBezTo>
                        <a:pt x="27" y="109"/>
                        <a:pt x="24" y="113"/>
                        <a:pt x="24" y="117"/>
                      </a:cubicBezTo>
                      <a:cubicBezTo>
                        <a:pt x="24" y="120"/>
                        <a:pt x="26" y="119"/>
                        <a:pt x="27" y="126"/>
                      </a:cubicBezTo>
                      <a:cubicBezTo>
                        <a:pt x="24" y="123"/>
                        <a:pt x="22" y="126"/>
                        <a:pt x="22" y="126"/>
                      </a:cubicBezTo>
                      <a:cubicBezTo>
                        <a:pt x="18" y="124"/>
                        <a:pt x="17" y="127"/>
                        <a:pt x="17" y="127"/>
                      </a:cubicBezTo>
                      <a:cubicBezTo>
                        <a:pt x="14" y="127"/>
                        <a:pt x="10" y="123"/>
                        <a:pt x="10" y="123"/>
                      </a:cubicBezTo>
                      <a:lnTo>
                        <a:pt x="10" y="123"/>
                      </a:lnTo>
                      <a:lnTo>
                        <a:pt x="11" y="118"/>
                      </a:lnTo>
                      <a:lnTo>
                        <a:pt x="11" y="118"/>
                      </a:lnTo>
                      <a:cubicBezTo>
                        <a:pt x="12" y="116"/>
                        <a:pt x="12" y="111"/>
                        <a:pt x="12" y="111"/>
                      </a:cubicBezTo>
                      <a:cubicBezTo>
                        <a:pt x="15" y="107"/>
                        <a:pt x="14" y="101"/>
                        <a:pt x="14" y="101"/>
                      </a:cubicBezTo>
                      <a:lnTo>
                        <a:pt x="14" y="101"/>
                      </a:lnTo>
                      <a:lnTo>
                        <a:pt x="11" y="92"/>
                      </a:lnTo>
                      <a:lnTo>
                        <a:pt x="11" y="92"/>
                      </a:lnTo>
                      <a:cubicBezTo>
                        <a:pt x="14" y="88"/>
                        <a:pt x="8" y="90"/>
                        <a:pt x="8" y="90"/>
                      </a:cubicBezTo>
                      <a:lnTo>
                        <a:pt x="8" y="90"/>
                      </a:lnTo>
                      <a:lnTo>
                        <a:pt x="3" y="91"/>
                      </a:lnTo>
                      <a:lnTo>
                        <a:pt x="3" y="91"/>
                      </a:lnTo>
                      <a:cubicBezTo>
                        <a:pt x="1" y="90"/>
                        <a:pt x="2" y="86"/>
                        <a:pt x="0" y="83"/>
                      </a:cubicBezTo>
                      <a:cubicBezTo>
                        <a:pt x="2" y="83"/>
                        <a:pt x="2" y="78"/>
                        <a:pt x="0" y="79"/>
                      </a:cubicBezTo>
                      <a:cubicBezTo>
                        <a:pt x="0" y="74"/>
                        <a:pt x="3" y="75"/>
                        <a:pt x="3" y="75"/>
                      </a:cubicBezTo>
                      <a:cubicBezTo>
                        <a:pt x="7" y="72"/>
                        <a:pt x="6" y="69"/>
                        <a:pt x="6" y="69"/>
                      </a:cubicBezTo>
                      <a:cubicBezTo>
                        <a:pt x="7" y="64"/>
                        <a:pt x="10" y="64"/>
                        <a:pt x="10" y="64"/>
                      </a:cubicBezTo>
                      <a:cubicBezTo>
                        <a:pt x="9" y="60"/>
                        <a:pt x="9" y="53"/>
                        <a:pt x="9" y="53"/>
                      </a:cubicBezTo>
                      <a:cubicBezTo>
                        <a:pt x="9" y="53"/>
                        <a:pt x="9" y="53"/>
                        <a:pt x="9" y="52"/>
                      </a:cubicBezTo>
                      <a:cubicBezTo>
                        <a:pt x="9" y="50"/>
                        <a:pt x="11" y="50"/>
                        <a:pt x="12" y="47"/>
                      </a:cubicBezTo>
                      <a:cubicBezTo>
                        <a:pt x="15" y="41"/>
                        <a:pt x="17" y="43"/>
                        <a:pt x="17" y="43"/>
                      </a:cubicBezTo>
                      <a:cubicBezTo>
                        <a:pt x="15" y="39"/>
                        <a:pt x="17" y="36"/>
                        <a:pt x="17" y="36"/>
                      </a:cubicBezTo>
                      <a:cubicBezTo>
                        <a:pt x="17" y="32"/>
                        <a:pt x="14" y="34"/>
                        <a:pt x="14" y="33"/>
                      </a:cubicBezTo>
                      <a:cubicBezTo>
                        <a:pt x="14" y="29"/>
                        <a:pt x="17" y="32"/>
                        <a:pt x="17" y="32"/>
                      </a:cubicBezTo>
                      <a:cubicBezTo>
                        <a:pt x="20" y="30"/>
                        <a:pt x="16" y="28"/>
                        <a:pt x="16" y="28"/>
                      </a:cubicBezTo>
                      <a:cubicBezTo>
                        <a:pt x="16" y="26"/>
                        <a:pt x="18" y="28"/>
                        <a:pt x="18" y="24"/>
                      </a:cubicBezTo>
                      <a:cubicBezTo>
                        <a:pt x="21" y="22"/>
                        <a:pt x="20" y="20"/>
                        <a:pt x="20" y="20"/>
                      </a:cubicBezTo>
                      <a:cubicBezTo>
                        <a:pt x="20" y="18"/>
                        <a:pt x="23" y="18"/>
                        <a:pt x="23" y="18"/>
                      </a:cubicBezTo>
                      <a:cubicBezTo>
                        <a:pt x="23" y="12"/>
                        <a:pt x="26" y="14"/>
                        <a:pt x="26" y="17"/>
                      </a:cubicBezTo>
                      <a:cubicBezTo>
                        <a:pt x="30" y="19"/>
                        <a:pt x="30" y="16"/>
                        <a:pt x="30" y="16"/>
                      </a:cubicBezTo>
                      <a:cubicBezTo>
                        <a:pt x="29" y="14"/>
                        <a:pt x="32" y="14"/>
                        <a:pt x="32" y="14"/>
                      </a:cubicBezTo>
                      <a:cubicBezTo>
                        <a:pt x="33" y="14"/>
                        <a:pt x="32" y="10"/>
                        <a:pt x="32" y="10"/>
                      </a:cubicBezTo>
                      <a:cubicBezTo>
                        <a:pt x="33" y="7"/>
                        <a:pt x="38" y="9"/>
                        <a:pt x="38" y="9"/>
                      </a:cubicBezTo>
                      <a:cubicBezTo>
                        <a:pt x="38" y="10"/>
                        <a:pt x="40" y="10"/>
                        <a:pt x="42" y="10"/>
                      </a:cubicBezTo>
                      <a:cubicBezTo>
                        <a:pt x="42" y="11"/>
                        <a:pt x="42" y="11"/>
                        <a:pt x="42" y="11"/>
                      </a:cubicBezTo>
                      <a:cubicBezTo>
                        <a:pt x="43" y="13"/>
                        <a:pt x="46" y="13"/>
                        <a:pt x="46" y="13"/>
                      </a:cubicBezTo>
                      <a:cubicBezTo>
                        <a:pt x="50" y="12"/>
                        <a:pt x="51" y="14"/>
                        <a:pt x="54" y="14"/>
                      </a:cubicBezTo>
                      <a:cubicBezTo>
                        <a:pt x="55" y="15"/>
                        <a:pt x="62" y="15"/>
                        <a:pt x="62" y="15"/>
                      </a:cubicBezTo>
                      <a:cubicBezTo>
                        <a:pt x="65" y="17"/>
                        <a:pt x="67" y="15"/>
                        <a:pt x="67" y="15"/>
                      </a:cubicBezTo>
                      <a:cubicBezTo>
                        <a:pt x="69" y="14"/>
                        <a:pt x="72" y="16"/>
                        <a:pt x="72" y="16"/>
                      </a:cubicBezTo>
                      <a:cubicBezTo>
                        <a:pt x="73" y="14"/>
                        <a:pt x="76" y="16"/>
                        <a:pt x="76" y="16"/>
                      </a:cubicBezTo>
                      <a:cubicBezTo>
                        <a:pt x="79" y="16"/>
                        <a:pt x="81" y="17"/>
                        <a:pt x="81" y="17"/>
                      </a:cubicBezTo>
                      <a:cubicBezTo>
                        <a:pt x="82" y="15"/>
                        <a:pt x="87" y="14"/>
                        <a:pt x="87" y="14"/>
                      </a:cubicBezTo>
                      <a:cubicBezTo>
                        <a:pt x="88" y="10"/>
                        <a:pt x="92" y="12"/>
                        <a:pt x="92" y="12"/>
                      </a:cubicBezTo>
                      <a:cubicBezTo>
                        <a:pt x="94" y="11"/>
                        <a:pt x="91" y="10"/>
                        <a:pt x="91" y="10"/>
                      </a:cubicBezTo>
                      <a:cubicBezTo>
                        <a:pt x="90" y="8"/>
                        <a:pt x="94" y="8"/>
                        <a:pt x="94" y="8"/>
                      </a:cubicBezTo>
                      <a:cubicBezTo>
                        <a:pt x="95" y="5"/>
                        <a:pt x="97" y="4"/>
                        <a:pt x="97" y="4"/>
                      </a:cubicBezTo>
                      <a:cubicBezTo>
                        <a:pt x="99" y="0"/>
                        <a:pt x="101" y="1"/>
                        <a:pt x="101" y="1"/>
                      </a:cubicBezTo>
                      <a:cubicBezTo>
                        <a:pt x="100" y="5"/>
                        <a:pt x="103" y="7"/>
                        <a:pt x="103" y="7"/>
                      </a:cubicBezTo>
                      <a:cubicBezTo>
                        <a:pt x="100" y="7"/>
                        <a:pt x="100" y="10"/>
                        <a:pt x="100" y="10"/>
                      </a:cubicBezTo>
                      <a:cubicBezTo>
                        <a:pt x="98" y="14"/>
                        <a:pt x="95" y="17"/>
                        <a:pt x="95" y="17"/>
                      </a:cubicBezTo>
                      <a:cubicBezTo>
                        <a:pt x="92" y="20"/>
                        <a:pt x="91" y="23"/>
                        <a:pt x="91" y="23"/>
                      </a:cubicBezTo>
                      <a:cubicBezTo>
                        <a:pt x="84" y="27"/>
                        <a:pt x="77" y="26"/>
                        <a:pt x="77" y="26"/>
                      </a:cubicBezTo>
                      <a:cubicBezTo>
                        <a:pt x="71" y="28"/>
                        <a:pt x="68" y="23"/>
                        <a:pt x="68" y="23"/>
                      </a:cubicBezTo>
                      <a:cubicBezTo>
                        <a:pt x="64" y="25"/>
                        <a:pt x="59" y="22"/>
                        <a:pt x="59" y="22"/>
                      </a:cubicBezTo>
                      <a:cubicBezTo>
                        <a:pt x="50" y="25"/>
                        <a:pt x="48" y="25"/>
                        <a:pt x="47" y="23"/>
                      </a:cubicBezTo>
                      <a:cubicBezTo>
                        <a:pt x="46" y="23"/>
                        <a:pt x="46" y="23"/>
                        <a:pt x="45" y="23"/>
                      </a:cubicBezTo>
                      <a:lnTo>
                        <a:pt x="45" y="23"/>
                      </a:lnTo>
                      <a:lnTo>
                        <a:pt x="45" y="2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0" name="Freeform 444"/>
                <p:cNvSpPr>
                  <a:spLocks/>
                </p:cNvSpPr>
                <p:nvPr>
                  <p:custDataLst>
                    <p:tags r:id="rId426"/>
                  </p:custDataLst>
                </p:nvPr>
              </p:nvSpPr>
              <p:spPr bwMode="gray">
                <a:xfrm>
                  <a:off x="7161613" y="4870012"/>
                  <a:ext cx="573981" cy="391554"/>
                </a:xfrm>
                <a:custGeom>
                  <a:avLst/>
                  <a:gdLst>
                    <a:gd name="T0" fmla="*/ 19 w 57"/>
                    <a:gd name="T1" fmla="*/ 11 h 35"/>
                    <a:gd name="T2" fmla="*/ 20 w 57"/>
                    <a:gd name="T3" fmla="*/ 10 h 35"/>
                    <a:gd name="T4" fmla="*/ 23 w 57"/>
                    <a:gd name="T5" fmla="*/ 6 h 35"/>
                    <a:gd name="T6" fmla="*/ 27 w 57"/>
                    <a:gd name="T7" fmla="*/ 5 h 35"/>
                    <a:gd name="T8" fmla="*/ 32 w 57"/>
                    <a:gd name="T9" fmla="*/ 3 h 35"/>
                    <a:gd name="T10" fmla="*/ 34 w 57"/>
                    <a:gd name="T11" fmla="*/ 4 h 35"/>
                    <a:gd name="T12" fmla="*/ 40 w 57"/>
                    <a:gd name="T13" fmla="*/ 4 h 35"/>
                    <a:gd name="T14" fmla="*/ 44 w 57"/>
                    <a:gd name="T15" fmla="*/ 2 h 35"/>
                    <a:gd name="T16" fmla="*/ 47 w 57"/>
                    <a:gd name="T17" fmla="*/ 2 h 35"/>
                    <a:gd name="T18" fmla="*/ 52 w 57"/>
                    <a:gd name="T19" fmla="*/ 0 h 35"/>
                    <a:gd name="T20" fmla="*/ 54 w 57"/>
                    <a:gd name="T21" fmla="*/ 1 h 35"/>
                    <a:gd name="T22" fmla="*/ 56 w 57"/>
                    <a:gd name="T23" fmla="*/ 1 h 35"/>
                    <a:gd name="T24" fmla="*/ 57 w 57"/>
                    <a:gd name="T25" fmla="*/ 2 h 35"/>
                    <a:gd name="T26" fmla="*/ 55 w 57"/>
                    <a:gd name="T27" fmla="*/ 5 h 35"/>
                    <a:gd name="T28" fmla="*/ 51 w 57"/>
                    <a:gd name="T29" fmla="*/ 8 h 35"/>
                    <a:gd name="T30" fmla="*/ 47 w 57"/>
                    <a:gd name="T31" fmla="*/ 9 h 35"/>
                    <a:gd name="T32" fmla="*/ 45 w 57"/>
                    <a:gd name="T33" fmla="*/ 12 h 35"/>
                    <a:gd name="T34" fmla="*/ 40 w 57"/>
                    <a:gd name="T35" fmla="*/ 12 h 35"/>
                    <a:gd name="T36" fmla="*/ 34 w 57"/>
                    <a:gd name="T37" fmla="*/ 15 h 35"/>
                    <a:gd name="T38" fmla="*/ 28 w 57"/>
                    <a:gd name="T39" fmla="*/ 17 h 35"/>
                    <a:gd name="T40" fmla="*/ 25 w 57"/>
                    <a:gd name="T41" fmla="*/ 18 h 35"/>
                    <a:gd name="T42" fmla="*/ 21 w 57"/>
                    <a:gd name="T43" fmla="*/ 23 h 35"/>
                    <a:gd name="T44" fmla="*/ 20 w 57"/>
                    <a:gd name="T45" fmla="*/ 24 h 35"/>
                    <a:gd name="T46" fmla="*/ 15 w 57"/>
                    <a:gd name="T47" fmla="*/ 30 h 35"/>
                    <a:gd name="T48" fmla="*/ 13 w 57"/>
                    <a:gd name="T49" fmla="*/ 32 h 35"/>
                    <a:gd name="T50" fmla="*/ 11 w 57"/>
                    <a:gd name="T51" fmla="*/ 32 h 35"/>
                    <a:gd name="T52" fmla="*/ 7 w 57"/>
                    <a:gd name="T53" fmla="*/ 33 h 35"/>
                    <a:gd name="T54" fmla="*/ 5 w 57"/>
                    <a:gd name="T55" fmla="*/ 34 h 35"/>
                    <a:gd name="T56" fmla="*/ 3 w 57"/>
                    <a:gd name="T57" fmla="*/ 34 h 35"/>
                    <a:gd name="T58" fmla="*/ 1 w 57"/>
                    <a:gd name="T59" fmla="*/ 34 h 35"/>
                    <a:gd name="T60" fmla="*/ 2 w 57"/>
                    <a:gd name="T61" fmla="*/ 32 h 35"/>
                    <a:gd name="T62" fmla="*/ 1 w 57"/>
                    <a:gd name="T63" fmla="*/ 30 h 35"/>
                    <a:gd name="T64" fmla="*/ 0 w 57"/>
                    <a:gd name="T65" fmla="*/ 29 h 35"/>
                    <a:gd name="T66" fmla="*/ 1 w 57"/>
                    <a:gd name="T67" fmla="*/ 23 h 35"/>
                    <a:gd name="T68" fmla="*/ 4 w 57"/>
                    <a:gd name="T69" fmla="*/ 20 h 35"/>
                    <a:gd name="T70" fmla="*/ 12 w 57"/>
                    <a:gd name="T71" fmla="*/ 15 h 35"/>
                    <a:gd name="T72" fmla="*/ 19 w 57"/>
                    <a:gd name="T73" fmla="*/ 11 h 35"/>
                    <a:gd name="T74" fmla="*/ 19 w 57"/>
                    <a:gd name="T75" fmla="*/ 11 h 35"/>
                    <a:gd name="T76" fmla="*/ 19 w 57"/>
                    <a:gd name="T77" fmla="*/ 1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35">
                      <a:moveTo>
                        <a:pt x="19" y="11"/>
                      </a:moveTo>
                      <a:cubicBezTo>
                        <a:pt x="20" y="11"/>
                        <a:pt x="20" y="11"/>
                        <a:pt x="20" y="10"/>
                      </a:cubicBezTo>
                      <a:cubicBezTo>
                        <a:pt x="22" y="9"/>
                        <a:pt x="22" y="8"/>
                        <a:pt x="23" y="6"/>
                      </a:cubicBezTo>
                      <a:cubicBezTo>
                        <a:pt x="24" y="4"/>
                        <a:pt x="27" y="5"/>
                        <a:pt x="27" y="5"/>
                      </a:cubicBezTo>
                      <a:cubicBezTo>
                        <a:pt x="27" y="4"/>
                        <a:pt x="32" y="3"/>
                        <a:pt x="32" y="3"/>
                      </a:cubicBezTo>
                      <a:cubicBezTo>
                        <a:pt x="34" y="3"/>
                        <a:pt x="33" y="4"/>
                        <a:pt x="34" y="4"/>
                      </a:cubicBezTo>
                      <a:cubicBezTo>
                        <a:pt x="36" y="4"/>
                        <a:pt x="38" y="3"/>
                        <a:pt x="40" y="4"/>
                      </a:cubicBezTo>
                      <a:cubicBezTo>
                        <a:pt x="40" y="4"/>
                        <a:pt x="43" y="1"/>
                        <a:pt x="44" y="2"/>
                      </a:cubicBezTo>
                      <a:cubicBezTo>
                        <a:pt x="46" y="4"/>
                        <a:pt x="47" y="2"/>
                        <a:pt x="47" y="2"/>
                      </a:cubicBezTo>
                      <a:cubicBezTo>
                        <a:pt x="47" y="1"/>
                        <a:pt x="50" y="0"/>
                        <a:pt x="52" y="0"/>
                      </a:cubicBezTo>
                      <a:cubicBezTo>
                        <a:pt x="53" y="0"/>
                        <a:pt x="54" y="1"/>
                        <a:pt x="54" y="1"/>
                      </a:cubicBezTo>
                      <a:cubicBezTo>
                        <a:pt x="55" y="1"/>
                        <a:pt x="55" y="1"/>
                        <a:pt x="56" y="1"/>
                      </a:cubicBezTo>
                      <a:cubicBezTo>
                        <a:pt x="56" y="1"/>
                        <a:pt x="57" y="2"/>
                        <a:pt x="57" y="2"/>
                      </a:cubicBezTo>
                      <a:cubicBezTo>
                        <a:pt x="57" y="3"/>
                        <a:pt x="55" y="4"/>
                        <a:pt x="55" y="5"/>
                      </a:cubicBezTo>
                      <a:cubicBezTo>
                        <a:pt x="53" y="5"/>
                        <a:pt x="53" y="7"/>
                        <a:pt x="51" y="8"/>
                      </a:cubicBezTo>
                      <a:cubicBezTo>
                        <a:pt x="50" y="9"/>
                        <a:pt x="48" y="7"/>
                        <a:pt x="47" y="9"/>
                      </a:cubicBezTo>
                      <a:cubicBezTo>
                        <a:pt x="46" y="10"/>
                        <a:pt x="45" y="11"/>
                        <a:pt x="45" y="12"/>
                      </a:cubicBezTo>
                      <a:cubicBezTo>
                        <a:pt x="43" y="12"/>
                        <a:pt x="42" y="11"/>
                        <a:pt x="40" y="12"/>
                      </a:cubicBezTo>
                      <a:cubicBezTo>
                        <a:pt x="38" y="13"/>
                        <a:pt x="37" y="15"/>
                        <a:pt x="34" y="15"/>
                      </a:cubicBezTo>
                      <a:cubicBezTo>
                        <a:pt x="32" y="16"/>
                        <a:pt x="30" y="16"/>
                        <a:pt x="28" y="17"/>
                      </a:cubicBezTo>
                      <a:cubicBezTo>
                        <a:pt x="26" y="17"/>
                        <a:pt x="25" y="18"/>
                        <a:pt x="25" y="18"/>
                      </a:cubicBezTo>
                      <a:cubicBezTo>
                        <a:pt x="24" y="19"/>
                        <a:pt x="23" y="21"/>
                        <a:pt x="21" y="23"/>
                      </a:cubicBezTo>
                      <a:cubicBezTo>
                        <a:pt x="21" y="23"/>
                        <a:pt x="21" y="24"/>
                        <a:pt x="20" y="24"/>
                      </a:cubicBezTo>
                      <a:cubicBezTo>
                        <a:pt x="18" y="26"/>
                        <a:pt x="16" y="28"/>
                        <a:pt x="15" y="30"/>
                      </a:cubicBezTo>
                      <a:cubicBezTo>
                        <a:pt x="15" y="30"/>
                        <a:pt x="14" y="32"/>
                        <a:pt x="13" y="32"/>
                      </a:cubicBezTo>
                      <a:cubicBezTo>
                        <a:pt x="12" y="32"/>
                        <a:pt x="12" y="32"/>
                        <a:pt x="11" y="32"/>
                      </a:cubicBezTo>
                      <a:cubicBezTo>
                        <a:pt x="10" y="32"/>
                        <a:pt x="7" y="31"/>
                        <a:pt x="7" y="33"/>
                      </a:cubicBezTo>
                      <a:cubicBezTo>
                        <a:pt x="7" y="34"/>
                        <a:pt x="5" y="34"/>
                        <a:pt x="5" y="34"/>
                      </a:cubicBezTo>
                      <a:cubicBezTo>
                        <a:pt x="4" y="35"/>
                        <a:pt x="4" y="34"/>
                        <a:pt x="3" y="34"/>
                      </a:cubicBezTo>
                      <a:cubicBezTo>
                        <a:pt x="2" y="34"/>
                        <a:pt x="1" y="35"/>
                        <a:pt x="1" y="34"/>
                      </a:cubicBezTo>
                      <a:cubicBezTo>
                        <a:pt x="1" y="33"/>
                        <a:pt x="1" y="32"/>
                        <a:pt x="2" y="32"/>
                      </a:cubicBezTo>
                      <a:cubicBezTo>
                        <a:pt x="1" y="31"/>
                        <a:pt x="1" y="30"/>
                        <a:pt x="1" y="30"/>
                      </a:cubicBezTo>
                      <a:cubicBezTo>
                        <a:pt x="0" y="30"/>
                        <a:pt x="0" y="29"/>
                        <a:pt x="0" y="29"/>
                      </a:cubicBezTo>
                      <a:cubicBezTo>
                        <a:pt x="1" y="27"/>
                        <a:pt x="1" y="25"/>
                        <a:pt x="1" y="23"/>
                      </a:cubicBezTo>
                      <a:cubicBezTo>
                        <a:pt x="1" y="22"/>
                        <a:pt x="3" y="20"/>
                        <a:pt x="4" y="20"/>
                      </a:cubicBezTo>
                      <a:cubicBezTo>
                        <a:pt x="5" y="18"/>
                        <a:pt x="10" y="15"/>
                        <a:pt x="12" y="15"/>
                      </a:cubicBezTo>
                      <a:cubicBezTo>
                        <a:pt x="14" y="15"/>
                        <a:pt x="17" y="13"/>
                        <a:pt x="19" y="11"/>
                      </a:cubicBezTo>
                      <a:lnTo>
                        <a:pt x="19" y="11"/>
                      </a:lnTo>
                      <a:lnTo>
                        <a:pt x="19"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1" name="Freeform 445"/>
                <p:cNvSpPr>
                  <a:spLocks/>
                </p:cNvSpPr>
                <p:nvPr>
                  <p:custDataLst>
                    <p:tags r:id="rId427"/>
                  </p:custDataLst>
                </p:nvPr>
              </p:nvSpPr>
              <p:spPr bwMode="gray">
                <a:xfrm>
                  <a:off x="3181827" y="3278629"/>
                  <a:ext cx="50769" cy="9435"/>
                </a:xfrm>
                <a:custGeom>
                  <a:avLst/>
                  <a:gdLst>
                    <a:gd name="T0" fmla="*/ 0 w 5"/>
                    <a:gd name="T1" fmla="*/ 0 h 1"/>
                    <a:gd name="T2" fmla="*/ 5 w 5"/>
                    <a:gd name="T3" fmla="*/ 0 h 1"/>
                    <a:gd name="T4" fmla="*/ 5 w 5"/>
                    <a:gd name="T5" fmla="*/ 1 h 1"/>
                    <a:gd name="T6" fmla="*/ 0 w 5"/>
                    <a:gd name="T7" fmla="*/ 1 h 1"/>
                    <a:gd name="T8" fmla="*/ 0 w 5"/>
                    <a:gd name="T9" fmla="*/ 0 h 1"/>
                    <a:gd name="T10" fmla="*/ 0 w 5"/>
                    <a:gd name="T11" fmla="*/ 0 h 1"/>
                  </a:gdLst>
                  <a:ahLst/>
                  <a:cxnLst>
                    <a:cxn ang="0">
                      <a:pos x="T0" y="T1"/>
                    </a:cxn>
                    <a:cxn ang="0">
                      <a:pos x="T2" y="T3"/>
                    </a:cxn>
                    <a:cxn ang="0">
                      <a:pos x="T4" y="T5"/>
                    </a:cxn>
                    <a:cxn ang="0">
                      <a:pos x="T6" y="T7"/>
                    </a:cxn>
                    <a:cxn ang="0">
                      <a:pos x="T8" y="T9"/>
                    </a:cxn>
                    <a:cxn ang="0">
                      <a:pos x="T10" y="T11"/>
                    </a:cxn>
                  </a:cxnLst>
                  <a:rect l="0" t="0" r="r" b="b"/>
                  <a:pathLst>
                    <a:path w="5" h="1">
                      <a:moveTo>
                        <a:pt x="0" y="0"/>
                      </a:moveTo>
                      <a:lnTo>
                        <a:pt x="5" y="0"/>
                      </a:lnTo>
                      <a:lnTo>
                        <a:pt x="5"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2" name="Freeform 446"/>
                <p:cNvSpPr>
                  <a:spLocks/>
                </p:cNvSpPr>
                <p:nvPr>
                  <p:custDataLst>
                    <p:tags r:id="rId428"/>
                  </p:custDataLst>
                </p:nvPr>
              </p:nvSpPr>
              <p:spPr bwMode="gray">
                <a:xfrm>
                  <a:off x="3150801" y="3355681"/>
                  <a:ext cx="31026" cy="56611"/>
                </a:xfrm>
                <a:custGeom>
                  <a:avLst/>
                  <a:gdLst>
                    <a:gd name="T0" fmla="*/ 2 w 3"/>
                    <a:gd name="T1" fmla="*/ 0 h 5"/>
                    <a:gd name="T2" fmla="*/ 0 w 3"/>
                    <a:gd name="T3" fmla="*/ 4 h 5"/>
                    <a:gd name="T4" fmla="*/ 1 w 3"/>
                    <a:gd name="T5" fmla="*/ 5 h 5"/>
                    <a:gd name="T6" fmla="*/ 3 w 3"/>
                    <a:gd name="T7" fmla="*/ 3 h 5"/>
                    <a:gd name="T8" fmla="*/ 2 w 3"/>
                    <a:gd name="T9" fmla="*/ 0 h 5"/>
                    <a:gd name="T10" fmla="*/ 2 w 3"/>
                    <a:gd name="T11" fmla="*/ 0 h 5"/>
                    <a:gd name="T12" fmla="*/ 2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2" y="0"/>
                      </a:moveTo>
                      <a:cubicBezTo>
                        <a:pt x="2" y="2"/>
                        <a:pt x="0" y="3"/>
                        <a:pt x="0" y="4"/>
                      </a:cubicBezTo>
                      <a:cubicBezTo>
                        <a:pt x="0" y="5"/>
                        <a:pt x="1" y="5"/>
                        <a:pt x="1" y="5"/>
                      </a:cubicBezTo>
                      <a:cubicBezTo>
                        <a:pt x="3" y="5"/>
                        <a:pt x="3" y="4"/>
                        <a:pt x="3" y="3"/>
                      </a:cubicBezTo>
                      <a:cubicBezTo>
                        <a:pt x="3" y="2"/>
                        <a:pt x="3"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3" name="Freeform 447"/>
                <p:cNvSpPr>
                  <a:spLocks/>
                </p:cNvSpPr>
                <p:nvPr>
                  <p:custDataLst>
                    <p:tags r:id="rId429"/>
                  </p:custDataLst>
                </p:nvPr>
              </p:nvSpPr>
              <p:spPr bwMode="gray">
                <a:xfrm>
                  <a:off x="3150800" y="3299070"/>
                  <a:ext cx="40898" cy="80199"/>
                </a:xfrm>
                <a:custGeom>
                  <a:avLst/>
                  <a:gdLst>
                    <a:gd name="T0" fmla="*/ 0 w 4"/>
                    <a:gd name="T1" fmla="*/ 0 h 7"/>
                    <a:gd name="T2" fmla="*/ 4 w 4"/>
                    <a:gd name="T3" fmla="*/ 7 h 7"/>
                    <a:gd name="T4" fmla="*/ 4 w 4"/>
                    <a:gd name="T5" fmla="*/ 6 h 7"/>
                    <a:gd name="T6" fmla="*/ 0 w 4"/>
                    <a:gd name="T7" fmla="*/ 0 h 7"/>
                    <a:gd name="T8" fmla="*/ 0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cubicBezTo>
                        <a:pt x="0" y="2"/>
                        <a:pt x="3" y="6"/>
                        <a:pt x="4" y="7"/>
                      </a:cubicBezTo>
                      <a:cubicBezTo>
                        <a:pt x="4" y="6"/>
                        <a:pt x="4" y="6"/>
                        <a:pt x="4" y="6"/>
                      </a:cubicBezTo>
                      <a:cubicBezTo>
                        <a:pt x="4" y="3"/>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4" name="Freeform 448"/>
                <p:cNvSpPr>
                  <a:spLocks/>
                </p:cNvSpPr>
                <p:nvPr>
                  <p:custDataLst>
                    <p:tags r:id="rId430"/>
                  </p:custDataLst>
                </p:nvPr>
              </p:nvSpPr>
              <p:spPr bwMode="gray">
                <a:xfrm>
                  <a:off x="2960415" y="3020736"/>
                  <a:ext cx="129745" cy="179266"/>
                </a:xfrm>
                <a:custGeom>
                  <a:avLst/>
                  <a:gdLst>
                    <a:gd name="T0" fmla="*/ 1 w 13"/>
                    <a:gd name="T1" fmla="*/ 2 h 16"/>
                    <a:gd name="T2" fmla="*/ 5 w 13"/>
                    <a:gd name="T3" fmla="*/ 0 h 16"/>
                    <a:gd name="T4" fmla="*/ 6 w 13"/>
                    <a:gd name="T5" fmla="*/ 1 h 16"/>
                    <a:gd name="T6" fmla="*/ 10 w 13"/>
                    <a:gd name="T7" fmla="*/ 6 h 16"/>
                    <a:gd name="T8" fmla="*/ 13 w 13"/>
                    <a:gd name="T9" fmla="*/ 9 h 16"/>
                    <a:gd name="T10" fmla="*/ 12 w 13"/>
                    <a:gd name="T11" fmla="*/ 10 h 16"/>
                    <a:gd name="T12" fmla="*/ 11 w 13"/>
                    <a:gd name="T13" fmla="*/ 16 h 16"/>
                    <a:gd name="T14" fmla="*/ 8 w 13"/>
                    <a:gd name="T15" fmla="*/ 11 h 16"/>
                    <a:gd name="T16" fmla="*/ 5 w 13"/>
                    <a:gd name="T17" fmla="*/ 8 h 16"/>
                    <a:gd name="T18" fmla="*/ 4 w 13"/>
                    <a:gd name="T19" fmla="*/ 7 h 16"/>
                    <a:gd name="T20" fmla="*/ 4 w 13"/>
                    <a:gd name="T21" fmla="*/ 6 h 16"/>
                    <a:gd name="T22" fmla="*/ 3 w 13"/>
                    <a:gd name="T23" fmla="*/ 5 h 16"/>
                    <a:gd name="T24" fmla="*/ 0 w 13"/>
                    <a:gd name="T25" fmla="*/ 2 h 16"/>
                    <a:gd name="T26" fmla="*/ 1 w 13"/>
                    <a:gd name="T27" fmla="*/ 2 h 16"/>
                    <a:gd name="T28" fmla="*/ 1 w 13"/>
                    <a:gd name="T29" fmla="*/ 2 h 16"/>
                    <a:gd name="T30" fmla="*/ 1 w 13"/>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6">
                      <a:moveTo>
                        <a:pt x="1" y="2"/>
                      </a:moveTo>
                      <a:cubicBezTo>
                        <a:pt x="3" y="2"/>
                        <a:pt x="3" y="0"/>
                        <a:pt x="5" y="0"/>
                      </a:cubicBezTo>
                      <a:cubicBezTo>
                        <a:pt x="5" y="0"/>
                        <a:pt x="6" y="1"/>
                        <a:pt x="6" y="1"/>
                      </a:cubicBezTo>
                      <a:cubicBezTo>
                        <a:pt x="8" y="3"/>
                        <a:pt x="9" y="4"/>
                        <a:pt x="10" y="6"/>
                      </a:cubicBezTo>
                      <a:cubicBezTo>
                        <a:pt x="11" y="7"/>
                        <a:pt x="13" y="7"/>
                        <a:pt x="13" y="9"/>
                      </a:cubicBezTo>
                      <a:cubicBezTo>
                        <a:pt x="13" y="10"/>
                        <a:pt x="12" y="10"/>
                        <a:pt x="12" y="10"/>
                      </a:cubicBezTo>
                      <a:cubicBezTo>
                        <a:pt x="12" y="13"/>
                        <a:pt x="13" y="16"/>
                        <a:pt x="11" y="16"/>
                      </a:cubicBezTo>
                      <a:cubicBezTo>
                        <a:pt x="10" y="16"/>
                        <a:pt x="8" y="12"/>
                        <a:pt x="8" y="11"/>
                      </a:cubicBezTo>
                      <a:cubicBezTo>
                        <a:pt x="7" y="10"/>
                        <a:pt x="5" y="10"/>
                        <a:pt x="5" y="8"/>
                      </a:cubicBezTo>
                      <a:cubicBezTo>
                        <a:pt x="5" y="8"/>
                        <a:pt x="5" y="8"/>
                        <a:pt x="4" y="7"/>
                      </a:cubicBezTo>
                      <a:cubicBezTo>
                        <a:pt x="4" y="7"/>
                        <a:pt x="4" y="7"/>
                        <a:pt x="4" y="6"/>
                      </a:cubicBezTo>
                      <a:cubicBezTo>
                        <a:pt x="3" y="6"/>
                        <a:pt x="3" y="6"/>
                        <a:pt x="3" y="5"/>
                      </a:cubicBezTo>
                      <a:cubicBezTo>
                        <a:pt x="3" y="5"/>
                        <a:pt x="0" y="2"/>
                        <a:pt x="0" y="2"/>
                      </a:cubicBezTo>
                      <a:cubicBezTo>
                        <a:pt x="0"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5" name="Freeform 449"/>
                <p:cNvSpPr>
                  <a:spLocks/>
                </p:cNvSpPr>
                <p:nvPr>
                  <p:custDataLst>
                    <p:tags r:id="rId431"/>
                  </p:custDataLst>
                </p:nvPr>
              </p:nvSpPr>
              <p:spPr bwMode="gray">
                <a:xfrm>
                  <a:off x="6477631" y="4881018"/>
                  <a:ext cx="40897" cy="66046"/>
                </a:xfrm>
                <a:custGeom>
                  <a:avLst/>
                  <a:gdLst>
                    <a:gd name="T0" fmla="*/ 2 w 4"/>
                    <a:gd name="T1" fmla="*/ 0 h 6"/>
                    <a:gd name="T2" fmla="*/ 0 w 4"/>
                    <a:gd name="T3" fmla="*/ 3 h 6"/>
                    <a:gd name="T4" fmla="*/ 1 w 4"/>
                    <a:gd name="T5" fmla="*/ 6 h 6"/>
                    <a:gd name="T6" fmla="*/ 4 w 4"/>
                    <a:gd name="T7" fmla="*/ 2 h 6"/>
                    <a:gd name="T8" fmla="*/ 2 w 4"/>
                    <a:gd name="T9" fmla="*/ 0 h 6"/>
                    <a:gd name="T10" fmla="*/ 2 w 4"/>
                    <a:gd name="T11" fmla="*/ 0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cubicBezTo>
                        <a:pt x="1" y="1"/>
                        <a:pt x="1" y="2"/>
                        <a:pt x="0" y="3"/>
                      </a:cubicBezTo>
                      <a:cubicBezTo>
                        <a:pt x="1" y="4"/>
                        <a:pt x="1" y="5"/>
                        <a:pt x="1" y="6"/>
                      </a:cubicBezTo>
                      <a:cubicBezTo>
                        <a:pt x="2" y="5"/>
                        <a:pt x="4" y="4"/>
                        <a:pt x="4" y="2"/>
                      </a:cubicBezTo>
                      <a:cubicBezTo>
                        <a:pt x="4" y="2"/>
                        <a:pt x="2"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6" name="Freeform 450"/>
                <p:cNvSpPr>
                  <a:spLocks/>
                </p:cNvSpPr>
                <p:nvPr>
                  <p:custDataLst>
                    <p:tags r:id="rId432"/>
                  </p:custDataLst>
                </p:nvPr>
              </p:nvSpPr>
              <p:spPr bwMode="gray">
                <a:xfrm>
                  <a:off x="7202511" y="4374670"/>
                  <a:ext cx="9871" cy="12580"/>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7" name="Freeform 451"/>
                <p:cNvSpPr>
                  <a:spLocks/>
                </p:cNvSpPr>
                <p:nvPr>
                  <p:custDataLst>
                    <p:tags r:id="rId433"/>
                  </p:custDataLst>
                </p:nvPr>
              </p:nvSpPr>
              <p:spPr bwMode="gray">
                <a:xfrm>
                  <a:off x="7212382" y="4409265"/>
                  <a:ext cx="19744" cy="22015"/>
                </a:xfrm>
                <a:custGeom>
                  <a:avLst/>
                  <a:gdLst>
                    <a:gd name="T0" fmla="*/ 1 w 2"/>
                    <a:gd name="T1" fmla="*/ 0 h 2"/>
                    <a:gd name="T2" fmla="*/ 2 w 2"/>
                    <a:gd name="T3" fmla="*/ 2 h 2"/>
                    <a:gd name="T4" fmla="*/ 0 w 2"/>
                    <a:gd name="T5" fmla="*/ 1 h 2"/>
                    <a:gd name="T6" fmla="*/ 0 w 2"/>
                    <a:gd name="T7" fmla="*/ 1 h 2"/>
                    <a:gd name="T8" fmla="*/ 1 w 2"/>
                    <a:gd name="T9" fmla="*/ 0 h 2"/>
                    <a:gd name="T10" fmla="*/ 1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1" y="0"/>
                      </a:moveTo>
                      <a:cubicBezTo>
                        <a:pt x="1" y="1"/>
                        <a:pt x="2" y="1"/>
                        <a:pt x="2" y="2"/>
                      </a:cubicBezTo>
                      <a:cubicBezTo>
                        <a:pt x="1" y="2"/>
                        <a:pt x="0" y="1"/>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8" name="Freeform 452"/>
                <p:cNvSpPr>
                  <a:spLocks/>
                </p:cNvSpPr>
                <p:nvPr>
                  <p:custDataLst>
                    <p:tags r:id="rId434"/>
                  </p:custDataLst>
                </p:nvPr>
              </p:nvSpPr>
              <p:spPr bwMode="gray">
                <a:xfrm>
                  <a:off x="7171485" y="4332212"/>
                  <a:ext cx="2115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1"/>
                        <a:pt x="1" y="1"/>
                        <a:pt x="0" y="0"/>
                      </a:cubicBezTo>
                      <a:cubicBezTo>
                        <a:pt x="0" y="1"/>
                        <a:pt x="1" y="2"/>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19" name="Freeform 453"/>
                <p:cNvSpPr>
                  <a:spLocks/>
                </p:cNvSpPr>
                <p:nvPr>
                  <p:custDataLst>
                    <p:tags r:id="rId435"/>
                  </p:custDataLst>
                </p:nvPr>
              </p:nvSpPr>
              <p:spPr bwMode="gray">
                <a:xfrm>
                  <a:off x="7141869" y="4286609"/>
                  <a:ext cx="19744" cy="33023"/>
                </a:xfrm>
                <a:custGeom>
                  <a:avLst/>
                  <a:gdLst>
                    <a:gd name="T0" fmla="*/ 0 w 2"/>
                    <a:gd name="T1" fmla="*/ 0 h 3"/>
                    <a:gd name="T2" fmla="*/ 0 w 2"/>
                    <a:gd name="T3" fmla="*/ 2 h 3"/>
                    <a:gd name="T4" fmla="*/ 2 w 2"/>
                    <a:gd name="T5" fmla="*/ 3 h 3"/>
                    <a:gd name="T6" fmla="*/ 0 w 2"/>
                    <a:gd name="T7" fmla="*/ 0 h 3"/>
                    <a:gd name="T8" fmla="*/ 0 w 2"/>
                    <a:gd name="T9" fmla="*/ 0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1"/>
                        <a:pt x="0" y="2"/>
                        <a:pt x="0" y="2"/>
                      </a:cubicBezTo>
                      <a:cubicBezTo>
                        <a:pt x="0" y="2"/>
                        <a:pt x="1" y="3"/>
                        <a:pt x="2" y="3"/>
                      </a:cubicBezTo>
                      <a:cubicBezTo>
                        <a:pt x="2"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0" name="Freeform 454"/>
                <p:cNvSpPr>
                  <a:spLocks/>
                </p:cNvSpPr>
                <p:nvPr>
                  <p:custDataLst>
                    <p:tags r:id="rId436"/>
                  </p:custDataLst>
                </p:nvPr>
              </p:nvSpPr>
              <p:spPr bwMode="gray">
                <a:xfrm>
                  <a:off x="7061484" y="4050731"/>
                  <a:ext cx="40897" cy="56611"/>
                </a:xfrm>
                <a:custGeom>
                  <a:avLst/>
                  <a:gdLst>
                    <a:gd name="T0" fmla="*/ 0 w 4"/>
                    <a:gd name="T1" fmla="*/ 1 h 5"/>
                    <a:gd name="T2" fmla="*/ 2 w 4"/>
                    <a:gd name="T3" fmla="*/ 5 h 5"/>
                    <a:gd name="T4" fmla="*/ 4 w 4"/>
                    <a:gd name="T5" fmla="*/ 2 h 5"/>
                    <a:gd name="T6" fmla="*/ 1 w 4"/>
                    <a:gd name="T7" fmla="*/ 0 h 5"/>
                    <a:gd name="T8" fmla="*/ 1 w 4"/>
                    <a:gd name="T9" fmla="*/ 0 h 5"/>
                    <a:gd name="T10" fmla="*/ 0 w 4"/>
                    <a:gd name="T11" fmla="*/ 1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3"/>
                        <a:pt x="0" y="5"/>
                        <a:pt x="2" y="5"/>
                      </a:cubicBezTo>
                      <a:cubicBezTo>
                        <a:pt x="4" y="5"/>
                        <a:pt x="4" y="4"/>
                        <a:pt x="4" y="2"/>
                      </a:cubicBezTo>
                      <a:cubicBezTo>
                        <a:pt x="4" y="0"/>
                        <a:pt x="1" y="0"/>
                        <a:pt x="1" y="0"/>
                      </a:cubicBez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1" name="Freeform 455"/>
                <p:cNvSpPr>
                  <a:spLocks/>
                </p:cNvSpPr>
                <p:nvPr>
                  <p:custDataLst>
                    <p:tags r:id="rId437"/>
                  </p:custDataLst>
                </p:nvPr>
              </p:nvSpPr>
              <p:spPr bwMode="gray">
                <a:xfrm>
                  <a:off x="7071355" y="3973678"/>
                  <a:ext cx="11282" cy="11008"/>
                </a:xfrm>
                <a:custGeom>
                  <a:avLst/>
                  <a:gdLst>
                    <a:gd name="T0" fmla="*/ 0 w 1"/>
                    <a:gd name="T1" fmla="*/ 0 h 1"/>
                    <a:gd name="T2" fmla="*/ 0 w 1"/>
                    <a:gd name="T3" fmla="*/ 1 h 1"/>
                    <a:gd name="T4" fmla="*/ 0 w 1"/>
                    <a:gd name="T5" fmla="*/ 1 h 1"/>
                    <a:gd name="T6" fmla="*/ 0 w 1"/>
                    <a:gd name="T7" fmla="*/ 1 h 1"/>
                    <a:gd name="T8" fmla="*/ 1 w 1"/>
                    <a:gd name="T9" fmla="*/ 0 h 1"/>
                    <a:gd name="T10" fmla="*/ 0 w 1"/>
                    <a:gd name="T11" fmla="*/ 0 h 1"/>
                    <a:gd name="T12" fmla="*/ 0 w 1"/>
                    <a:gd name="T13" fmla="*/ 0 h 1"/>
                    <a:gd name="T14" fmla="*/ 0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0"/>
                      </a:moveTo>
                      <a:lnTo>
                        <a:pt x="0" y="1"/>
                      </a:lnTo>
                      <a:lnTo>
                        <a:pt x="0" y="1"/>
                      </a:lnTo>
                      <a:cubicBezTo>
                        <a:pt x="0" y="1"/>
                        <a:pt x="0" y="1"/>
                        <a:pt x="0" y="1"/>
                      </a:cubicBezTo>
                      <a:cubicBezTo>
                        <a:pt x="1" y="1"/>
                        <a:pt x="1" y="1"/>
                        <a:pt x="1" y="0"/>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2" name="Freeform 456"/>
                <p:cNvSpPr>
                  <a:spLocks/>
                </p:cNvSpPr>
                <p:nvPr>
                  <p:custDataLst>
                    <p:tags r:id="rId438"/>
                  </p:custDataLst>
                </p:nvPr>
              </p:nvSpPr>
              <p:spPr bwMode="gray">
                <a:xfrm>
                  <a:off x="7071355" y="3973678"/>
                  <a:ext cx="11282" cy="11008"/>
                </a:xfrm>
                <a:custGeom>
                  <a:avLst/>
                  <a:gdLst>
                    <a:gd name="T0" fmla="*/ 8 w 8"/>
                    <a:gd name="T1" fmla="*/ 7 h 7"/>
                    <a:gd name="T2" fmla="*/ 0 w 8"/>
                    <a:gd name="T3" fmla="*/ 0 h 7"/>
                    <a:gd name="T4" fmla="*/ 0 w 8"/>
                    <a:gd name="T5" fmla="*/ 0 h 7"/>
                    <a:gd name="T6" fmla="*/ 0 w 8"/>
                    <a:gd name="T7" fmla="*/ 0 h 7"/>
                    <a:gd name="T8" fmla="*/ 0 w 8"/>
                    <a:gd name="T9" fmla="*/ 0 h 7"/>
                    <a:gd name="T10" fmla="*/ 0 w 8"/>
                    <a:gd name="T11" fmla="*/ 0 h 7"/>
                    <a:gd name="T12" fmla="*/ 8 w 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8" y="7"/>
                      </a:moveTo>
                      <a:lnTo>
                        <a:pt x="0" y="0"/>
                      </a:lnTo>
                      <a:lnTo>
                        <a:pt x="0" y="0"/>
                      </a:lnTo>
                      <a:lnTo>
                        <a:pt x="0" y="0"/>
                      </a:lnTo>
                      <a:lnTo>
                        <a:pt x="0" y="0"/>
                      </a:lnTo>
                      <a:lnTo>
                        <a:pt x="0" y="0"/>
                      </a:lnTo>
                      <a:lnTo>
                        <a:pt x="8"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3" name="Freeform 457"/>
                <p:cNvSpPr>
                  <a:spLocks/>
                </p:cNvSpPr>
                <p:nvPr>
                  <p:custDataLst>
                    <p:tags r:id="rId439"/>
                  </p:custDataLst>
                </p:nvPr>
              </p:nvSpPr>
              <p:spPr bwMode="gray">
                <a:xfrm>
                  <a:off x="7071355" y="3973678"/>
                  <a:ext cx="11282" cy="11008"/>
                </a:xfrm>
                <a:custGeom>
                  <a:avLst/>
                  <a:gdLst>
                    <a:gd name="T0" fmla="*/ 8 w 8"/>
                    <a:gd name="T1" fmla="*/ 7 h 7"/>
                    <a:gd name="T2" fmla="*/ 0 w 8"/>
                    <a:gd name="T3" fmla="*/ 0 h 7"/>
                    <a:gd name="T4" fmla="*/ 0 w 8"/>
                    <a:gd name="T5" fmla="*/ 0 h 7"/>
                    <a:gd name="T6" fmla="*/ 0 w 8"/>
                    <a:gd name="T7" fmla="*/ 0 h 7"/>
                    <a:gd name="T8" fmla="*/ 0 w 8"/>
                    <a:gd name="T9" fmla="*/ 0 h 7"/>
                    <a:gd name="T10" fmla="*/ 0 w 8"/>
                    <a:gd name="T11" fmla="*/ 0 h 7"/>
                    <a:gd name="T12" fmla="*/ 8 w 8"/>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8" y="7"/>
                      </a:moveTo>
                      <a:lnTo>
                        <a:pt x="0" y="0"/>
                      </a:lnTo>
                      <a:lnTo>
                        <a:pt x="0" y="0"/>
                      </a:lnTo>
                      <a:lnTo>
                        <a:pt x="0" y="0"/>
                      </a:lnTo>
                      <a:lnTo>
                        <a:pt x="0" y="0"/>
                      </a:lnTo>
                      <a:lnTo>
                        <a:pt x="0" y="0"/>
                      </a:lnTo>
                      <a:lnTo>
                        <a:pt x="8"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4" name="Freeform 458"/>
                <p:cNvSpPr>
                  <a:spLocks/>
                </p:cNvSpPr>
                <p:nvPr>
                  <p:custDataLst>
                    <p:tags r:id="rId440"/>
                  </p:custDataLst>
                </p:nvPr>
              </p:nvSpPr>
              <p:spPr bwMode="gray">
                <a:xfrm>
                  <a:off x="6871096" y="4252013"/>
                  <a:ext cx="39488" cy="80199"/>
                </a:xfrm>
                <a:custGeom>
                  <a:avLst/>
                  <a:gdLst>
                    <a:gd name="T0" fmla="*/ 2 w 4"/>
                    <a:gd name="T1" fmla="*/ 0 h 7"/>
                    <a:gd name="T2" fmla="*/ 0 w 4"/>
                    <a:gd name="T3" fmla="*/ 3 h 7"/>
                    <a:gd name="T4" fmla="*/ 4 w 4"/>
                    <a:gd name="T5" fmla="*/ 7 h 7"/>
                    <a:gd name="T6" fmla="*/ 4 w 4"/>
                    <a:gd name="T7" fmla="*/ 7 h 7"/>
                    <a:gd name="T8" fmla="*/ 4 w 4"/>
                    <a:gd name="T9" fmla="*/ 4 h 7"/>
                    <a:gd name="T10" fmla="*/ 4 w 4"/>
                    <a:gd name="T11" fmla="*/ 4 h 7"/>
                    <a:gd name="T12" fmla="*/ 2 w 4"/>
                    <a:gd name="T13" fmla="*/ 0 h 7"/>
                    <a:gd name="T14" fmla="*/ 2 w 4"/>
                    <a:gd name="T15" fmla="*/ 0 h 7"/>
                    <a:gd name="T16" fmla="*/ 2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2" y="0"/>
                      </a:moveTo>
                      <a:cubicBezTo>
                        <a:pt x="1" y="1"/>
                        <a:pt x="0" y="2"/>
                        <a:pt x="0" y="3"/>
                      </a:cubicBezTo>
                      <a:cubicBezTo>
                        <a:pt x="0" y="5"/>
                        <a:pt x="2" y="7"/>
                        <a:pt x="4" y="7"/>
                      </a:cubicBezTo>
                      <a:lnTo>
                        <a:pt x="4" y="7"/>
                      </a:lnTo>
                      <a:lnTo>
                        <a:pt x="4" y="4"/>
                      </a:lnTo>
                      <a:lnTo>
                        <a:pt x="4" y="4"/>
                      </a:lnTo>
                      <a:cubicBezTo>
                        <a:pt x="4" y="2"/>
                        <a:pt x="3" y="0"/>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5" name="Freeform 459"/>
                <p:cNvSpPr>
                  <a:spLocks/>
                </p:cNvSpPr>
                <p:nvPr>
                  <p:custDataLst>
                    <p:tags r:id="rId441"/>
                  </p:custDataLst>
                </p:nvPr>
              </p:nvSpPr>
              <p:spPr bwMode="gray">
                <a:xfrm>
                  <a:off x="6941610" y="4163953"/>
                  <a:ext cx="90258" cy="155679"/>
                </a:xfrm>
                <a:custGeom>
                  <a:avLst/>
                  <a:gdLst>
                    <a:gd name="T0" fmla="*/ 7 w 9"/>
                    <a:gd name="T1" fmla="*/ 0 h 14"/>
                    <a:gd name="T2" fmla="*/ 9 w 9"/>
                    <a:gd name="T3" fmla="*/ 6 h 14"/>
                    <a:gd name="T4" fmla="*/ 6 w 9"/>
                    <a:gd name="T5" fmla="*/ 14 h 14"/>
                    <a:gd name="T6" fmla="*/ 4 w 9"/>
                    <a:gd name="T7" fmla="*/ 13 h 14"/>
                    <a:gd name="T8" fmla="*/ 3 w 9"/>
                    <a:gd name="T9" fmla="*/ 13 h 14"/>
                    <a:gd name="T10" fmla="*/ 2 w 9"/>
                    <a:gd name="T11" fmla="*/ 13 h 14"/>
                    <a:gd name="T12" fmla="*/ 1 w 9"/>
                    <a:gd name="T13" fmla="*/ 14 h 14"/>
                    <a:gd name="T14" fmla="*/ 0 w 9"/>
                    <a:gd name="T15" fmla="*/ 13 h 14"/>
                    <a:gd name="T16" fmla="*/ 2 w 9"/>
                    <a:gd name="T17" fmla="*/ 8 h 14"/>
                    <a:gd name="T18" fmla="*/ 2 w 9"/>
                    <a:gd name="T19" fmla="*/ 4 h 14"/>
                    <a:gd name="T20" fmla="*/ 4 w 9"/>
                    <a:gd name="T21" fmla="*/ 3 h 14"/>
                    <a:gd name="T22" fmla="*/ 7 w 9"/>
                    <a:gd name="T23" fmla="*/ 0 h 14"/>
                    <a:gd name="T24" fmla="*/ 7 w 9"/>
                    <a:gd name="T25" fmla="*/ 0 h 14"/>
                    <a:gd name="T26" fmla="*/ 7 w 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4">
                      <a:moveTo>
                        <a:pt x="7" y="0"/>
                      </a:moveTo>
                      <a:cubicBezTo>
                        <a:pt x="8" y="2"/>
                        <a:pt x="9" y="4"/>
                        <a:pt x="9" y="6"/>
                      </a:cubicBezTo>
                      <a:cubicBezTo>
                        <a:pt x="9" y="10"/>
                        <a:pt x="6" y="11"/>
                        <a:pt x="6" y="14"/>
                      </a:cubicBezTo>
                      <a:cubicBezTo>
                        <a:pt x="5" y="14"/>
                        <a:pt x="4" y="13"/>
                        <a:pt x="4" y="13"/>
                      </a:cubicBezTo>
                      <a:cubicBezTo>
                        <a:pt x="3" y="13"/>
                        <a:pt x="3" y="13"/>
                        <a:pt x="3" y="13"/>
                      </a:cubicBezTo>
                      <a:cubicBezTo>
                        <a:pt x="3" y="13"/>
                        <a:pt x="2" y="13"/>
                        <a:pt x="2" y="13"/>
                      </a:cubicBezTo>
                      <a:cubicBezTo>
                        <a:pt x="2" y="13"/>
                        <a:pt x="1" y="14"/>
                        <a:pt x="1" y="14"/>
                      </a:cubicBezTo>
                      <a:cubicBezTo>
                        <a:pt x="0" y="14"/>
                        <a:pt x="0" y="13"/>
                        <a:pt x="0" y="13"/>
                      </a:cubicBezTo>
                      <a:cubicBezTo>
                        <a:pt x="0" y="11"/>
                        <a:pt x="2" y="9"/>
                        <a:pt x="2" y="8"/>
                      </a:cubicBezTo>
                      <a:cubicBezTo>
                        <a:pt x="2" y="6"/>
                        <a:pt x="1" y="5"/>
                        <a:pt x="2" y="4"/>
                      </a:cubicBezTo>
                      <a:cubicBezTo>
                        <a:pt x="2" y="3"/>
                        <a:pt x="3" y="3"/>
                        <a:pt x="4" y="3"/>
                      </a:cubicBezTo>
                      <a:cubicBezTo>
                        <a:pt x="6" y="2"/>
                        <a:pt x="6" y="1"/>
                        <a:pt x="7" y="0"/>
                      </a:cubicBezTo>
                      <a:lnTo>
                        <a:pt x="7" y="0"/>
                      </a:lnTo>
                      <a:lnTo>
                        <a:pt x="7"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6" name="Freeform 460"/>
                <p:cNvSpPr>
                  <a:spLocks/>
                </p:cNvSpPr>
                <p:nvPr>
                  <p:custDataLst>
                    <p:tags r:id="rId442"/>
                  </p:custDataLst>
                </p:nvPr>
              </p:nvSpPr>
              <p:spPr bwMode="gray">
                <a:xfrm>
                  <a:off x="7000842" y="4129357"/>
                  <a:ext cx="101540" cy="268900"/>
                </a:xfrm>
                <a:custGeom>
                  <a:avLst/>
                  <a:gdLst>
                    <a:gd name="T0" fmla="*/ 1 w 10"/>
                    <a:gd name="T1" fmla="*/ 22 h 24"/>
                    <a:gd name="T2" fmla="*/ 0 w 10"/>
                    <a:gd name="T3" fmla="*/ 20 h 24"/>
                    <a:gd name="T4" fmla="*/ 3 w 10"/>
                    <a:gd name="T5" fmla="*/ 10 h 24"/>
                    <a:gd name="T6" fmla="*/ 6 w 10"/>
                    <a:gd name="T7" fmla="*/ 0 h 24"/>
                    <a:gd name="T8" fmla="*/ 9 w 10"/>
                    <a:gd name="T9" fmla="*/ 1 h 24"/>
                    <a:gd name="T10" fmla="*/ 9 w 10"/>
                    <a:gd name="T11" fmla="*/ 4 h 24"/>
                    <a:gd name="T12" fmla="*/ 6 w 10"/>
                    <a:gd name="T13" fmla="*/ 9 h 24"/>
                    <a:gd name="T14" fmla="*/ 10 w 10"/>
                    <a:gd name="T15" fmla="*/ 14 h 24"/>
                    <a:gd name="T16" fmla="*/ 7 w 10"/>
                    <a:gd name="T17" fmla="*/ 17 h 24"/>
                    <a:gd name="T18" fmla="*/ 6 w 10"/>
                    <a:gd name="T19" fmla="*/ 17 h 24"/>
                    <a:gd name="T20" fmla="*/ 1 w 10"/>
                    <a:gd name="T21" fmla="*/ 22 h 24"/>
                    <a:gd name="T22" fmla="*/ 1 w 10"/>
                    <a:gd name="T23" fmla="*/ 22 h 24"/>
                    <a:gd name="T24" fmla="*/ 1 w 10"/>
                    <a:gd name="T25"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4">
                      <a:moveTo>
                        <a:pt x="1" y="22"/>
                      </a:moveTo>
                      <a:cubicBezTo>
                        <a:pt x="0" y="22"/>
                        <a:pt x="0" y="21"/>
                        <a:pt x="0" y="20"/>
                      </a:cubicBezTo>
                      <a:cubicBezTo>
                        <a:pt x="0" y="15"/>
                        <a:pt x="3" y="15"/>
                        <a:pt x="3" y="10"/>
                      </a:cubicBezTo>
                      <a:cubicBezTo>
                        <a:pt x="3" y="8"/>
                        <a:pt x="5" y="0"/>
                        <a:pt x="6" y="0"/>
                      </a:cubicBezTo>
                      <a:cubicBezTo>
                        <a:pt x="8" y="0"/>
                        <a:pt x="9" y="1"/>
                        <a:pt x="9" y="1"/>
                      </a:cubicBezTo>
                      <a:cubicBezTo>
                        <a:pt x="9" y="3"/>
                        <a:pt x="9" y="3"/>
                        <a:pt x="9" y="4"/>
                      </a:cubicBezTo>
                      <a:cubicBezTo>
                        <a:pt x="9" y="7"/>
                        <a:pt x="6" y="6"/>
                        <a:pt x="6" y="9"/>
                      </a:cubicBezTo>
                      <a:cubicBezTo>
                        <a:pt x="6" y="11"/>
                        <a:pt x="10" y="12"/>
                        <a:pt x="10" y="14"/>
                      </a:cubicBezTo>
                      <a:cubicBezTo>
                        <a:pt x="10" y="16"/>
                        <a:pt x="8" y="17"/>
                        <a:pt x="7" y="17"/>
                      </a:cubicBezTo>
                      <a:cubicBezTo>
                        <a:pt x="7" y="17"/>
                        <a:pt x="6" y="17"/>
                        <a:pt x="6" y="17"/>
                      </a:cubicBezTo>
                      <a:cubicBezTo>
                        <a:pt x="4" y="18"/>
                        <a:pt x="5" y="24"/>
                        <a:pt x="1" y="22"/>
                      </a:cubicBezTo>
                      <a:lnTo>
                        <a:pt x="1" y="22"/>
                      </a:lnTo>
                      <a:lnTo>
                        <a:pt x="1" y="2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7" name="Freeform 461"/>
                <p:cNvSpPr>
                  <a:spLocks/>
                </p:cNvSpPr>
                <p:nvPr>
                  <p:custDataLst>
                    <p:tags r:id="rId443"/>
                  </p:custDataLst>
                </p:nvPr>
              </p:nvSpPr>
              <p:spPr bwMode="gray">
                <a:xfrm>
                  <a:off x="8931504" y="3490916"/>
                  <a:ext cx="31026" cy="33023"/>
                </a:xfrm>
                <a:custGeom>
                  <a:avLst/>
                  <a:gdLst>
                    <a:gd name="T0" fmla="*/ 0 w 3"/>
                    <a:gd name="T1" fmla="*/ 1 h 3"/>
                    <a:gd name="T2" fmla="*/ 1 w 3"/>
                    <a:gd name="T3" fmla="*/ 1 h 3"/>
                    <a:gd name="T4" fmla="*/ 2 w 3"/>
                    <a:gd name="T5" fmla="*/ 3 h 3"/>
                    <a:gd name="T6" fmla="*/ 3 w 3"/>
                    <a:gd name="T7" fmla="*/ 1 h 3"/>
                    <a:gd name="T8" fmla="*/ 2 w 3"/>
                    <a:gd name="T9" fmla="*/ 0 h 3"/>
                    <a:gd name="T10" fmla="*/ 1 w 3"/>
                    <a:gd name="T11" fmla="*/ 0 h 3"/>
                    <a:gd name="T12" fmla="*/ 0 w 3"/>
                    <a:gd name="T13" fmla="*/ 1 h 3"/>
                    <a:gd name="T14" fmla="*/ 0 w 3"/>
                    <a:gd name="T15" fmla="*/ 1 h 3"/>
                    <a:gd name="T16" fmla="*/ 0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1"/>
                      </a:moveTo>
                      <a:cubicBezTo>
                        <a:pt x="0" y="1"/>
                        <a:pt x="1" y="1"/>
                        <a:pt x="1" y="1"/>
                      </a:cubicBezTo>
                      <a:cubicBezTo>
                        <a:pt x="1" y="2"/>
                        <a:pt x="1" y="3"/>
                        <a:pt x="2" y="3"/>
                      </a:cubicBezTo>
                      <a:cubicBezTo>
                        <a:pt x="2" y="3"/>
                        <a:pt x="3" y="2"/>
                        <a:pt x="3" y="1"/>
                      </a:cubicBezTo>
                      <a:cubicBezTo>
                        <a:pt x="3" y="0"/>
                        <a:pt x="2" y="0"/>
                        <a:pt x="2" y="0"/>
                      </a:cubicBezTo>
                      <a:cubicBezTo>
                        <a:pt x="2" y="0"/>
                        <a:pt x="1" y="0"/>
                        <a:pt x="1" y="0"/>
                      </a:cubicBez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8" name="Freeform 462"/>
                <p:cNvSpPr>
                  <a:spLocks/>
                </p:cNvSpPr>
                <p:nvPr>
                  <p:custDataLst>
                    <p:tags r:id="rId444"/>
                  </p:custDataLst>
                </p:nvPr>
              </p:nvSpPr>
              <p:spPr bwMode="gray">
                <a:xfrm>
                  <a:off x="9021761" y="3423299"/>
                  <a:ext cx="160771" cy="111647"/>
                </a:xfrm>
                <a:custGeom>
                  <a:avLst/>
                  <a:gdLst>
                    <a:gd name="T0" fmla="*/ 0 w 16"/>
                    <a:gd name="T1" fmla="*/ 0 h 10"/>
                    <a:gd name="T2" fmla="*/ 4 w 16"/>
                    <a:gd name="T3" fmla="*/ 4 h 10"/>
                    <a:gd name="T4" fmla="*/ 6 w 16"/>
                    <a:gd name="T5" fmla="*/ 3 h 10"/>
                    <a:gd name="T6" fmla="*/ 7 w 16"/>
                    <a:gd name="T7" fmla="*/ 8 h 10"/>
                    <a:gd name="T8" fmla="*/ 13 w 16"/>
                    <a:gd name="T9" fmla="*/ 10 h 10"/>
                    <a:gd name="T10" fmla="*/ 16 w 16"/>
                    <a:gd name="T11" fmla="*/ 7 h 10"/>
                    <a:gd name="T12" fmla="*/ 14 w 16"/>
                    <a:gd name="T13" fmla="*/ 6 h 10"/>
                    <a:gd name="T14" fmla="*/ 13 w 16"/>
                    <a:gd name="T15" fmla="*/ 6 h 10"/>
                    <a:gd name="T16" fmla="*/ 7 w 16"/>
                    <a:gd name="T17" fmla="*/ 1 h 10"/>
                    <a:gd name="T18" fmla="*/ 6 w 16"/>
                    <a:gd name="T19" fmla="*/ 2 h 10"/>
                    <a:gd name="T20" fmla="*/ 5 w 16"/>
                    <a:gd name="T21" fmla="*/ 1 h 10"/>
                    <a:gd name="T22" fmla="*/ 0 w 16"/>
                    <a:gd name="T23" fmla="*/ 0 h 10"/>
                    <a:gd name="T24" fmla="*/ 0 w 16"/>
                    <a:gd name="T25" fmla="*/ 0 h 10"/>
                    <a:gd name="T26" fmla="*/ 0 w 16"/>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0">
                      <a:moveTo>
                        <a:pt x="0" y="0"/>
                      </a:moveTo>
                      <a:cubicBezTo>
                        <a:pt x="0" y="2"/>
                        <a:pt x="3" y="4"/>
                        <a:pt x="4" y="4"/>
                      </a:cubicBezTo>
                      <a:cubicBezTo>
                        <a:pt x="5" y="4"/>
                        <a:pt x="5" y="4"/>
                        <a:pt x="6" y="3"/>
                      </a:cubicBezTo>
                      <a:cubicBezTo>
                        <a:pt x="7" y="4"/>
                        <a:pt x="7" y="6"/>
                        <a:pt x="7" y="8"/>
                      </a:cubicBezTo>
                      <a:cubicBezTo>
                        <a:pt x="7" y="9"/>
                        <a:pt x="12" y="10"/>
                        <a:pt x="13" y="10"/>
                      </a:cubicBezTo>
                      <a:cubicBezTo>
                        <a:pt x="14" y="10"/>
                        <a:pt x="16" y="9"/>
                        <a:pt x="16" y="7"/>
                      </a:cubicBezTo>
                      <a:cubicBezTo>
                        <a:pt x="16" y="7"/>
                        <a:pt x="15" y="6"/>
                        <a:pt x="14" y="6"/>
                      </a:cubicBezTo>
                      <a:cubicBezTo>
                        <a:pt x="14" y="6"/>
                        <a:pt x="13" y="6"/>
                        <a:pt x="13" y="6"/>
                      </a:cubicBezTo>
                      <a:cubicBezTo>
                        <a:pt x="11" y="6"/>
                        <a:pt x="10" y="1"/>
                        <a:pt x="7" y="1"/>
                      </a:cubicBezTo>
                      <a:cubicBezTo>
                        <a:pt x="7" y="1"/>
                        <a:pt x="7" y="2"/>
                        <a:pt x="6" y="2"/>
                      </a:cubicBezTo>
                      <a:cubicBezTo>
                        <a:pt x="6" y="2"/>
                        <a:pt x="5" y="1"/>
                        <a:pt x="5" y="1"/>
                      </a:cubicBezTo>
                      <a:cubicBezTo>
                        <a:pt x="3" y="0"/>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29" name="Freeform 463"/>
                <p:cNvSpPr>
                  <a:spLocks/>
                </p:cNvSpPr>
                <p:nvPr>
                  <p:custDataLst>
                    <p:tags r:id="rId445"/>
                  </p:custDataLst>
                </p:nvPr>
              </p:nvSpPr>
              <p:spPr bwMode="gray">
                <a:xfrm>
                  <a:off x="8982274" y="3569543"/>
                  <a:ext cx="29615" cy="22015"/>
                </a:xfrm>
                <a:custGeom>
                  <a:avLst/>
                  <a:gdLst>
                    <a:gd name="T0" fmla="*/ 0 w 3"/>
                    <a:gd name="T1" fmla="*/ 1 h 2"/>
                    <a:gd name="T2" fmla="*/ 2 w 3"/>
                    <a:gd name="T3" fmla="*/ 2 h 2"/>
                    <a:gd name="T4" fmla="*/ 3 w 3"/>
                    <a:gd name="T5" fmla="*/ 1 h 2"/>
                    <a:gd name="T6" fmla="*/ 0 w 3"/>
                    <a:gd name="T7" fmla="*/ 0 h 2"/>
                    <a:gd name="T8" fmla="*/ 0 w 3"/>
                    <a:gd name="T9" fmla="*/ 1 h 2"/>
                    <a:gd name="T10" fmla="*/ 0 w 3"/>
                    <a:gd name="T11" fmla="*/ 1 h 2"/>
                    <a:gd name="T12" fmla="*/ 0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1"/>
                      </a:moveTo>
                      <a:cubicBezTo>
                        <a:pt x="0" y="1"/>
                        <a:pt x="1" y="2"/>
                        <a:pt x="2" y="2"/>
                      </a:cubicBezTo>
                      <a:cubicBezTo>
                        <a:pt x="2" y="2"/>
                        <a:pt x="3" y="1"/>
                        <a:pt x="3" y="1"/>
                      </a:cubicBezTo>
                      <a:cubicBezTo>
                        <a:pt x="1" y="1"/>
                        <a:pt x="0" y="1"/>
                        <a:pt x="0" y="0"/>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0" name="Freeform 464"/>
                <p:cNvSpPr>
                  <a:spLocks/>
                </p:cNvSpPr>
                <p:nvPr>
                  <p:custDataLst>
                    <p:tags r:id="rId446"/>
                  </p:custDataLst>
                </p:nvPr>
              </p:nvSpPr>
              <p:spPr bwMode="gray">
                <a:xfrm>
                  <a:off x="9031632" y="3602565"/>
                  <a:ext cx="231285" cy="55038"/>
                </a:xfrm>
                <a:custGeom>
                  <a:avLst/>
                  <a:gdLst>
                    <a:gd name="T0" fmla="*/ 1 w 23"/>
                    <a:gd name="T1" fmla="*/ 0 h 5"/>
                    <a:gd name="T2" fmla="*/ 0 w 23"/>
                    <a:gd name="T3" fmla="*/ 1 h 5"/>
                    <a:gd name="T4" fmla="*/ 6 w 23"/>
                    <a:gd name="T5" fmla="*/ 2 h 5"/>
                    <a:gd name="T6" fmla="*/ 12 w 23"/>
                    <a:gd name="T7" fmla="*/ 5 h 5"/>
                    <a:gd name="T8" fmla="*/ 16 w 23"/>
                    <a:gd name="T9" fmla="*/ 5 h 5"/>
                    <a:gd name="T10" fmla="*/ 23 w 23"/>
                    <a:gd name="T11" fmla="*/ 3 h 5"/>
                    <a:gd name="T12" fmla="*/ 20 w 23"/>
                    <a:gd name="T13" fmla="*/ 2 h 5"/>
                    <a:gd name="T14" fmla="*/ 20 w 23"/>
                    <a:gd name="T15" fmla="*/ 2 h 5"/>
                    <a:gd name="T16" fmla="*/ 15 w 23"/>
                    <a:gd name="T17" fmla="*/ 2 h 5"/>
                    <a:gd name="T18" fmla="*/ 15 w 23"/>
                    <a:gd name="T19" fmla="*/ 2 h 5"/>
                    <a:gd name="T20" fmla="*/ 12 w 23"/>
                    <a:gd name="T21" fmla="*/ 1 h 5"/>
                    <a:gd name="T22" fmla="*/ 7 w 23"/>
                    <a:gd name="T23" fmla="*/ 1 h 5"/>
                    <a:gd name="T24" fmla="*/ 1 w 23"/>
                    <a:gd name="T25" fmla="*/ 0 h 5"/>
                    <a:gd name="T26" fmla="*/ 1 w 23"/>
                    <a:gd name="T27" fmla="*/ 0 h 5"/>
                    <a:gd name="T28" fmla="*/ 1 w 23"/>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5">
                      <a:moveTo>
                        <a:pt x="1" y="0"/>
                      </a:moveTo>
                      <a:cubicBezTo>
                        <a:pt x="1" y="0"/>
                        <a:pt x="0" y="0"/>
                        <a:pt x="0" y="1"/>
                      </a:cubicBezTo>
                      <a:cubicBezTo>
                        <a:pt x="0" y="3"/>
                        <a:pt x="5" y="2"/>
                        <a:pt x="6" y="2"/>
                      </a:cubicBezTo>
                      <a:cubicBezTo>
                        <a:pt x="8" y="4"/>
                        <a:pt x="10" y="4"/>
                        <a:pt x="12" y="5"/>
                      </a:cubicBezTo>
                      <a:cubicBezTo>
                        <a:pt x="16" y="5"/>
                        <a:pt x="15" y="5"/>
                        <a:pt x="16" y="5"/>
                      </a:cubicBezTo>
                      <a:cubicBezTo>
                        <a:pt x="18" y="5"/>
                        <a:pt x="22" y="5"/>
                        <a:pt x="23" y="3"/>
                      </a:cubicBezTo>
                      <a:cubicBezTo>
                        <a:pt x="22" y="2"/>
                        <a:pt x="21" y="2"/>
                        <a:pt x="20" y="2"/>
                      </a:cubicBezTo>
                      <a:lnTo>
                        <a:pt x="20" y="2"/>
                      </a:lnTo>
                      <a:lnTo>
                        <a:pt x="15" y="2"/>
                      </a:lnTo>
                      <a:lnTo>
                        <a:pt x="15" y="2"/>
                      </a:lnTo>
                      <a:cubicBezTo>
                        <a:pt x="14" y="2"/>
                        <a:pt x="13" y="1"/>
                        <a:pt x="12" y="1"/>
                      </a:cubicBezTo>
                      <a:cubicBezTo>
                        <a:pt x="10" y="0"/>
                        <a:pt x="9" y="1"/>
                        <a:pt x="7" y="1"/>
                      </a:cubicBezTo>
                      <a:cubicBezTo>
                        <a:pt x="5" y="1"/>
                        <a:pt x="3" y="0"/>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1" name="Freeform 465"/>
                <p:cNvSpPr>
                  <a:spLocks/>
                </p:cNvSpPr>
                <p:nvPr>
                  <p:custDataLst>
                    <p:tags r:id="rId447"/>
                  </p:custDataLst>
                </p:nvPr>
              </p:nvSpPr>
              <p:spPr bwMode="gray">
                <a:xfrm>
                  <a:off x="8860990" y="3681192"/>
                  <a:ext cx="9871" cy="22015"/>
                </a:xfrm>
                <a:custGeom>
                  <a:avLst/>
                  <a:gdLst>
                    <a:gd name="T0" fmla="*/ 0 w 1"/>
                    <a:gd name="T1" fmla="*/ 1 h 2"/>
                    <a:gd name="T2" fmla="*/ 0 w 1"/>
                    <a:gd name="T3" fmla="*/ 2 h 2"/>
                    <a:gd name="T4" fmla="*/ 0 w 1"/>
                    <a:gd name="T5" fmla="*/ 2 h 2"/>
                    <a:gd name="T6" fmla="*/ 1 w 1"/>
                    <a:gd name="T7" fmla="*/ 2 h 2"/>
                    <a:gd name="T8" fmla="*/ 1 w 1"/>
                    <a:gd name="T9" fmla="*/ 2 h 2"/>
                    <a:gd name="T10" fmla="*/ 1 w 1"/>
                    <a:gd name="T11" fmla="*/ 1 h 2"/>
                    <a:gd name="T12" fmla="*/ 1 w 1"/>
                    <a:gd name="T13" fmla="*/ 1 h 2"/>
                    <a:gd name="T14" fmla="*/ 0 w 1"/>
                    <a:gd name="T15" fmla="*/ 0 h 2"/>
                    <a:gd name="T16" fmla="*/ 0 w 1"/>
                    <a:gd name="T17" fmla="*/ 1 h 2"/>
                    <a:gd name="T18" fmla="*/ 0 w 1"/>
                    <a:gd name="T19" fmla="*/ 1 h 2"/>
                    <a:gd name="T20" fmla="*/ 0 w 1"/>
                    <a:gd name="T2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2">
                      <a:moveTo>
                        <a:pt x="0" y="1"/>
                      </a:moveTo>
                      <a:lnTo>
                        <a:pt x="0" y="2"/>
                      </a:lnTo>
                      <a:lnTo>
                        <a:pt x="0" y="2"/>
                      </a:lnTo>
                      <a:cubicBezTo>
                        <a:pt x="0" y="2"/>
                        <a:pt x="1" y="2"/>
                        <a:pt x="1" y="2"/>
                      </a:cubicBezTo>
                      <a:lnTo>
                        <a:pt x="1" y="2"/>
                      </a:lnTo>
                      <a:lnTo>
                        <a:pt x="1" y="1"/>
                      </a:lnTo>
                      <a:lnTo>
                        <a:pt x="1" y="1"/>
                      </a:lnTo>
                      <a:cubicBezTo>
                        <a:pt x="1" y="0"/>
                        <a:pt x="1"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2" name="Freeform 466"/>
                <p:cNvSpPr>
                  <a:spLocks/>
                </p:cNvSpPr>
                <p:nvPr>
                  <p:custDataLst>
                    <p:tags r:id="rId448"/>
                  </p:custDataLst>
                </p:nvPr>
              </p:nvSpPr>
              <p:spPr bwMode="gray">
                <a:xfrm>
                  <a:off x="8829964" y="3626154"/>
                  <a:ext cx="9871" cy="31450"/>
                </a:xfrm>
                <a:custGeom>
                  <a:avLst/>
                  <a:gdLst>
                    <a:gd name="T0" fmla="*/ 1 w 1"/>
                    <a:gd name="T1" fmla="*/ 0 h 3"/>
                    <a:gd name="T2" fmla="*/ 0 w 1"/>
                    <a:gd name="T3" fmla="*/ 2 h 3"/>
                    <a:gd name="T4" fmla="*/ 0 w 1"/>
                    <a:gd name="T5" fmla="*/ 2 h 3"/>
                    <a:gd name="T6" fmla="*/ 0 w 1"/>
                    <a:gd name="T7" fmla="*/ 3 h 3"/>
                    <a:gd name="T8" fmla="*/ 0 w 1"/>
                    <a:gd name="T9" fmla="*/ 3 h 3"/>
                    <a:gd name="T10" fmla="*/ 1 w 1"/>
                    <a:gd name="T11" fmla="*/ 2 h 3"/>
                    <a:gd name="T12" fmla="*/ 1 w 1"/>
                    <a:gd name="T13" fmla="*/ 2 h 3"/>
                    <a:gd name="T14" fmla="*/ 1 w 1"/>
                    <a:gd name="T15" fmla="*/ 0 h 3"/>
                    <a:gd name="T16" fmla="*/ 1 w 1"/>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0"/>
                      </a:moveTo>
                      <a:cubicBezTo>
                        <a:pt x="0" y="2"/>
                        <a:pt x="0" y="2"/>
                        <a:pt x="0" y="2"/>
                      </a:cubicBezTo>
                      <a:lnTo>
                        <a:pt x="0" y="2"/>
                      </a:lnTo>
                      <a:lnTo>
                        <a:pt x="0" y="3"/>
                      </a:lnTo>
                      <a:lnTo>
                        <a:pt x="0" y="3"/>
                      </a:lnTo>
                      <a:cubicBezTo>
                        <a:pt x="0" y="3"/>
                        <a:pt x="1" y="3"/>
                        <a:pt x="1" y="2"/>
                      </a:cubicBezTo>
                      <a:lnTo>
                        <a:pt x="1" y="2"/>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3" name="Freeform 467"/>
                <p:cNvSpPr>
                  <a:spLocks/>
                </p:cNvSpPr>
                <p:nvPr>
                  <p:custDataLst>
                    <p:tags r:id="rId449"/>
                  </p:custDataLst>
                </p:nvPr>
              </p:nvSpPr>
              <p:spPr bwMode="gray">
                <a:xfrm>
                  <a:off x="8880733" y="3737802"/>
                  <a:ext cx="21154" cy="22015"/>
                </a:xfrm>
                <a:custGeom>
                  <a:avLst/>
                  <a:gdLst>
                    <a:gd name="T0" fmla="*/ 0 w 2"/>
                    <a:gd name="T1" fmla="*/ 2 h 2"/>
                    <a:gd name="T2" fmla="*/ 2 w 2"/>
                    <a:gd name="T3" fmla="*/ 2 h 2"/>
                    <a:gd name="T4" fmla="*/ 2 w 2"/>
                    <a:gd name="T5" fmla="*/ 2 h 2"/>
                    <a:gd name="T6" fmla="*/ 2 w 2"/>
                    <a:gd name="T7" fmla="*/ 0 h 2"/>
                    <a:gd name="T8" fmla="*/ 0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2"/>
                      </a:lnTo>
                      <a:lnTo>
                        <a:pt x="2" y="2"/>
                      </a:lnTo>
                      <a:cubicBezTo>
                        <a:pt x="2" y="1"/>
                        <a:pt x="2" y="1"/>
                        <a:pt x="2" y="0"/>
                      </a:cubicBezTo>
                      <a:cubicBezTo>
                        <a:pt x="0" y="0"/>
                        <a:pt x="1"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4" name="Freeform 468"/>
                <p:cNvSpPr>
                  <a:spLocks/>
                </p:cNvSpPr>
                <p:nvPr>
                  <p:custDataLst>
                    <p:tags r:id="rId450"/>
                  </p:custDataLst>
                </p:nvPr>
              </p:nvSpPr>
              <p:spPr bwMode="gray">
                <a:xfrm>
                  <a:off x="8700219" y="4072747"/>
                  <a:ext cx="40897" cy="34595"/>
                </a:xfrm>
                <a:custGeom>
                  <a:avLst/>
                  <a:gdLst>
                    <a:gd name="T0" fmla="*/ 0 w 4"/>
                    <a:gd name="T1" fmla="*/ 0 h 3"/>
                    <a:gd name="T2" fmla="*/ 4 w 4"/>
                    <a:gd name="T3" fmla="*/ 2 h 3"/>
                    <a:gd name="T4" fmla="*/ 3 w 4"/>
                    <a:gd name="T5" fmla="*/ 3 h 3"/>
                    <a:gd name="T6" fmla="*/ 0 w 4"/>
                    <a:gd name="T7" fmla="*/ 1 h 3"/>
                    <a:gd name="T8" fmla="*/ 0 w 4"/>
                    <a:gd name="T9" fmla="*/ 1 h 3"/>
                    <a:gd name="T10" fmla="*/ 0 w 4"/>
                    <a:gd name="T11" fmla="*/ 0 h 3"/>
                    <a:gd name="T12" fmla="*/ 0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0"/>
                      </a:moveTo>
                      <a:cubicBezTo>
                        <a:pt x="1" y="2"/>
                        <a:pt x="2" y="2"/>
                        <a:pt x="4" y="2"/>
                      </a:cubicBezTo>
                      <a:cubicBezTo>
                        <a:pt x="4" y="3"/>
                        <a:pt x="3" y="3"/>
                        <a:pt x="3" y="3"/>
                      </a:cubicBezTo>
                      <a:cubicBezTo>
                        <a:pt x="2" y="3"/>
                        <a:pt x="0" y="2"/>
                        <a:pt x="0" y="1"/>
                      </a:cubicBez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5" name="Freeform 469"/>
                <p:cNvSpPr>
                  <a:spLocks/>
                </p:cNvSpPr>
                <p:nvPr>
                  <p:custDataLst>
                    <p:tags r:id="rId451"/>
                  </p:custDataLst>
                </p:nvPr>
              </p:nvSpPr>
              <p:spPr bwMode="gray">
                <a:xfrm>
                  <a:off x="8137521" y="3626154"/>
                  <a:ext cx="100129" cy="66046"/>
                </a:xfrm>
                <a:custGeom>
                  <a:avLst/>
                  <a:gdLst>
                    <a:gd name="T0" fmla="*/ 0 w 10"/>
                    <a:gd name="T1" fmla="*/ 3 h 6"/>
                    <a:gd name="T2" fmla="*/ 1 w 10"/>
                    <a:gd name="T3" fmla="*/ 2 h 6"/>
                    <a:gd name="T4" fmla="*/ 6 w 10"/>
                    <a:gd name="T5" fmla="*/ 0 h 6"/>
                    <a:gd name="T6" fmla="*/ 10 w 10"/>
                    <a:gd name="T7" fmla="*/ 2 h 6"/>
                    <a:gd name="T8" fmla="*/ 9 w 10"/>
                    <a:gd name="T9" fmla="*/ 3 h 6"/>
                    <a:gd name="T10" fmla="*/ 10 w 10"/>
                    <a:gd name="T11" fmla="*/ 5 h 6"/>
                    <a:gd name="T12" fmla="*/ 8 w 10"/>
                    <a:gd name="T13" fmla="*/ 4 h 6"/>
                    <a:gd name="T14" fmla="*/ 6 w 10"/>
                    <a:gd name="T15" fmla="*/ 6 h 6"/>
                    <a:gd name="T16" fmla="*/ 0 w 10"/>
                    <a:gd name="T17" fmla="*/ 3 h 6"/>
                    <a:gd name="T18" fmla="*/ 0 w 10"/>
                    <a:gd name="T19" fmla="*/ 3 h 6"/>
                    <a:gd name="T20" fmla="*/ 0 w 10"/>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0" y="3"/>
                      </a:moveTo>
                      <a:cubicBezTo>
                        <a:pt x="0" y="3"/>
                        <a:pt x="0" y="2"/>
                        <a:pt x="1" y="2"/>
                      </a:cubicBezTo>
                      <a:cubicBezTo>
                        <a:pt x="3" y="0"/>
                        <a:pt x="4" y="0"/>
                        <a:pt x="6" y="0"/>
                      </a:cubicBezTo>
                      <a:cubicBezTo>
                        <a:pt x="8" y="0"/>
                        <a:pt x="10" y="1"/>
                        <a:pt x="10" y="2"/>
                      </a:cubicBezTo>
                      <a:cubicBezTo>
                        <a:pt x="10" y="3"/>
                        <a:pt x="9" y="3"/>
                        <a:pt x="9" y="3"/>
                      </a:cubicBezTo>
                      <a:cubicBezTo>
                        <a:pt x="9" y="4"/>
                        <a:pt x="10" y="5"/>
                        <a:pt x="10" y="5"/>
                      </a:cubicBezTo>
                      <a:cubicBezTo>
                        <a:pt x="9" y="5"/>
                        <a:pt x="9" y="4"/>
                        <a:pt x="8" y="4"/>
                      </a:cubicBezTo>
                      <a:cubicBezTo>
                        <a:pt x="7" y="4"/>
                        <a:pt x="7" y="6"/>
                        <a:pt x="6" y="6"/>
                      </a:cubicBezTo>
                      <a:cubicBezTo>
                        <a:pt x="4" y="6"/>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6" name="Freeform 470"/>
                <p:cNvSpPr>
                  <a:spLocks/>
                </p:cNvSpPr>
                <p:nvPr>
                  <p:custDataLst>
                    <p:tags r:id="rId452"/>
                  </p:custDataLst>
                </p:nvPr>
              </p:nvSpPr>
              <p:spPr bwMode="gray">
                <a:xfrm>
                  <a:off x="8137521" y="3512932"/>
                  <a:ext cx="19744" cy="22015"/>
                </a:xfrm>
                <a:custGeom>
                  <a:avLst/>
                  <a:gdLst>
                    <a:gd name="T0" fmla="*/ 0 w 2"/>
                    <a:gd name="T1" fmla="*/ 2 h 2"/>
                    <a:gd name="T2" fmla="*/ 2 w 2"/>
                    <a:gd name="T3" fmla="*/ 2 h 2"/>
                    <a:gd name="T4" fmla="*/ 2 w 2"/>
                    <a:gd name="T5" fmla="*/ 2 h 2"/>
                    <a:gd name="T6" fmla="*/ 2 w 2"/>
                    <a:gd name="T7" fmla="*/ 1 h 2"/>
                    <a:gd name="T8" fmla="*/ 2 w 2"/>
                    <a:gd name="T9" fmla="*/ 1 h 2"/>
                    <a:gd name="T10" fmla="*/ 2 w 2"/>
                    <a:gd name="T11" fmla="*/ 0 h 2"/>
                    <a:gd name="T12" fmla="*/ 2 w 2"/>
                    <a:gd name="T13" fmla="*/ 0 h 2"/>
                    <a:gd name="T14" fmla="*/ 0 w 2"/>
                    <a:gd name="T15" fmla="*/ 2 h 2"/>
                    <a:gd name="T16" fmla="*/ 0 w 2"/>
                    <a:gd name="T17" fmla="*/ 2 h 2"/>
                    <a:gd name="T18" fmla="*/ 0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2"/>
                      </a:moveTo>
                      <a:lnTo>
                        <a:pt x="2" y="2"/>
                      </a:lnTo>
                      <a:lnTo>
                        <a:pt x="2" y="2"/>
                      </a:lnTo>
                      <a:cubicBezTo>
                        <a:pt x="2" y="2"/>
                        <a:pt x="2" y="1"/>
                        <a:pt x="2" y="1"/>
                      </a:cubicBezTo>
                      <a:lnTo>
                        <a:pt x="2" y="1"/>
                      </a:lnTo>
                      <a:lnTo>
                        <a:pt x="2" y="0"/>
                      </a:lnTo>
                      <a:lnTo>
                        <a:pt x="2" y="0"/>
                      </a:lnTo>
                      <a:cubicBezTo>
                        <a:pt x="1" y="0"/>
                        <a:pt x="0" y="0"/>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7" name="Freeform 471"/>
                <p:cNvSpPr>
                  <a:spLocks/>
                </p:cNvSpPr>
                <p:nvPr>
                  <p:custDataLst>
                    <p:tags r:id="rId453"/>
                  </p:custDataLst>
                </p:nvPr>
              </p:nvSpPr>
              <p:spPr bwMode="gray">
                <a:xfrm>
                  <a:off x="8157264" y="3523940"/>
                  <a:ext cx="1410" cy="11008"/>
                </a:xfrm>
                <a:custGeom>
                  <a:avLst/>
                  <a:gdLst>
                    <a:gd name="T0" fmla="*/ 0 h 7"/>
                    <a:gd name="T1" fmla="*/ 7 h 7"/>
                    <a:gd name="T2" fmla="*/ 7 h 7"/>
                    <a:gd name="T3" fmla="*/ 7 h 7"/>
                    <a:gd name="T4" fmla="*/ 7 h 7"/>
                    <a:gd name="T5" fmla="*/ 7 h 7"/>
                    <a:gd name="T6" fmla="*/ 0 h 7"/>
                  </a:gdLst>
                  <a:ahLst/>
                  <a:cxnLst>
                    <a:cxn ang="0">
                      <a:pos x="0" y="T0"/>
                    </a:cxn>
                    <a:cxn ang="0">
                      <a:pos x="0" y="T1"/>
                    </a:cxn>
                    <a:cxn ang="0">
                      <a:pos x="0" y="T2"/>
                    </a:cxn>
                    <a:cxn ang="0">
                      <a:pos x="0" y="T3"/>
                    </a:cxn>
                    <a:cxn ang="0">
                      <a:pos x="0" y="T4"/>
                    </a:cxn>
                    <a:cxn ang="0">
                      <a:pos x="0" y="T5"/>
                    </a:cxn>
                    <a:cxn ang="0">
                      <a:pos x="0" y="T6"/>
                    </a:cxn>
                  </a:cxnLst>
                  <a:rect l="0" t="0" r="r" b="b"/>
                  <a:pathLst>
                    <a:path h="7">
                      <a:moveTo>
                        <a:pt x="0" y="0"/>
                      </a:moveTo>
                      <a:lnTo>
                        <a:pt x="0" y="7"/>
                      </a:lnTo>
                      <a:lnTo>
                        <a:pt x="0" y="7"/>
                      </a:lnTo>
                      <a:lnTo>
                        <a:pt x="0" y="7"/>
                      </a:lnTo>
                      <a:lnTo>
                        <a:pt x="0" y="7"/>
                      </a:lnTo>
                      <a:lnTo>
                        <a:pt x="0" y="7"/>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8" name="Freeform 472"/>
                <p:cNvSpPr>
                  <a:spLocks/>
                </p:cNvSpPr>
                <p:nvPr>
                  <p:custDataLst>
                    <p:tags r:id="rId454"/>
                  </p:custDataLst>
                </p:nvPr>
              </p:nvSpPr>
              <p:spPr bwMode="gray">
                <a:xfrm>
                  <a:off x="8137520" y="3523940"/>
                  <a:ext cx="1410" cy="11008"/>
                </a:xfrm>
                <a:custGeom>
                  <a:avLst/>
                  <a:gdLst>
                    <a:gd name="T0" fmla="*/ 0 h 7"/>
                    <a:gd name="T1" fmla="*/ 7 h 7"/>
                    <a:gd name="T2" fmla="*/ 7 h 7"/>
                    <a:gd name="T3" fmla="*/ 7 h 7"/>
                    <a:gd name="T4" fmla="*/ 7 h 7"/>
                    <a:gd name="T5" fmla="*/ 7 h 7"/>
                    <a:gd name="T6" fmla="*/ 0 h 7"/>
                  </a:gdLst>
                  <a:ahLst/>
                  <a:cxnLst>
                    <a:cxn ang="0">
                      <a:pos x="0" y="T0"/>
                    </a:cxn>
                    <a:cxn ang="0">
                      <a:pos x="0" y="T1"/>
                    </a:cxn>
                    <a:cxn ang="0">
                      <a:pos x="0" y="T2"/>
                    </a:cxn>
                    <a:cxn ang="0">
                      <a:pos x="0" y="T3"/>
                    </a:cxn>
                    <a:cxn ang="0">
                      <a:pos x="0" y="T4"/>
                    </a:cxn>
                    <a:cxn ang="0">
                      <a:pos x="0" y="T5"/>
                    </a:cxn>
                    <a:cxn ang="0">
                      <a:pos x="0" y="T6"/>
                    </a:cxn>
                  </a:cxnLst>
                  <a:rect l="0" t="0" r="r" b="b"/>
                  <a:pathLst>
                    <a:path h="7">
                      <a:moveTo>
                        <a:pt x="0" y="0"/>
                      </a:moveTo>
                      <a:lnTo>
                        <a:pt x="0" y="7"/>
                      </a:lnTo>
                      <a:lnTo>
                        <a:pt x="0" y="7"/>
                      </a:lnTo>
                      <a:lnTo>
                        <a:pt x="0" y="7"/>
                      </a:lnTo>
                      <a:lnTo>
                        <a:pt x="0" y="7"/>
                      </a:lnTo>
                      <a:lnTo>
                        <a:pt x="0" y="7"/>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39" name="Freeform 473"/>
                <p:cNvSpPr>
                  <a:spLocks/>
                </p:cNvSpPr>
                <p:nvPr>
                  <p:custDataLst>
                    <p:tags r:id="rId455"/>
                  </p:custDataLst>
                </p:nvPr>
              </p:nvSpPr>
              <p:spPr bwMode="gray">
                <a:xfrm>
                  <a:off x="8137520" y="3523940"/>
                  <a:ext cx="1410" cy="11008"/>
                </a:xfrm>
                <a:custGeom>
                  <a:avLst/>
                  <a:gdLst>
                    <a:gd name="T0" fmla="*/ 0 h 7"/>
                    <a:gd name="T1" fmla="*/ 7 h 7"/>
                    <a:gd name="T2" fmla="*/ 7 h 7"/>
                    <a:gd name="T3" fmla="*/ 7 h 7"/>
                    <a:gd name="T4" fmla="*/ 7 h 7"/>
                    <a:gd name="T5" fmla="*/ 7 h 7"/>
                    <a:gd name="T6" fmla="*/ 0 h 7"/>
                  </a:gdLst>
                  <a:ahLst/>
                  <a:cxnLst>
                    <a:cxn ang="0">
                      <a:pos x="0" y="T0"/>
                    </a:cxn>
                    <a:cxn ang="0">
                      <a:pos x="0" y="T1"/>
                    </a:cxn>
                    <a:cxn ang="0">
                      <a:pos x="0" y="T2"/>
                    </a:cxn>
                    <a:cxn ang="0">
                      <a:pos x="0" y="T3"/>
                    </a:cxn>
                    <a:cxn ang="0">
                      <a:pos x="0" y="T4"/>
                    </a:cxn>
                    <a:cxn ang="0">
                      <a:pos x="0" y="T5"/>
                    </a:cxn>
                    <a:cxn ang="0">
                      <a:pos x="0" y="T6"/>
                    </a:cxn>
                  </a:cxnLst>
                  <a:rect l="0" t="0" r="r" b="b"/>
                  <a:pathLst>
                    <a:path h="7">
                      <a:moveTo>
                        <a:pt x="0" y="0"/>
                      </a:moveTo>
                      <a:lnTo>
                        <a:pt x="0" y="7"/>
                      </a:lnTo>
                      <a:lnTo>
                        <a:pt x="0" y="7"/>
                      </a:lnTo>
                      <a:lnTo>
                        <a:pt x="0" y="7"/>
                      </a:lnTo>
                      <a:lnTo>
                        <a:pt x="0" y="7"/>
                      </a:lnTo>
                      <a:lnTo>
                        <a:pt x="0" y="7"/>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0" name="Freeform 474"/>
                <p:cNvSpPr>
                  <a:spLocks/>
                </p:cNvSpPr>
                <p:nvPr>
                  <p:custDataLst>
                    <p:tags r:id="rId456"/>
                  </p:custDataLst>
                </p:nvPr>
              </p:nvSpPr>
              <p:spPr bwMode="gray">
                <a:xfrm>
                  <a:off x="8147392" y="3379268"/>
                  <a:ext cx="9871" cy="11008"/>
                </a:xfrm>
                <a:custGeom>
                  <a:avLst/>
                  <a:gdLst>
                    <a:gd name="T0" fmla="*/ 0 w 1"/>
                    <a:gd name="T1" fmla="*/ 1 h 1"/>
                    <a:gd name="T2" fmla="*/ 1 w 1"/>
                    <a:gd name="T3" fmla="*/ 1 h 1"/>
                    <a:gd name="T4" fmla="*/ 1 w 1"/>
                    <a:gd name="T5" fmla="*/ 1 h 1"/>
                    <a:gd name="T6" fmla="*/ 1 w 1"/>
                    <a:gd name="T7" fmla="*/ 1 h 1"/>
                    <a:gd name="T8" fmla="*/ 1 w 1"/>
                    <a:gd name="T9" fmla="*/ 0 h 1"/>
                    <a:gd name="T10" fmla="*/ 0 w 1"/>
                    <a:gd name="T11" fmla="*/ 1 h 1"/>
                    <a:gd name="T12" fmla="*/ 0 w 1"/>
                    <a:gd name="T13" fmla="*/ 1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lnTo>
                        <a:pt x="1" y="1"/>
                      </a:lnTo>
                      <a:lnTo>
                        <a:pt x="1" y="1"/>
                      </a:lnTo>
                      <a:lnTo>
                        <a:pt x="1" y="1"/>
                      </a:lnTo>
                      <a:cubicBezTo>
                        <a:pt x="1" y="1"/>
                        <a:pt x="1" y="0"/>
                        <a:pt x="1" y="0"/>
                      </a:cubicBezTo>
                      <a:cubicBezTo>
                        <a:pt x="1"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1" name="Freeform 475"/>
                <p:cNvSpPr>
                  <a:spLocks/>
                </p:cNvSpPr>
                <p:nvPr>
                  <p:custDataLst>
                    <p:tags r:id="rId457"/>
                  </p:custDataLst>
                </p:nvPr>
              </p:nvSpPr>
              <p:spPr bwMode="gray">
                <a:xfrm>
                  <a:off x="8278548" y="3299070"/>
                  <a:ext cx="100129" cy="80199"/>
                </a:xfrm>
                <a:custGeom>
                  <a:avLst/>
                  <a:gdLst>
                    <a:gd name="T0" fmla="*/ 7 w 10"/>
                    <a:gd name="T1" fmla="*/ 6 h 7"/>
                    <a:gd name="T2" fmla="*/ 9 w 10"/>
                    <a:gd name="T3" fmla="*/ 7 h 7"/>
                    <a:gd name="T4" fmla="*/ 10 w 10"/>
                    <a:gd name="T5" fmla="*/ 5 h 7"/>
                    <a:gd name="T6" fmla="*/ 3 w 10"/>
                    <a:gd name="T7" fmla="*/ 0 h 7"/>
                    <a:gd name="T8" fmla="*/ 0 w 10"/>
                    <a:gd name="T9" fmla="*/ 1 h 7"/>
                    <a:gd name="T10" fmla="*/ 7 w 10"/>
                    <a:gd name="T11" fmla="*/ 6 h 7"/>
                    <a:gd name="T12" fmla="*/ 7 w 10"/>
                    <a:gd name="T13" fmla="*/ 6 h 7"/>
                    <a:gd name="T14" fmla="*/ 7 w 10"/>
                    <a:gd name="T15" fmla="*/ 6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
                      <a:moveTo>
                        <a:pt x="7" y="6"/>
                      </a:moveTo>
                      <a:cubicBezTo>
                        <a:pt x="8" y="6"/>
                        <a:pt x="8" y="7"/>
                        <a:pt x="9" y="7"/>
                      </a:cubicBezTo>
                      <a:cubicBezTo>
                        <a:pt x="10" y="7"/>
                        <a:pt x="10" y="6"/>
                        <a:pt x="10" y="5"/>
                      </a:cubicBezTo>
                      <a:cubicBezTo>
                        <a:pt x="10" y="1"/>
                        <a:pt x="6" y="0"/>
                        <a:pt x="3" y="0"/>
                      </a:cubicBezTo>
                      <a:cubicBezTo>
                        <a:pt x="1" y="0"/>
                        <a:pt x="1" y="1"/>
                        <a:pt x="0" y="1"/>
                      </a:cubicBezTo>
                      <a:cubicBezTo>
                        <a:pt x="2" y="3"/>
                        <a:pt x="3" y="6"/>
                        <a:pt x="7" y="6"/>
                      </a:cubicBezTo>
                      <a:lnTo>
                        <a:pt x="7" y="6"/>
                      </a:lnTo>
                      <a:lnTo>
                        <a:pt x="7"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2" name="Freeform 476"/>
                <p:cNvSpPr>
                  <a:spLocks/>
                </p:cNvSpPr>
                <p:nvPr>
                  <p:custDataLst>
                    <p:tags r:id="rId458"/>
                  </p:custDataLst>
                </p:nvPr>
              </p:nvSpPr>
              <p:spPr bwMode="gray">
                <a:xfrm>
                  <a:off x="8217906" y="3311651"/>
                  <a:ext cx="100129" cy="78626"/>
                </a:xfrm>
                <a:custGeom>
                  <a:avLst/>
                  <a:gdLst>
                    <a:gd name="T0" fmla="*/ 5 w 10"/>
                    <a:gd name="T1" fmla="*/ 1 h 7"/>
                    <a:gd name="T2" fmla="*/ 6 w 10"/>
                    <a:gd name="T3" fmla="*/ 3 h 7"/>
                    <a:gd name="T4" fmla="*/ 10 w 10"/>
                    <a:gd name="T5" fmla="*/ 5 h 7"/>
                    <a:gd name="T6" fmla="*/ 8 w 10"/>
                    <a:gd name="T7" fmla="*/ 7 h 7"/>
                    <a:gd name="T8" fmla="*/ 6 w 10"/>
                    <a:gd name="T9" fmla="*/ 5 h 7"/>
                    <a:gd name="T10" fmla="*/ 4 w 10"/>
                    <a:gd name="T11" fmla="*/ 5 h 7"/>
                    <a:gd name="T12" fmla="*/ 0 w 10"/>
                    <a:gd name="T13" fmla="*/ 3 h 7"/>
                    <a:gd name="T14" fmla="*/ 1 w 10"/>
                    <a:gd name="T15" fmla="*/ 2 h 7"/>
                    <a:gd name="T16" fmla="*/ 0 w 10"/>
                    <a:gd name="T17" fmla="*/ 1 h 7"/>
                    <a:gd name="T18" fmla="*/ 5 w 10"/>
                    <a:gd name="T19" fmla="*/ 1 h 7"/>
                    <a:gd name="T20" fmla="*/ 5 w 10"/>
                    <a:gd name="T21" fmla="*/ 1 h 7"/>
                    <a:gd name="T22" fmla="*/ 5 w 10"/>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5" y="1"/>
                      </a:moveTo>
                      <a:cubicBezTo>
                        <a:pt x="6" y="2"/>
                        <a:pt x="5" y="2"/>
                        <a:pt x="6" y="3"/>
                      </a:cubicBezTo>
                      <a:cubicBezTo>
                        <a:pt x="7" y="4"/>
                        <a:pt x="10" y="3"/>
                        <a:pt x="10" y="5"/>
                      </a:cubicBezTo>
                      <a:cubicBezTo>
                        <a:pt x="10" y="6"/>
                        <a:pt x="9" y="7"/>
                        <a:pt x="8" y="7"/>
                      </a:cubicBezTo>
                      <a:cubicBezTo>
                        <a:pt x="6" y="7"/>
                        <a:pt x="6" y="6"/>
                        <a:pt x="6" y="5"/>
                      </a:cubicBezTo>
                      <a:cubicBezTo>
                        <a:pt x="5" y="5"/>
                        <a:pt x="4" y="5"/>
                        <a:pt x="4" y="5"/>
                      </a:cubicBezTo>
                      <a:cubicBezTo>
                        <a:pt x="3" y="5"/>
                        <a:pt x="1" y="3"/>
                        <a:pt x="0" y="3"/>
                      </a:cubicBezTo>
                      <a:cubicBezTo>
                        <a:pt x="0" y="2"/>
                        <a:pt x="1" y="2"/>
                        <a:pt x="1" y="2"/>
                      </a:cubicBezTo>
                      <a:cubicBezTo>
                        <a:pt x="1" y="1"/>
                        <a:pt x="0" y="2"/>
                        <a:pt x="0" y="1"/>
                      </a:cubicBezTo>
                      <a:cubicBezTo>
                        <a:pt x="0" y="0"/>
                        <a:pt x="5" y="1"/>
                        <a:pt x="5" y="1"/>
                      </a:cubicBezTo>
                      <a:lnTo>
                        <a:pt x="5" y="1"/>
                      </a:lnTo>
                      <a:lnTo>
                        <a:pt x="5"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3" name="Freeform 477"/>
                <p:cNvSpPr>
                  <a:spLocks/>
                </p:cNvSpPr>
                <p:nvPr>
                  <p:custDataLst>
                    <p:tags r:id="rId459"/>
                  </p:custDataLst>
                </p:nvPr>
              </p:nvSpPr>
              <p:spPr bwMode="gray">
                <a:xfrm>
                  <a:off x="8237650" y="3368261"/>
                  <a:ext cx="40897" cy="33023"/>
                </a:xfrm>
                <a:custGeom>
                  <a:avLst/>
                  <a:gdLst>
                    <a:gd name="T0" fmla="*/ 4 w 4"/>
                    <a:gd name="T1" fmla="*/ 2 h 3"/>
                    <a:gd name="T2" fmla="*/ 3 w 4"/>
                    <a:gd name="T3" fmla="*/ 3 h 3"/>
                    <a:gd name="T4" fmla="*/ 0 w 4"/>
                    <a:gd name="T5" fmla="*/ 2 h 3"/>
                    <a:gd name="T6" fmla="*/ 4 w 4"/>
                    <a:gd name="T7" fmla="*/ 2 h 3"/>
                    <a:gd name="T8" fmla="*/ 4 w 4"/>
                    <a:gd name="T9" fmla="*/ 2 h 3"/>
                    <a:gd name="T10" fmla="*/ 4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4" y="2"/>
                      </a:moveTo>
                      <a:cubicBezTo>
                        <a:pt x="4" y="2"/>
                        <a:pt x="3" y="3"/>
                        <a:pt x="3" y="3"/>
                      </a:cubicBezTo>
                      <a:cubicBezTo>
                        <a:pt x="1" y="3"/>
                        <a:pt x="1" y="2"/>
                        <a:pt x="0" y="2"/>
                      </a:cubicBezTo>
                      <a:cubicBezTo>
                        <a:pt x="2" y="2"/>
                        <a:pt x="4" y="0"/>
                        <a:pt x="4" y="2"/>
                      </a:cubicBezTo>
                      <a:lnTo>
                        <a:pt x="4" y="2"/>
                      </a:lnTo>
                      <a:lnTo>
                        <a:pt x="4"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4" name="Freeform 478"/>
                <p:cNvSpPr>
                  <a:spLocks/>
                </p:cNvSpPr>
                <p:nvPr>
                  <p:custDataLst>
                    <p:tags r:id="rId460"/>
                  </p:custDataLst>
                </p:nvPr>
              </p:nvSpPr>
              <p:spPr bwMode="gray">
                <a:xfrm>
                  <a:off x="8258804" y="3412292"/>
                  <a:ext cx="9872" cy="11009"/>
                </a:xfrm>
                <a:custGeom>
                  <a:avLst/>
                  <a:gdLst>
                    <a:gd name="T0" fmla="*/ 0 w 1"/>
                    <a:gd name="T1" fmla="*/ 1 h 1"/>
                    <a:gd name="T2" fmla="*/ 0 w 1"/>
                    <a:gd name="T3" fmla="*/ 1 h 1"/>
                    <a:gd name="T4" fmla="*/ 1 w 1"/>
                    <a:gd name="T5" fmla="*/ 1 h 1"/>
                    <a:gd name="T6" fmla="*/ 1 w 1"/>
                    <a:gd name="T7" fmla="*/ 0 h 1"/>
                    <a:gd name="T8" fmla="*/ 0 w 1"/>
                    <a:gd name="T9" fmla="*/ 1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1" y="1"/>
                      </a:lnTo>
                      <a:lnTo>
                        <a:pt x="1" y="0"/>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5" name="Freeform 479"/>
                <p:cNvSpPr>
                  <a:spLocks/>
                </p:cNvSpPr>
                <p:nvPr>
                  <p:custDataLst>
                    <p:tags r:id="rId461"/>
                  </p:custDataLst>
                </p:nvPr>
              </p:nvSpPr>
              <p:spPr bwMode="gray">
                <a:xfrm>
                  <a:off x="8237650" y="3446886"/>
                  <a:ext cx="80384" cy="31450"/>
                </a:xfrm>
                <a:custGeom>
                  <a:avLst/>
                  <a:gdLst>
                    <a:gd name="T0" fmla="*/ 0 w 8"/>
                    <a:gd name="T1" fmla="*/ 3 h 3"/>
                    <a:gd name="T2" fmla="*/ 3 w 8"/>
                    <a:gd name="T3" fmla="*/ 1 h 3"/>
                    <a:gd name="T4" fmla="*/ 5 w 8"/>
                    <a:gd name="T5" fmla="*/ 1 h 3"/>
                    <a:gd name="T6" fmla="*/ 5 w 8"/>
                    <a:gd name="T7" fmla="*/ 1 h 3"/>
                    <a:gd name="T8" fmla="*/ 6 w 8"/>
                    <a:gd name="T9" fmla="*/ 1 h 3"/>
                    <a:gd name="T10" fmla="*/ 6 w 8"/>
                    <a:gd name="T11" fmla="*/ 1 h 3"/>
                    <a:gd name="T12" fmla="*/ 8 w 8"/>
                    <a:gd name="T13" fmla="*/ 0 h 3"/>
                    <a:gd name="T14" fmla="*/ 8 w 8"/>
                    <a:gd name="T15" fmla="*/ 0 h 3"/>
                    <a:gd name="T16" fmla="*/ 0 w 8"/>
                    <a:gd name="T17" fmla="*/ 3 h 3"/>
                    <a:gd name="T18" fmla="*/ 0 w 8"/>
                    <a:gd name="T19" fmla="*/ 3 h 3"/>
                    <a:gd name="T20" fmla="*/ 0 w 8"/>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3">
                      <a:moveTo>
                        <a:pt x="0" y="3"/>
                      </a:moveTo>
                      <a:cubicBezTo>
                        <a:pt x="0" y="1"/>
                        <a:pt x="2" y="1"/>
                        <a:pt x="3" y="1"/>
                      </a:cubicBezTo>
                      <a:cubicBezTo>
                        <a:pt x="4" y="1"/>
                        <a:pt x="4" y="1"/>
                        <a:pt x="5" y="1"/>
                      </a:cubicBezTo>
                      <a:lnTo>
                        <a:pt x="5" y="1"/>
                      </a:lnTo>
                      <a:lnTo>
                        <a:pt x="6" y="1"/>
                      </a:lnTo>
                      <a:lnTo>
                        <a:pt x="6" y="1"/>
                      </a:lnTo>
                      <a:cubicBezTo>
                        <a:pt x="6" y="0"/>
                        <a:pt x="7" y="0"/>
                        <a:pt x="8" y="0"/>
                      </a:cubicBezTo>
                      <a:cubicBezTo>
                        <a:pt x="8" y="0"/>
                        <a:pt x="8" y="0"/>
                        <a:pt x="8" y="0"/>
                      </a:cubicBezTo>
                      <a:cubicBezTo>
                        <a:pt x="8" y="3"/>
                        <a:pt x="2"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6" name="Freeform 480"/>
                <p:cNvSpPr>
                  <a:spLocks/>
                </p:cNvSpPr>
                <p:nvPr>
                  <p:custDataLst>
                    <p:tags r:id="rId462"/>
                  </p:custDataLst>
                </p:nvPr>
              </p:nvSpPr>
              <p:spPr bwMode="gray">
                <a:xfrm>
                  <a:off x="8278547" y="3467330"/>
                  <a:ext cx="69104" cy="80197"/>
                </a:xfrm>
                <a:custGeom>
                  <a:avLst/>
                  <a:gdLst>
                    <a:gd name="T0" fmla="*/ 0 w 7"/>
                    <a:gd name="T1" fmla="*/ 1 h 7"/>
                    <a:gd name="T2" fmla="*/ 0 w 7"/>
                    <a:gd name="T3" fmla="*/ 3 h 7"/>
                    <a:gd name="T4" fmla="*/ 3 w 7"/>
                    <a:gd name="T5" fmla="*/ 7 h 7"/>
                    <a:gd name="T6" fmla="*/ 6 w 7"/>
                    <a:gd name="T7" fmla="*/ 5 h 7"/>
                    <a:gd name="T8" fmla="*/ 6 w 7"/>
                    <a:gd name="T9" fmla="*/ 5 h 7"/>
                    <a:gd name="T10" fmla="*/ 7 w 7"/>
                    <a:gd name="T11" fmla="*/ 2 h 7"/>
                    <a:gd name="T12" fmla="*/ 7 w 7"/>
                    <a:gd name="T13" fmla="*/ 2 h 7"/>
                    <a:gd name="T14" fmla="*/ 7 w 7"/>
                    <a:gd name="T15" fmla="*/ 2 h 7"/>
                    <a:gd name="T16" fmla="*/ 3 w 7"/>
                    <a:gd name="T17" fmla="*/ 0 h 7"/>
                    <a:gd name="T18" fmla="*/ 0 w 7"/>
                    <a:gd name="T19" fmla="*/ 1 h 7"/>
                    <a:gd name="T20" fmla="*/ 0 w 7"/>
                    <a:gd name="T21" fmla="*/ 1 h 7"/>
                    <a:gd name="T22" fmla="*/ 0 w 7"/>
                    <a:gd name="T2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1"/>
                      </a:moveTo>
                      <a:cubicBezTo>
                        <a:pt x="0" y="2"/>
                        <a:pt x="0" y="2"/>
                        <a:pt x="0" y="3"/>
                      </a:cubicBezTo>
                      <a:cubicBezTo>
                        <a:pt x="0" y="5"/>
                        <a:pt x="1" y="7"/>
                        <a:pt x="3" y="7"/>
                      </a:cubicBezTo>
                      <a:cubicBezTo>
                        <a:pt x="5" y="7"/>
                        <a:pt x="6" y="7"/>
                        <a:pt x="6" y="5"/>
                      </a:cubicBezTo>
                      <a:lnTo>
                        <a:pt x="6" y="5"/>
                      </a:lnTo>
                      <a:lnTo>
                        <a:pt x="7" y="2"/>
                      </a:lnTo>
                      <a:lnTo>
                        <a:pt x="7" y="2"/>
                      </a:lnTo>
                      <a:lnTo>
                        <a:pt x="7" y="2"/>
                      </a:lnTo>
                      <a:cubicBezTo>
                        <a:pt x="5" y="2"/>
                        <a:pt x="5" y="0"/>
                        <a:pt x="3" y="0"/>
                      </a:cubicBezTo>
                      <a:cubicBezTo>
                        <a:pt x="2" y="0"/>
                        <a:pt x="1"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7" name="Freeform 481"/>
                <p:cNvSpPr>
                  <a:spLocks/>
                </p:cNvSpPr>
                <p:nvPr>
                  <p:custDataLst>
                    <p:tags r:id="rId463"/>
                  </p:custDataLst>
                </p:nvPr>
              </p:nvSpPr>
              <p:spPr bwMode="gray">
                <a:xfrm>
                  <a:off x="8388550" y="4050732"/>
                  <a:ext cx="9872" cy="22015"/>
                </a:xfrm>
                <a:custGeom>
                  <a:avLst/>
                  <a:gdLst>
                    <a:gd name="T0" fmla="*/ 1 w 1"/>
                    <a:gd name="T1" fmla="*/ 2 h 2"/>
                    <a:gd name="T2" fmla="*/ 1 w 1"/>
                    <a:gd name="T3" fmla="*/ 0 h 2"/>
                    <a:gd name="T4" fmla="*/ 0 w 1"/>
                    <a:gd name="T5" fmla="*/ 0 h 2"/>
                    <a:gd name="T6" fmla="*/ 1 w 1"/>
                    <a:gd name="T7" fmla="*/ 2 h 2"/>
                    <a:gd name="T8" fmla="*/ 1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1"/>
                        <a:pt x="1" y="1"/>
                        <a:pt x="1" y="0"/>
                      </a:cubicBezTo>
                      <a:cubicBezTo>
                        <a:pt x="1" y="0"/>
                        <a:pt x="1" y="0"/>
                        <a:pt x="0"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8" name="Freeform 482"/>
                <p:cNvSpPr>
                  <a:spLocks/>
                </p:cNvSpPr>
                <p:nvPr>
                  <p:custDataLst>
                    <p:tags r:id="rId464"/>
                  </p:custDataLst>
                </p:nvPr>
              </p:nvSpPr>
              <p:spPr bwMode="gray">
                <a:xfrm>
                  <a:off x="8419575" y="3794412"/>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1" y="0"/>
                        <a:pt x="1" y="0"/>
                      </a:cubicBezTo>
                      <a:cubicBezTo>
                        <a:pt x="1" y="0"/>
                        <a:pt x="1" y="1"/>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49" name="Freeform 483"/>
                <p:cNvSpPr>
                  <a:spLocks/>
                </p:cNvSpPr>
                <p:nvPr>
                  <p:custDataLst>
                    <p:tags r:id="rId465"/>
                  </p:custDataLst>
                </p:nvPr>
              </p:nvSpPr>
              <p:spPr bwMode="gray">
                <a:xfrm>
                  <a:off x="8419575" y="3805420"/>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0" name="Freeform 484"/>
                <p:cNvSpPr>
                  <a:spLocks/>
                </p:cNvSpPr>
                <p:nvPr>
                  <p:custDataLst>
                    <p:tags r:id="rId466"/>
                  </p:custDataLst>
                </p:nvPr>
              </p:nvSpPr>
              <p:spPr bwMode="gray">
                <a:xfrm>
                  <a:off x="8419575" y="3805420"/>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1" name="Freeform 485"/>
                <p:cNvSpPr>
                  <a:spLocks/>
                </p:cNvSpPr>
                <p:nvPr>
                  <p:custDataLst>
                    <p:tags r:id="rId467"/>
                  </p:custDataLst>
                </p:nvPr>
              </p:nvSpPr>
              <p:spPr bwMode="gray">
                <a:xfrm>
                  <a:off x="7745465" y="3512932"/>
                  <a:ext cx="59231" cy="34595"/>
                </a:xfrm>
                <a:custGeom>
                  <a:avLst/>
                  <a:gdLst>
                    <a:gd name="T0" fmla="*/ 0 w 6"/>
                    <a:gd name="T1" fmla="*/ 0 h 3"/>
                    <a:gd name="T2" fmla="*/ 6 w 6"/>
                    <a:gd name="T3" fmla="*/ 3 h 3"/>
                    <a:gd name="T4" fmla="*/ 6 w 6"/>
                    <a:gd name="T5" fmla="*/ 2 h 3"/>
                    <a:gd name="T6" fmla="*/ 0 w 6"/>
                    <a:gd name="T7" fmla="*/ 0 h 3"/>
                    <a:gd name="T8" fmla="*/ 0 w 6"/>
                    <a:gd name="T9" fmla="*/ 0 h 3"/>
                    <a:gd name="T10" fmla="*/ 0 w 6"/>
                    <a:gd name="T11" fmla="*/ 0 h 3"/>
                  </a:gdLst>
                  <a:ahLst/>
                  <a:cxnLst>
                    <a:cxn ang="0">
                      <a:pos x="T0" y="T1"/>
                    </a:cxn>
                    <a:cxn ang="0">
                      <a:pos x="T2" y="T3"/>
                    </a:cxn>
                    <a:cxn ang="0">
                      <a:pos x="T4" y="T5"/>
                    </a:cxn>
                    <a:cxn ang="0">
                      <a:pos x="T6" y="T7"/>
                    </a:cxn>
                    <a:cxn ang="0">
                      <a:pos x="T8" y="T9"/>
                    </a:cxn>
                    <a:cxn ang="0">
                      <a:pos x="T10" y="T11"/>
                    </a:cxn>
                  </a:cxnLst>
                  <a:rect l="0" t="0" r="r" b="b"/>
                  <a:pathLst>
                    <a:path w="6" h="3">
                      <a:moveTo>
                        <a:pt x="0" y="0"/>
                      </a:moveTo>
                      <a:cubicBezTo>
                        <a:pt x="1" y="1"/>
                        <a:pt x="4" y="3"/>
                        <a:pt x="6" y="3"/>
                      </a:cubicBezTo>
                      <a:cubicBezTo>
                        <a:pt x="6" y="3"/>
                        <a:pt x="6" y="3"/>
                        <a:pt x="6" y="2"/>
                      </a:cubicBezTo>
                      <a:cubicBezTo>
                        <a:pt x="6" y="1"/>
                        <a:pt x="2"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2" name="Freeform 486"/>
                <p:cNvSpPr>
                  <a:spLocks/>
                </p:cNvSpPr>
                <p:nvPr>
                  <p:custDataLst>
                    <p:tags r:id="rId468"/>
                  </p:custDataLst>
                </p:nvPr>
              </p:nvSpPr>
              <p:spPr bwMode="gray">
                <a:xfrm>
                  <a:off x="7745465" y="3512932"/>
                  <a:ext cx="9872" cy="1573"/>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3" name="Freeform 487"/>
                <p:cNvSpPr>
                  <a:spLocks/>
                </p:cNvSpPr>
                <p:nvPr>
                  <p:custDataLst>
                    <p:tags r:id="rId469"/>
                  </p:custDataLst>
                </p:nvPr>
              </p:nvSpPr>
              <p:spPr bwMode="gray">
                <a:xfrm>
                  <a:off x="7745465" y="3512932"/>
                  <a:ext cx="9872" cy="1573"/>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4" name="Freeform 488"/>
                <p:cNvSpPr>
                  <a:spLocks/>
                </p:cNvSpPr>
                <p:nvPr>
                  <p:custDataLst>
                    <p:tags r:id="rId470"/>
                  </p:custDataLst>
                </p:nvPr>
              </p:nvSpPr>
              <p:spPr bwMode="gray">
                <a:xfrm>
                  <a:off x="7735594" y="3547527"/>
                  <a:ext cx="19744" cy="33023"/>
                </a:xfrm>
                <a:custGeom>
                  <a:avLst/>
                  <a:gdLst>
                    <a:gd name="T0" fmla="*/ 1 w 2"/>
                    <a:gd name="T1" fmla="*/ 1 h 3"/>
                    <a:gd name="T2" fmla="*/ 0 w 2"/>
                    <a:gd name="T3" fmla="*/ 3 h 3"/>
                    <a:gd name="T4" fmla="*/ 1 w 2"/>
                    <a:gd name="T5" fmla="*/ 3 h 3"/>
                    <a:gd name="T6" fmla="*/ 2 w 2"/>
                    <a:gd name="T7" fmla="*/ 2 h 3"/>
                    <a:gd name="T8" fmla="*/ 2 w 2"/>
                    <a:gd name="T9" fmla="*/ 2 h 3"/>
                    <a:gd name="T10" fmla="*/ 2 w 2"/>
                    <a:gd name="T11" fmla="*/ 0 h 3"/>
                    <a:gd name="T12" fmla="*/ 1 w 2"/>
                    <a:gd name="T13" fmla="*/ 1 h 3"/>
                    <a:gd name="T14" fmla="*/ 1 w 2"/>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1" y="1"/>
                      </a:moveTo>
                      <a:cubicBezTo>
                        <a:pt x="1" y="1"/>
                        <a:pt x="0" y="2"/>
                        <a:pt x="0" y="3"/>
                      </a:cubicBezTo>
                      <a:cubicBezTo>
                        <a:pt x="1" y="3"/>
                        <a:pt x="1" y="3"/>
                        <a:pt x="1" y="3"/>
                      </a:cubicBezTo>
                      <a:cubicBezTo>
                        <a:pt x="2" y="3"/>
                        <a:pt x="2" y="2"/>
                        <a:pt x="2" y="2"/>
                      </a:cubicBezTo>
                      <a:lnTo>
                        <a:pt x="2" y="2"/>
                      </a:lnTo>
                      <a:lnTo>
                        <a:pt x="2" y="0"/>
                      </a:ln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5" name="Freeform 489"/>
                <p:cNvSpPr>
                  <a:spLocks/>
                </p:cNvSpPr>
                <p:nvPr>
                  <p:custDataLst>
                    <p:tags r:id="rId471"/>
                  </p:custDataLst>
                </p:nvPr>
              </p:nvSpPr>
              <p:spPr bwMode="gray">
                <a:xfrm>
                  <a:off x="7755338" y="3558535"/>
                  <a:ext cx="119873" cy="78626"/>
                </a:xfrm>
                <a:custGeom>
                  <a:avLst/>
                  <a:gdLst>
                    <a:gd name="T0" fmla="*/ 1 w 12"/>
                    <a:gd name="T1" fmla="*/ 2 h 7"/>
                    <a:gd name="T2" fmla="*/ 4 w 12"/>
                    <a:gd name="T3" fmla="*/ 0 h 7"/>
                    <a:gd name="T4" fmla="*/ 7 w 12"/>
                    <a:gd name="T5" fmla="*/ 1 h 7"/>
                    <a:gd name="T6" fmla="*/ 12 w 12"/>
                    <a:gd name="T7" fmla="*/ 5 h 7"/>
                    <a:gd name="T8" fmla="*/ 11 w 12"/>
                    <a:gd name="T9" fmla="*/ 6 h 7"/>
                    <a:gd name="T10" fmla="*/ 11 w 12"/>
                    <a:gd name="T11" fmla="*/ 6 h 7"/>
                    <a:gd name="T12" fmla="*/ 6 w 12"/>
                    <a:gd name="T13" fmla="*/ 6 h 7"/>
                    <a:gd name="T14" fmla="*/ 6 w 12"/>
                    <a:gd name="T15" fmla="*/ 6 h 7"/>
                    <a:gd name="T16" fmla="*/ 2 w 12"/>
                    <a:gd name="T17" fmla="*/ 7 h 7"/>
                    <a:gd name="T18" fmla="*/ 0 w 12"/>
                    <a:gd name="T19" fmla="*/ 5 h 7"/>
                    <a:gd name="T20" fmla="*/ 0 w 12"/>
                    <a:gd name="T21" fmla="*/ 3 h 7"/>
                    <a:gd name="T22" fmla="*/ 0 w 12"/>
                    <a:gd name="T23" fmla="*/ 2 h 7"/>
                    <a:gd name="T24" fmla="*/ 1 w 12"/>
                    <a:gd name="T25" fmla="*/ 2 h 7"/>
                    <a:gd name="T26" fmla="*/ 1 w 12"/>
                    <a:gd name="T27" fmla="*/ 2 h 7"/>
                    <a:gd name="T28" fmla="*/ 1 w 12"/>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7">
                      <a:moveTo>
                        <a:pt x="1" y="2"/>
                      </a:moveTo>
                      <a:cubicBezTo>
                        <a:pt x="2" y="2"/>
                        <a:pt x="3" y="0"/>
                        <a:pt x="4" y="0"/>
                      </a:cubicBezTo>
                      <a:cubicBezTo>
                        <a:pt x="6" y="0"/>
                        <a:pt x="6" y="1"/>
                        <a:pt x="7" y="1"/>
                      </a:cubicBezTo>
                      <a:cubicBezTo>
                        <a:pt x="9" y="2"/>
                        <a:pt x="12" y="3"/>
                        <a:pt x="12" y="5"/>
                      </a:cubicBezTo>
                      <a:cubicBezTo>
                        <a:pt x="12" y="6"/>
                        <a:pt x="11" y="6"/>
                        <a:pt x="11" y="6"/>
                      </a:cubicBezTo>
                      <a:lnTo>
                        <a:pt x="11" y="6"/>
                      </a:lnTo>
                      <a:lnTo>
                        <a:pt x="6" y="6"/>
                      </a:lnTo>
                      <a:lnTo>
                        <a:pt x="6" y="6"/>
                      </a:lnTo>
                      <a:cubicBezTo>
                        <a:pt x="4" y="6"/>
                        <a:pt x="4" y="7"/>
                        <a:pt x="2" y="7"/>
                      </a:cubicBezTo>
                      <a:cubicBezTo>
                        <a:pt x="1" y="7"/>
                        <a:pt x="0" y="6"/>
                        <a:pt x="0" y="5"/>
                      </a:cubicBezTo>
                      <a:cubicBezTo>
                        <a:pt x="0" y="4"/>
                        <a:pt x="0" y="4"/>
                        <a:pt x="0" y="3"/>
                      </a:cubicBezTo>
                      <a:cubicBezTo>
                        <a:pt x="0" y="3"/>
                        <a:pt x="0" y="2"/>
                        <a:pt x="0" y="2"/>
                      </a:cubicBezTo>
                      <a:cubicBezTo>
                        <a:pt x="0" y="2"/>
                        <a:pt x="0"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6" name="Freeform 490"/>
                <p:cNvSpPr>
                  <a:spLocks/>
                </p:cNvSpPr>
                <p:nvPr>
                  <p:custDataLst>
                    <p:tags r:id="rId472"/>
                  </p:custDataLst>
                </p:nvPr>
              </p:nvSpPr>
              <p:spPr bwMode="gray">
                <a:xfrm>
                  <a:off x="7714439" y="4016136"/>
                  <a:ext cx="21155"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1"/>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7" name="Freeform 491"/>
                <p:cNvSpPr>
                  <a:spLocks/>
                </p:cNvSpPr>
                <p:nvPr>
                  <p:custDataLst>
                    <p:tags r:id="rId473"/>
                  </p:custDataLst>
                </p:nvPr>
              </p:nvSpPr>
              <p:spPr bwMode="gray">
                <a:xfrm>
                  <a:off x="7776491" y="3917069"/>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8" name="Freeform 492"/>
                <p:cNvSpPr>
                  <a:spLocks/>
                </p:cNvSpPr>
                <p:nvPr>
                  <p:custDataLst>
                    <p:tags r:id="rId474"/>
                  </p:custDataLst>
                </p:nvPr>
              </p:nvSpPr>
              <p:spPr bwMode="gray">
                <a:xfrm>
                  <a:off x="7804697" y="3893481"/>
                  <a:ext cx="21155" cy="23588"/>
                </a:xfrm>
                <a:custGeom>
                  <a:avLst/>
                  <a:gdLst>
                    <a:gd name="T0" fmla="*/ 0 w 2"/>
                    <a:gd name="T1" fmla="*/ 2 h 2"/>
                    <a:gd name="T2" fmla="*/ 2 w 2"/>
                    <a:gd name="T3" fmla="*/ 1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0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2"/>
                      </a:moveTo>
                      <a:cubicBezTo>
                        <a:pt x="1" y="2"/>
                        <a:pt x="1" y="1"/>
                        <a:pt x="2" y="1"/>
                      </a:cubicBezTo>
                      <a:cubicBezTo>
                        <a:pt x="1" y="1"/>
                        <a:pt x="1" y="1"/>
                        <a:pt x="2" y="0"/>
                      </a:cubicBezTo>
                      <a:lnTo>
                        <a:pt x="2" y="0"/>
                      </a:lnTo>
                      <a:lnTo>
                        <a:pt x="0" y="0"/>
                      </a:lnTo>
                      <a:lnTo>
                        <a:pt x="0" y="0"/>
                      </a:lnTo>
                      <a:cubicBezTo>
                        <a:pt x="0" y="1"/>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59" name="Freeform 493"/>
                <p:cNvSpPr>
                  <a:spLocks/>
                </p:cNvSpPr>
                <p:nvPr>
                  <p:custDataLst>
                    <p:tags r:id="rId475"/>
                  </p:custDataLst>
                </p:nvPr>
              </p:nvSpPr>
              <p:spPr bwMode="gray">
                <a:xfrm>
                  <a:off x="7825851" y="3893481"/>
                  <a:ext cx="1410" cy="11009"/>
                </a:xfrm>
                <a:custGeom>
                  <a:avLst/>
                  <a:gdLst>
                    <a:gd name="T0" fmla="*/ 7 h 7"/>
                    <a:gd name="T1" fmla="*/ 0 h 7"/>
                    <a:gd name="T2" fmla="*/ 0 h 7"/>
                    <a:gd name="T3" fmla="*/ 0 h 7"/>
                    <a:gd name="T4" fmla="*/ 0 h 7"/>
                    <a:gd name="T5" fmla="*/ 0 h 7"/>
                    <a:gd name="T6" fmla="*/ 7 h 7"/>
                  </a:gdLst>
                  <a:ahLst/>
                  <a:cxnLst>
                    <a:cxn ang="0">
                      <a:pos x="0" y="T0"/>
                    </a:cxn>
                    <a:cxn ang="0">
                      <a:pos x="0" y="T1"/>
                    </a:cxn>
                    <a:cxn ang="0">
                      <a:pos x="0" y="T2"/>
                    </a:cxn>
                    <a:cxn ang="0">
                      <a:pos x="0" y="T3"/>
                    </a:cxn>
                    <a:cxn ang="0">
                      <a:pos x="0" y="T4"/>
                    </a:cxn>
                    <a:cxn ang="0">
                      <a:pos x="0" y="T5"/>
                    </a:cxn>
                    <a:cxn ang="0">
                      <a:pos x="0" y="T6"/>
                    </a:cxn>
                  </a:cxnLst>
                  <a:rect l="0" t="0" r="r" b="b"/>
                  <a:pathLst>
                    <a:path h="7">
                      <a:moveTo>
                        <a:pt x="0" y="7"/>
                      </a:moveTo>
                      <a:lnTo>
                        <a:pt x="0" y="0"/>
                      </a:lnTo>
                      <a:lnTo>
                        <a:pt x="0" y="0"/>
                      </a:lnTo>
                      <a:lnTo>
                        <a:pt x="0" y="0"/>
                      </a:lnTo>
                      <a:lnTo>
                        <a:pt x="0" y="0"/>
                      </a:lnTo>
                      <a:lnTo>
                        <a:pt x="0"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0" name="Freeform 494"/>
                <p:cNvSpPr>
                  <a:spLocks/>
                </p:cNvSpPr>
                <p:nvPr>
                  <p:custDataLst>
                    <p:tags r:id="rId476"/>
                  </p:custDataLst>
                </p:nvPr>
              </p:nvSpPr>
              <p:spPr bwMode="gray">
                <a:xfrm>
                  <a:off x="7916108" y="3973678"/>
                  <a:ext cx="21154" cy="11008"/>
                </a:xfrm>
                <a:custGeom>
                  <a:avLst/>
                  <a:gdLst>
                    <a:gd name="T0" fmla="*/ 0 w 2"/>
                    <a:gd name="T1" fmla="*/ 0 h 1"/>
                    <a:gd name="T2" fmla="*/ 0 w 2"/>
                    <a:gd name="T3" fmla="*/ 0 h 1"/>
                    <a:gd name="T4" fmla="*/ 1 w 2"/>
                    <a:gd name="T5" fmla="*/ 1 h 1"/>
                    <a:gd name="T6" fmla="*/ 2 w 2"/>
                    <a:gd name="T7" fmla="*/ 1 h 1"/>
                    <a:gd name="T8" fmla="*/ 0 w 2"/>
                    <a:gd name="T9" fmla="*/ 0 h 1"/>
                    <a:gd name="T10" fmla="*/ 0 w 2"/>
                    <a:gd name="T11" fmla="*/ 0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cubicBezTo>
                        <a:pt x="0" y="0"/>
                        <a:pt x="0" y="0"/>
                        <a:pt x="0" y="0"/>
                      </a:cubicBezTo>
                      <a:cubicBezTo>
                        <a:pt x="0" y="1"/>
                        <a:pt x="1" y="1"/>
                        <a:pt x="1" y="1"/>
                      </a:cubicBezTo>
                      <a:cubicBezTo>
                        <a:pt x="1" y="1"/>
                        <a:pt x="2" y="1"/>
                        <a:pt x="2" y="1"/>
                      </a:cubicBezTo>
                      <a:cubicBezTo>
                        <a:pt x="1"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1" name="Freeform 495"/>
                <p:cNvSpPr>
                  <a:spLocks/>
                </p:cNvSpPr>
                <p:nvPr>
                  <p:custDataLst>
                    <p:tags r:id="rId477"/>
                  </p:custDataLst>
                </p:nvPr>
              </p:nvSpPr>
              <p:spPr bwMode="gray">
                <a:xfrm>
                  <a:off x="7916108" y="3973679"/>
                  <a:ext cx="9871" cy="1571"/>
                </a:xfrm>
                <a:custGeom>
                  <a:avLst/>
                  <a:gdLst>
                    <a:gd name="T0" fmla="*/ 7 w 7"/>
                    <a:gd name="T1" fmla="*/ 7 w 7"/>
                    <a:gd name="T2" fmla="*/ 7 w 7"/>
                    <a:gd name="T3" fmla="*/ 7 w 7"/>
                    <a:gd name="T4" fmla="*/ 7 w 7"/>
                    <a:gd name="T5" fmla="*/ 7 w 7"/>
                    <a:gd name="T6" fmla="*/ 7 w 7"/>
                    <a:gd name="T7" fmla="*/ 7 w 7"/>
                    <a:gd name="T8" fmla="*/ 7 w 7"/>
                    <a:gd name="T9" fmla="*/ 7 w 7"/>
                    <a:gd name="T10" fmla="*/ 0 w 7"/>
                    <a:gd name="T11" fmla="*/ 0 w 7"/>
                    <a:gd name="T12" fmla="*/ 0 w 7"/>
                    <a:gd name="T13" fmla="*/ 0 w 7"/>
                    <a:gd name="T14" fmla="*/ 0 w 7"/>
                    <a:gd name="T15" fmla="*/ 0 w 7"/>
                    <a:gd name="T16" fmla="*/ 0 w 7"/>
                    <a:gd name="T17" fmla="*/ 0 w 7"/>
                    <a:gd name="T18" fmla="*/ 0 w 7"/>
                    <a:gd name="T19" fmla="*/ 0 w 7"/>
                    <a:gd name="T20" fmla="*/ 7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7">
                      <a:moveTo>
                        <a:pt x="7" y="0"/>
                      </a:moveTo>
                      <a:lnTo>
                        <a:pt x="7" y="0"/>
                      </a:lnTo>
                      <a:lnTo>
                        <a:pt x="7" y="0"/>
                      </a:lnTo>
                      <a:lnTo>
                        <a:pt x="7" y="0"/>
                      </a:lnTo>
                      <a:lnTo>
                        <a:pt x="7" y="0"/>
                      </a:lnTo>
                      <a:lnTo>
                        <a:pt x="7" y="0"/>
                      </a:lnTo>
                      <a:lnTo>
                        <a:pt x="7" y="0"/>
                      </a:lnTo>
                      <a:lnTo>
                        <a:pt x="7" y="0"/>
                      </a:lnTo>
                      <a:lnTo>
                        <a:pt x="7" y="0"/>
                      </a:lnTo>
                      <a:lnTo>
                        <a:pt x="7" y="0"/>
                      </a:lnTo>
                      <a:lnTo>
                        <a:pt x="0" y="0"/>
                      </a:lnTo>
                      <a:lnTo>
                        <a:pt x="0" y="0"/>
                      </a:lnTo>
                      <a:lnTo>
                        <a:pt x="0" y="0"/>
                      </a:lnTo>
                      <a:lnTo>
                        <a:pt x="0" y="0"/>
                      </a:lnTo>
                      <a:lnTo>
                        <a:pt x="0" y="0"/>
                      </a:ln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2" name="Freeform 496"/>
                <p:cNvSpPr>
                  <a:spLocks/>
                </p:cNvSpPr>
                <p:nvPr>
                  <p:custDataLst>
                    <p:tags r:id="rId478"/>
                  </p:custDataLst>
                </p:nvPr>
              </p:nvSpPr>
              <p:spPr bwMode="gray">
                <a:xfrm>
                  <a:off x="7916108" y="3973679"/>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3" name="Freeform 497"/>
                <p:cNvSpPr>
                  <a:spLocks/>
                </p:cNvSpPr>
                <p:nvPr>
                  <p:custDataLst>
                    <p:tags r:id="rId479"/>
                  </p:custDataLst>
                </p:nvPr>
              </p:nvSpPr>
              <p:spPr bwMode="gray">
                <a:xfrm>
                  <a:off x="7916108" y="3973679"/>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4" name="Freeform 498"/>
                <p:cNvSpPr>
                  <a:spLocks/>
                </p:cNvSpPr>
                <p:nvPr>
                  <p:custDataLst>
                    <p:tags r:id="rId480"/>
                  </p:custDataLst>
                </p:nvPr>
              </p:nvSpPr>
              <p:spPr bwMode="gray">
                <a:xfrm>
                  <a:off x="7957006" y="3984685"/>
                  <a:ext cx="9872" cy="1573"/>
                </a:xfrm>
                <a:custGeom>
                  <a:avLst/>
                  <a:gdLst>
                    <a:gd name="T0" fmla="*/ 0 w 7"/>
                    <a:gd name="T1" fmla="*/ 7 w 7"/>
                    <a:gd name="T2" fmla="*/ 7 w 7"/>
                    <a:gd name="T3" fmla="*/ 7 w 7"/>
                    <a:gd name="T4" fmla="*/ 7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7" y="0"/>
                      </a:lnTo>
                      <a:lnTo>
                        <a:pt x="7" y="0"/>
                      </a:lnTo>
                      <a:lnTo>
                        <a:pt x="7" y="0"/>
                      </a:lnTo>
                      <a:lnTo>
                        <a:pt x="7"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5" name="Freeform 499"/>
                <p:cNvSpPr>
                  <a:spLocks/>
                </p:cNvSpPr>
                <p:nvPr>
                  <p:custDataLst>
                    <p:tags r:id="rId481"/>
                  </p:custDataLst>
                </p:nvPr>
              </p:nvSpPr>
              <p:spPr bwMode="gray">
                <a:xfrm>
                  <a:off x="7947134" y="3973679"/>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6" name="Freeform 500"/>
                <p:cNvSpPr>
                  <a:spLocks/>
                </p:cNvSpPr>
                <p:nvPr>
                  <p:custDataLst>
                    <p:tags r:id="rId482"/>
                  </p:custDataLst>
                </p:nvPr>
              </p:nvSpPr>
              <p:spPr bwMode="gray">
                <a:xfrm>
                  <a:off x="7947134" y="3973679"/>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7" name="Freeform 501"/>
                <p:cNvSpPr>
                  <a:spLocks/>
                </p:cNvSpPr>
                <p:nvPr>
                  <p:custDataLst>
                    <p:tags r:id="rId483"/>
                  </p:custDataLst>
                </p:nvPr>
              </p:nvSpPr>
              <p:spPr bwMode="gray">
                <a:xfrm>
                  <a:off x="7845594" y="3961098"/>
                  <a:ext cx="60642" cy="55038"/>
                </a:xfrm>
                <a:custGeom>
                  <a:avLst/>
                  <a:gdLst>
                    <a:gd name="T0" fmla="*/ 0 w 6"/>
                    <a:gd name="T1" fmla="*/ 4 h 5"/>
                    <a:gd name="T2" fmla="*/ 1 w 6"/>
                    <a:gd name="T3" fmla="*/ 5 h 5"/>
                    <a:gd name="T4" fmla="*/ 1 w 6"/>
                    <a:gd name="T5" fmla="*/ 4 h 5"/>
                    <a:gd name="T6" fmla="*/ 6 w 6"/>
                    <a:gd name="T7" fmla="*/ 1 h 5"/>
                    <a:gd name="T8" fmla="*/ 6 w 6"/>
                    <a:gd name="T9" fmla="*/ 0 h 5"/>
                    <a:gd name="T10" fmla="*/ 0 w 6"/>
                    <a:gd name="T11" fmla="*/ 4 h 5"/>
                    <a:gd name="T12" fmla="*/ 0 w 6"/>
                    <a:gd name="T13" fmla="*/ 4 h 5"/>
                    <a:gd name="T14" fmla="*/ 0 w 6"/>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0" y="4"/>
                      </a:moveTo>
                      <a:cubicBezTo>
                        <a:pt x="0" y="4"/>
                        <a:pt x="0" y="5"/>
                        <a:pt x="1" y="5"/>
                      </a:cubicBezTo>
                      <a:cubicBezTo>
                        <a:pt x="1" y="5"/>
                        <a:pt x="1" y="4"/>
                        <a:pt x="1" y="4"/>
                      </a:cubicBezTo>
                      <a:cubicBezTo>
                        <a:pt x="2" y="2"/>
                        <a:pt x="6" y="4"/>
                        <a:pt x="6" y="1"/>
                      </a:cubicBezTo>
                      <a:cubicBezTo>
                        <a:pt x="6" y="1"/>
                        <a:pt x="6" y="1"/>
                        <a:pt x="6" y="0"/>
                      </a:cubicBezTo>
                      <a:cubicBezTo>
                        <a:pt x="4"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8" name="Freeform 502"/>
                <p:cNvSpPr>
                  <a:spLocks/>
                </p:cNvSpPr>
                <p:nvPr>
                  <p:custDataLst>
                    <p:tags r:id="rId484"/>
                  </p:custDataLst>
                </p:nvPr>
              </p:nvSpPr>
              <p:spPr bwMode="gray">
                <a:xfrm>
                  <a:off x="8378677" y="4072747"/>
                  <a:ext cx="9871" cy="11009"/>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69" name="Freeform 503"/>
                <p:cNvSpPr>
                  <a:spLocks/>
                </p:cNvSpPr>
                <p:nvPr>
                  <p:custDataLst>
                    <p:tags r:id="rId485"/>
                  </p:custDataLst>
                </p:nvPr>
              </p:nvSpPr>
              <p:spPr bwMode="gray">
                <a:xfrm>
                  <a:off x="8539448" y="433221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0" name="Freeform 504"/>
                <p:cNvSpPr>
                  <a:spLocks/>
                </p:cNvSpPr>
                <p:nvPr>
                  <p:custDataLst>
                    <p:tags r:id="rId486"/>
                  </p:custDataLst>
                </p:nvPr>
              </p:nvSpPr>
              <p:spPr bwMode="gray">
                <a:xfrm>
                  <a:off x="8741117" y="4476882"/>
                  <a:ext cx="987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1" name="Freeform 505"/>
                <p:cNvSpPr>
                  <a:spLocks/>
                </p:cNvSpPr>
                <p:nvPr>
                  <p:custDataLst>
                    <p:tags r:id="rId487"/>
                  </p:custDataLst>
                </p:nvPr>
              </p:nvSpPr>
              <p:spPr bwMode="gray">
                <a:xfrm>
                  <a:off x="8631116" y="4297617"/>
                  <a:ext cx="47950" cy="122656"/>
                </a:xfrm>
                <a:custGeom>
                  <a:avLst/>
                  <a:gdLst>
                    <a:gd name="T0" fmla="*/ 0 w 5"/>
                    <a:gd name="T1" fmla="*/ 8 h 11"/>
                    <a:gd name="T2" fmla="*/ 4 w 5"/>
                    <a:gd name="T3" fmla="*/ 0 h 11"/>
                    <a:gd name="T4" fmla="*/ 4 w 5"/>
                    <a:gd name="T5" fmla="*/ 3 h 11"/>
                    <a:gd name="T6" fmla="*/ 1 w 5"/>
                    <a:gd name="T7" fmla="*/ 10 h 11"/>
                    <a:gd name="T8" fmla="*/ 0 w 5"/>
                    <a:gd name="T9" fmla="*/ 11 h 11"/>
                    <a:gd name="T10" fmla="*/ 0 w 5"/>
                    <a:gd name="T11" fmla="*/ 8 h 11"/>
                    <a:gd name="T12" fmla="*/ 0 w 5"/>
                    <a:gd name="T13" fmla="*/ 8 h 11"/>
                    <a:gd name="T14" fmla="*/ 0 w 5"/>
                    <a:gd name="T15" fmla="*/ 8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1">
                      <a:moveTo>
                        <a:pt x="0" y="8"/>
                      </a:moveTo>
                      <a:cubicBezTo>
                        <a:pt x="0" y="6"/>
                        <a:pt x="3" y="1"/>
                        <a:pt x="4" y="0"/>
                      </a:cubicBezTo>
                      <a:cubicBezTo>
                        <a:pt x="5" y="1"/>
                        <a:pt x="4" y="2"/>
                        <a:pt x="4" y="3"/>
                      </a:cubicBezTo>
                      <a:cubicBezTo>
                        <a:pt x="4" y="6"/>
                        <a:pt x="1" y="7"/>
                        <a:pt x="1" y="10"/>
                      </a:cubicBezTo>
                      <a:cubicBezTo>
                        <a:pt x="1" y="11"/>
                        <a:pt x="0" y="11"/>
                        <a:pt x="0" y="11"/>
                      </a:cubicBezTo>
                      <a:cubicBezTo>
                        <a:pt x="0" y="10"/>
                        <a:pt x="0" y="9"/>
                        <a:pt x="0" y="8"/>
                      </a:cubicBezTo>
                      <a:lnTo>
                        <a:pt x="0" y="8"/>
                      </a:lnTo>
                      <a:lnTo>
                        <a:pt x="0"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2" name="Freeform 506"/>
                <p:cNvSpPr>
                  <a:spLocks/>
                </p:cNvSpPr>
                <p:nvPr>
                  <p:custDataLst>
                    <p:tags r:id="rId488"/>
                  </p:custDataLst>
                </p:nvPr>
              </p:nvSpPr>
              <p:spPr bwMode="gray">
                <a:xfrm>
                  <a:off x="8580345" y="4343219"/>
                  <a:ext cx="39488" cy="77053"/>
                </a:xfrm>
                <a:custGeom>
                  <a:avLst/>
                  <a:gdLst>
                    <a:gd name="T0" fmla="*/ 2 w 4"/>
                    <a:gd name="T1" fmla="*/ 7 h 7"/>
                    <a:gd name="T2" fmla="*/ 2 w 4"/>
                    <a:gd name="T3" fmla="*/ 4 h 7"/>
                    <a:gd name="T4" fmla="*/ 0 w 4"/>
                    <a:gd name="T5" fmla="*/ 3 h 7"/>
                    <a:gd name="T6" fmla="*/ 4 w 4"/>
                    <a:gd name="T7" fmla="*/ 0 h 7"/>
                    <a:gd name="T8" fmla="*/ 4 w 4"/>
                    <a:gd name="T9" fmla="*/ 1 h 7"/>
                    <a:gd name="T10" fmla="*/ 4 w 4"/>
                    <a:gd name="T11" fmla="*/ 1 h 7"/>
                    <a:gd name="T12" fmla="*/ 3 w 4"/>
                    <a:gd name="T13" fmla="*/ 4 h 7"/>
                    <a:gd name="T14" fmla="*/ 3 w 4"/>
                    <a:gd name="T15" fmla="*/ 4 h 7"/>
                    <a:gd name="T16" fmla="*/ 4 w 4"/>
                    <a:gd name="T17" fmla="*/ 4 h 7"/>
                    <a:gd name="T18" fmla="*/ 2 w 4"/>
                    <a:gd name="T19" fmla="*/ 7 h 7"/>
                    <a:gd name="T20" fmla="*/ 2 w 4"/>
                    <a:gd name="T21" fmla="*/ 7 h 7"/>
                    <a:gd name="T22" fmla="*/ 2 w 4"/>
                    <a:gd name="T2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2" y="7"/>
                      </a:moveTo>
                      <a:cubicBezTo>
                        <a:pt x="2" y="5"/>
                        <a:pt x="3" y="6"/>
                        <a:pt x="2" y="4"/>
                      </a:cubicBezTo>
                      <a:cubicBezTo>
                        <a:pt x="1" y="4"/>
                        <a:pt x="0" y="3"/>
                        <a:pt x="0" y="3"/>
                      </a:cubicBezTo>
                      <a:cubicBezTo>
                        <a:pt x="0" y="2"/>
                        <a:pt x="1" y="2"/>
                        <a:pt x="4" y="0"/>
                      </a:cubicBezTo>
                      <a:cubicBezTo>
                        <a:pt x="4" y="0"/>
                        <a:pt x="4" y="1"/>
                        <a:pt x="4" y="1"/>
                      </a:cubicBezTo>
                      <a:lnTo>
                        <a:pt x="4" y="1"/>
                      </a:lnTo>
                      <a:lnTo>
                        <a:pt x="3" y="4"/>
                      </a:lnTo>
                      <a:lnTo>
                        <a:pt x="3" y="4"/>
                      </a:lnTo>
                      <a:cubicBezTo>
                        <a:pt x="3" y="4"/>
                        <a:pt x="4" y="4"/>
                        <a:pt x="4" y="4"/>
                      </a:cubicBezTo>
                      <a:cubicBezTo>
                        <a:pt x="4" y="6"/>
                        <a:pt x="3"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3" name="Freeform 507"/>
                <p:cNvSpPr>
                  <a:spLocks/>
                </p:cNvSpPr>
                <p:nvPr>
                  <p:custDataLst>
                    <p:tags r:id="rId489"/>
                  </p:custDataLst>
                </p:nvPr>
              </p:nvSpPr>
              <p:spPr bwMode="gray">
                <a:xfrm>
                  <a:off x="8931503" y="4487890"/>
                  <a:ext cx="21154" cy="45603"/>
                </a:xfrm>
                <a:custGeom>
                  <a:avLst/>
                  <a:gdLst>
                    <a:gd name="T0" fmla="*/ 0 w 2"/>
                    <a:gd name="T1" fmla="*/ 4 h 4"/>
                    <a:gd name="T2" fmla="*/ 0 w 2"/>
                    <a:gd name="T3" fmla="*/ 0 h 4"/>
                    <a:gd name="T4" fmla="*/ 2 w 2"/>
                    <a:gd name="T5" fmla="*/ 0 h 4"/>
                    <a:gd name="T6" fmla="*/ 2 w 2"/>
                    <a:gd name="T7" fmla="*/ 0 h 4"/>
                    <a:gd name="T8" fmla="*/ 0 w 2"/>
                    <a:gd name="T9" fmla="*/ 4 h 4"/>
                    <a:gd name="T10" fmla="*/ 0 w 2"/>
                    <a:gd name="T11" fmla="*/ 4 h 4"/>
                    <a:gd name="T12" fmla="*/ 0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4"/>
                      </a:moveTo>
                      <a:lnTo>
                        <a:pt x="0" y="0"/>
                      </a:lnTo>
                      <a:lnTo>
                        <a:pt x="2" y="0"/>
                      </a:lnTo>
                      <a:lnTo>
                        <a:pt x="2" y="0"/>
                      </a:lnTo>
                      <a:cubicBezTo>
                        <a:pt x="2" y="1"/>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4" name="Freeform 508"/>
                <p:cNvSpPr>
                  <a:spLocks/>
                </p:cNvSpPr>
                <p:nvPr>
                  <p:custDataLst>
                    <p:tags r:id="rId490"/>
                  </p:custDataLst>
                </p:nvPr>
              </p:nvSpPr>
              <p:spPr bwMode="gray">
                <a:xfrm>
                  <a:off x="8811630" y="4465874"/>
                  <a:ext cx="69104" cy="144672"/>
                </a:xfrm>
                <a:custGeom>
                  <a:avLst/>
                  <a:gdLst>
                    <a:gd name="T0" fmla="*/ 1 w 7"/>
                    <a:gd name="T1" fmla="*/ 3 h 13"/>
                    <a:gd name="T2" fmla="*/ 0 w 7"/>
                    <a:gd name="T3" fmla="*/ 7 h 13"/>
                    <a:gd name="T4" fmla="*/ 0 w 7"/>
                    <a:gd name="T5" fmla="*/ 7 h 13"/>
                    <a:gd name="T6" fmla="*/ 0 w 7"/>
                    <a:gd name="T7" fmla="*/ 11 h 13"/>
                    <a:gd name="T8" fmla="*/ 3 w 7"/>
                    <a:gd name="T9" fmla="*/ 13 h 13"/>
                    <a:gd name="T10" fmla="*/ 7 w 7"/>
                    <a:gd name="T11" fmla="*/ 7 h 13"/>
                    <a:gd name="T12" fmla="*/ 4 w 7"/>
                    <a:gd name="T13" fmla="*/ 4 h 13"/>
                    <a:gd name="T14" fmla="*/ 3 w 7"/>
                    <a:gd name="T15" fmla="*/ 1 h 13"/>
                    <a:gd name="T16" fmla="*/ 1 w 7"/>
                    <a:gd name="T17" fmla="*/ 0 h 13"/>
                    <a:gd name="T18" fmla="*/ 1 w 7"/>
                    <a:gd name="T19" fmla="*/ 1 h 13"/>
                    <a:gd name="T20" fmla="*/ 1 w 7"/>
                    <a:gd name="T21" fmla="*/ 3 h 13"/>
                    <a:gd name="T22" fmla="*/ 1 w 7"/>
                    <a:gd name="T23" fmla="*/ 3 h 13"/>
                    <a:gd name="T24" fmla="*/ 1 w 7"/>
                    <a:gd name="T2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3">
                      <a:moveTo>
                        <a:pt x="1" y="3"/>
                      </a:moveTo>
                      <a:lnTo>
                        <a:pt x="0" y="7"/>
                      </a:lnTo>
                      <a:lnTo>
                        <a:pt x="0" y="7"/>
                      </a:lnTo>
                      <a:cubicBezTo>
                        <a:pt x="1" y="8"/>
                        <a:pt x="0" y="9"/>
                        <a:pt x="0" y="11"/>
                      </a:cubicBezTo>
                      <a:cubicBezTo>
                        <a:pt x="0" y="11"/>
                        <a:pt x="2" y="13"/>
                        <a:pt x="3" y="13"/>
                      </a:cubicBezTo>
                      <a:cubicBezTo>
                        <a:pt x="5" y="13"/>
                        <a:pt x="7" y="8"/>
                        <a:pt x="7" y="7"/>
                      </a:cubicBezTo>
                      <a:cubicBezTo>
                        <a:pt x="7" y="5"/>
                        <a:pt x="5" y="4"/>
                        <a:pt x="4" y="4"/>
                      </a:cubicBezTo>
                      <a:cubicBezTo>
                        <a:pt x="3" y="3"/>
                        <a:pt x="4" y="2"/>
                        <a:pt x="3" y="1"/>
                      </a:cubicBezTo>
                      <a:cubicBezTo>
                        <a:pt x="3" y="1"/>
                        <a:pt x="1" y="0"/>
                        <a:pt x="1" y="0"/>
                      </a:cubicBezTo>
                      <a:cubicBezTo>
                        <a:pt x="1" y="0"/>
                        <a:pt x="1" y="1"/>
                        <a:pt x="1" y="1"/>
                      </a:cubicBezTo>
                      <a:cubicBezTo>
                        <a:pt x="1"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5" name="Freeform 509"/>
                <p:cNvSpPr>
                  <a:spLocks/>
                </p:cNvSpPr>
                <p:nvPr>
                  <p:custDataLst>
                    <p:tags r:id="rId491"/>
                  </p:custDataLst>
                </p:nvPr>
              </p:nvSpPr>
              <p:spPr bwMode="gray">
                <a:xfrm>
                  <a:off x="8860990" y="4487890"/>
                  <a:ext cx="40897" cy="45603"/>
                </a:xfrm>
                <a:custGeom>
                  <a:avLst/>
                  <a:gdLst>
                    <a:gd name="T0" fmla="*/ 0 w 4"/>
                    <a:gd name="T1" fmla="*/ 1 h 4"/>
                    <a:gd name="T2" fmla="*/ 3 w 4"/>
                    <a:gd name="T3" fmla="*/ 4 h 4"/>
                    <a:gd name="T4" fmla="*/ 4 w 4"/>
                    <a:gd name="T5" fmla="*/ 3 h 4"/>
                    <a:gd name="T6" fmla="*/ 0 w 4"/>
                    <a:gd name="T7" fmla="*/ 0 h 4"/>
                    <a:gd name="T8" fmla="*/ 0 w 4"/>
                    <a:gd name="T9" fmla="*/ 1 h 4"/>
                    <a:gd name="T10" fmla="*/ 0 w 4"/>
                    <a:gd name="T11" fmla="*/ 1 h 4"/>
                    <a:gd name="T12" fmla="*/ 0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1"/>
                      </a:moveTo>
                      <a:cubicBezTo>
                        <a:pt x="0" y="2"/>
                        <a:pt x="2" y="4"/>
                        <a:pt x="3" y="4"/>
                      </a:cubicBezTo>
                      <a:cubicBezTo>
                        <a:pt x="4" y="4"/>
                        <a:pt x="4" y="3"/>
                        <a:pt x="4" y="3"/>
                      </a:cubicBezTo>
                      <a:cubicBezTo>
                        <a:pt x="4" y="2"/>
                        <a:pt x="2" y="0"/>
                        <a:pt x="0" y="0"/>
                      </a:cubicBez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6" name="Freeform 511"/>
                <p:cNvSpPr>
                  <a:spLocks/>
                </p:cNvSpPr>
                <p:nvPr>
                  <p:custDataLst>
                    <p:tags r:id="rId492"/>
                  </p:custDataLst>
                </p:nvPr>
              </p:nvSpPr>
              <p:spPr bwMode="gray">
                <a:xfrm>
                  <a:off x="8829964" y="4409264"/>
                  <a:ext cx="21154" cy="1573"/>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7" name="Freeform 512"/>
                <p:cNvSpPr>
                  <a:spLocks/>
                </p:cNvSpPr>
                <p:nvPr>
                  <p:custDataLst>
                    <p:tags r:id="rId493"/>
                  </p:custDataLst>
                </p:nvPr>
              </p:nvSpPr>
              <p:spPr bwMode="gray">
                <a:xfrm>
                  <a:off x="8298292" y="4824408"/>
                  <a:ext cx="49360" cy="56611"/>
                </a:xfrm>
                <a:custGeom>
                  <a:avLst/>
                  <a:gdLst>
                    <a:gd name="T0" fmla="*/ 4 w 5"/>
                    <a:gd name="T1" fmla="*/ 0 h 5"/>
                    <a:gd name="T2" fmla="*/ 5 w 5"/>
                    <a:gd name="T3" fmla="*/ 1 h 5"/>
                    <a:gd name="T4" fmla="*/ 0 w 5"/>
                    <a:gd name="T5" fmla="*/ 5 h 5"/>
                    <a:gd name="T6" fmla="*/ 4 w 5"/>
                    <a:gd name="T7" fmla="*/ 0 h 5"/>
                    <a:gd name="T8" fmla="*/ 4 w 5"/>
                    <a:gd name="T9" fmla="*/ 0 h 5"/>
                    <a:gd name="T10" fmla="*/ 4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4" y="0"/>
                      </a:moveTo>
                      <a:cubicBezTo>
                        <a:pt x="5" y="0"/>
                        <a:pt x="5" y="1"/>
                        <a:pt x="5" y="1"/>
                      </a:cubicBezTo>
                      <a:cubicBezTo>
                        <a:pt x="4" y="3"/>
                        <a:pt x="1" y="4"/>
                        <a:pt x="0" y="5"/>
                      </a:cubicBezTo>
                      <a:cubicBezTo>
                        <a:pt x="0" y="2"/>
                        <a:pt x="3" y="2"/>
                        <a:pt x="4" y="0"/>
                      </a:cubicBezTo>
                      <a:lnTo>
                        <a:pt x="4" y="0"/>
                      </a:lnTo>
                      <a:lnTo>
                        <a:pt x="4"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8" name="Freeform 513"/>
                <p:cNvSpPr>
                  <a:spLocks/>
                </p:cNvSpPr>
                <p:nvPr>
                  <p:custDataLst>
                    <p:tags r:id="rId494"/>
                  </p:custDataLst>
                </p:nvPr>
              </p:nvSpPr>
              <p:spPr bwMode="gray">
                <a:xfrm>
                  <a:off x="8347651" y="4634133"/>
                  <a:ext cx="101540" cy="190274"/>
                </a:xfrm>
                <a:custGeom>
                  <a:avLst/>
                  <a:gdLst>
                    <a:gd name="T0" fmla="*/ 1 w 10"/>
                    <a:gd name="T1" fmla="*/ 11 h 17"/>
                    <a:gd name="T2" fmla="*/ 1 w 10"/>
                    <a:gd name="T3" fmla="*/ 11 h 17"/>
                    <a:gd name="T4" fmla="*/ 1 w 10"/>
                    <a:gd name="T5" fmla="*/ 8 h 17"/>
                    <a:gd name="T6" fmla="*/ 5 w 10"/>
                    <a:gd name="T7" fmla="*/ 4 h 17"/>
                    <a:gd name="T8" fmla="*/ 8 w 10"/>
                    <a:gd name="T9" fmla="*/ 0 h 17"/>
                    <a:gd name="T10" fmla="*/ 10 w 10"/>
                    <a:gd name="T11" fmla="*/ 1 h 17"/>
                    <a:gd name="T12" fmla="*/ 8 w 10"/>
                    <a:gd name="T13" fmla="*/ 7 h 17"/>
                    <a:gd name="T14" fmla="*/ 8 w 10"/>
                    <a:gd name="T15" fmla="*/ 7 h 17"/>
                    <a:gd name="T16" fmla="*/ 9 w 10"/>
                    <a:gd name="T17" fmla="*/ 8 h 17"/>
                    <a:gd name="T18" fmla="*/ 9 w 10"/>
                    <a:gd name="T19" fmla="*/ 8 h 17"/>
                    <a:gd name="T20" fmla="*/ 4 w 10"/>
                    <a:gd name="T21" fmla="*/ 15 h 17"/>
                    <a:gd name="T22" fmla="*/ 4 w 10"/>
                    <a:gd name="T23" fmla="*/ 15 h 17"/>
                    <a:gd name="T24" fmla="*/ 3 w 10"/>
                    <a:gd name="T25" fmla="*/ 16 h 17"/>
                    <a:gd name="T26" fmla="*/ 3 w 10"/>
                    <a:gd name="T27" fmla="*/ 16 h 17"/>
                    <a:gd name="T28" fmla="*/ 2 w 10"/>
                    <a:gd name="T29" fmla="*/ 16 h 17"/>
                    <a:gd name="T30" fmla="*/ 0 w 10"/>
                    <a:gd name="T31" fmla="*/ 16 h 17"/>
                    <a:gd name="T32" fmla="*/ 1 w 10"/>
                    <a:gd name="T33" fmla="*/ 11 h 17"/>
                    <a:gd name="T34" fmla="*/ 1 w 10"/>
                    <a:gd name="T35" fmla="*/ 11 h 17"/>
                    <a:gd name="T36" fmla="*/ 1 w 10"/>
                    <a:gd name="T3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7">
                      <a:moveTo>
                        <a:pt x="1" y="11"/>
                      </a:moveTo>
                      <a:cubicBezTo>
                        <a:pt x="1" y="11"/>
                        <a:pt x="1" y="11"/>
                        <a:pt x="1" y="11"/>
                      </a:cubicBezTo>
                      <a:cubicBezTo>
                        <a:pt x="1" y="10"/>
                        <a:pt x="1" y="9"/>
                        <a:pt x="1" y="8"/>
                      </a:cubicBezTo>
                      <a:cubicBezTo>
                        <a:pt x="2" y="6"/>
                        <a:pt x="5" y="6"/>
                        <a:pt x="5" y="4"/>
                      </a:cubicBezTo>
                      <a:cubicBezTo>
                        <a:pt x="5" y="4"/>
                        <a:pt x="8" y="0"/>
                        <a:pt x="8" y="0"/>
                      </a:cubicBezTo>
                      <a:cubicBezTo>
                        <a:pt x="9" y="0"/>
                        <a:pt x="9" y="1"/>
                        <a:pt x="10" y="1"/>
                      </a:cubicBezTo>
                      <a:cubicBezTo>
                        <a:pt x="9" y="2"/>
                        <a:pt x="8" y="5"/>
                        <a:pt x="8" y="7"/>
                      </a:cubicBezTo>
                      <a:lnTo>
                        <a:pt x="8" y="7"/>
                      </a:lnTo>
                      <a:lnTo>
                        <a:pt x="9" y="8"/>
                      </a:lnTo>
                      <a:lnTo>
                        <a:pt x="9" y="8"/>
                      </a:lnTo>
                      <a:cubicBezTo>
                        <a:pt x="8" y="10"/>
                        <a:pt x="4" y="12"/>
                        <a:pt x="4" y="15"/>
                      </a:cubicBezTo>
                      <a:cubicBezTo>
                        <a:pt x="4" y="15"/>
                        <a:pt x="4" y="15"/>
                        <a:pt x="4" y="15"/>
                      </a:cubicBezTo>
                      <a:cubicBezTo>
                        <a:pt x="4" y="16"/>
                        <a:pt x="3" y="16"/>
                        <a:pt x="3" y="16"/>
                      </a:cubicBezTo>
                      <a:cubicBezTo>
                        <a:pt x="3" y="16"/>
                        <a:pt x="3" y="16"/>
                        <a:pt x="3" y="16"/>
                      </a:cubicBezTo>
                      <a:cubicBezTo>
                        <a:pt x="2" y="16"/>
                        <a:pt x="2" y="16"/>
                        <a:pt x="2" y="16"/>
                      </a:cubicBezTo>
                      <a:cubicBezTo>
                        <a:pt x="1" y="16"/>
                        <a:pt x="0" y="17"/>
                        <a:pt x="0" y="16"/>
                      </a:cubicBezTo>
                      <a:cubicBezTo>
                        <a:pt x="0" y="14"/>
                        <a:pt x="1" y="13"/>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79" name="Freeform 514"/>
                <p:cNvSpPr>
                  <a:spLocks/>
                </p:cNvSpPr>
                <p:nvPr>
                  <p:custDataLst>
                    <p:tags r:id="rId495"/>
                  </p:custDataLst>
                </p:nvPr>
              </p:nvSpPr>
              <p:spPr bwMode="gray">
                <a:xfrm>
                  <a:off x="8086750" y="4767798"/>
                  <a:ext cx="60642" cy="56611"/>
                </a:xfrm>
                <a:custGeom>
                  <a:avLst/>
                  <a:gdLst>
                    <a:gd name="T0" fmla="*/ 1 w 6"/>
                    <a:gd name="T1" fmla="*/ 1 h 5"/>
                    <a:gd name="T2" fmla="*/ 4 w 6"/>
                    <a:gd name="T3" fmla="*/ 4 h 5"/>
                    <a:gd name="T4" fmla="*/ 6 w 6"/>
                    <a:gd name="T5" fmla="*/ 3 h 5"/>
                    <a:gd name="T6" fmla="*/ 6 w 6"/>
                    <a:gd name="T7" fmla="*/ 1 h 5"/>
                    <a:gd name="T8" fmla="*/ 3 w 6"/>
                    <a:gd name="T9" fmla="*/ 0 h 5"/>
                    <a:gd name="T10" fmla="*/ 1 w 6"/>
                    <a:gd name="T11" fmla="*/ 1 h 5"/>
                    <a:gd name="T12" fmla="*/ 1 w 6"/>
                    <a:gd name="T13" fmla="*/ 1 h 5"/>
                    <a:gd name="T14" fmla="*/ 1 w 6"/>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1" y="1"/>
                      </a:moveTo>
                      <a:cubicBezTo>
                        <a:pt x="0" y="4"/>
                        <a:pt x="3" y="3"/>
                        <a:pt x="4" y="4"/>
                      </a:cubicBezTo>
                      <a:cubicBezTo>
                        <a:pt x="4" y="5"/>
                        <a:pt x="6" y="4"/>
                        <a:pt x="6" y="3"/>
                      </a:cubicBezTo>
                      <a:cubicBezTo>
                        <a:pt x="6" y="3"/>
                        <a:pt x="6" y="1"/>
                        <a:pt x="6" y="1"/>
                      </a:cubicBezTo>
                      <a:cubicBezTo>
                        <a:pt x="5" y="0"/>
                        <a:pt x="4" y="0"/>
                        <a:pt x="3" y="0"/>
                      </a:cubicBezTo>
                      <a:cubicBezTo>
                        <a:pt x="2" y="0"/>
                        <a:pt x="2" y="1"/>
                        <a:pt x="1" y="1"/>
                      </a:cubicBezTo>
                      <a:lnTo>
                        <a:pt x="1" y="1"/>
                      </a:lnTo>
                      <a:lnTo>
                        <a:pt x="1"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0" name="Freeform 515"/>
                <p:cNvSpPr>
                  <a:spLocks/>
                </p:cNvSpPr>
                <p:nvPr>
                  <p:custDataLst>
                    <p:tags r:id="rId496"/>
                  </p:custDataLst>
                </p:nvPr>
              </p:nvSpPr>
              <p:spPr bwMode="gray">
                <a:xfrm>
                  <a:off x="7937262" y="4634135"/>
                  <a:ext cx="19744" cy="22015"/>
                </a:xfrm>
                <a:custGeom>
                  <a:avLst/>
                  <a:gdLst>
                    <a:gd name="T0" fmla="*/ 0 w 2"/>
                    <a:gd name="T1" fmla="*/ 2 h 2"/>
                    <a:gd name="T2" fmla="*/ 2 w 2"/>
                    <a:gd name="T3" fmla="*/ 2 h 2"/>
                    <a:gd name="T4" fmla="*/ 1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cubicBezTo>
                        <a:pt x="0" y="2"/>
                        <a:pt x="2" y="2"/>
                        <a:pt x="2" y="2"/>
                      </a:cubicBezTo>
                      <a:cubicBezTo>
                        <a:pt x="2" y="1"/>
                        <a:pt x="1" y="1"/>
                        <a:pt x="1" y="0"/>
                      </a:cubicBezTo>
                      <a:cubicBezTo>
                        <a:pt x="1"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1" name="Freeform 516"/>
                <p:cNvSpPr>
                  <a:spLocks/>
                </p:cNvSpPr>
                <p:nvPr>
                  <p:custDataLst>
                    <p:tags r:id="rId497"/>
                  </p:custDataLst>
                </p:nvPr>
              </p:nvSpPr>
              <p:spPr bwMode="gray">
                <a:xfrm>
                  <a:off x="7714438" y="4813401"/>
                  <a:ext cx="11282" cy="22015"/>
                </a:xfrm>
                <a:custGeom>
                  <a:avLst/>
                  <a:gdLst>
                    <a:gd name="T0" fmla="*/ 0 w 1"/>
                    <a:gd name="T1" fmla="*/ 0 h 2"/>
                    <a:gd name="T2" fmla="*/ 1 w 1"/>
                    <a:gd name="T3" fmla="*/ 2 h 2"/>
                    <a:gd name="T4" fmla="*/ 1 w 1"/>
                    <a:gd name="T5" fmla="*/ 0 h 2"/>
                    <a:gd name="T6" fmla="*/ 1 w 1"/>
                    <a:gd name="T7" fmla="*/ 0 h 2"/>
                    <a:gd name="T8" fmla="*/ 0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cubicBezTo>
                        <a:pt x="0" y="1"/>
                        <a:pt x="0" y="2"/>
                        <a:pt x="1" y="2"/>
                      </a:cubicBezTo>
                      <a:cubicBezTo>
                        <a:pt x="1" y="1"/>
                        <a:pt x="1" y="1"/>
                        <a:pt x="1" y="0"/>
                      </a:cubicBezTo>
                      <a:lnTo>
                        <a:pt x="1"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2" name="Freeform 517"/>
                <p:cNvSpPr>
                  <a:spLocks/>
                </p:cNvSpPr>
                <p:nvPr>
                  <p:custDataLst>
                    <p:tags r:id="rId498"/>
                  </p:custDataLst>
                </p:nvPr>
              </p:nvSpPr>
              <p:spPr bwMode="gray">
                <a:xfrm>
                  <a:off x="7745465" y="4723767"/>
                  <a:ext cx="19744" cy="20443"/>
                </a:xfrm>
                <a:custGeom>
                  <a:avLst/>
                  <a:gdLst>
                    <a:gd name="T0" fmla="*/ 0 w 2"/>
                    <a:gd name="T1" fmla="*/ 0 h 2"/>
                    <a:gd name="T2" fmla="*/ 1 w 2"/>
                    <a:gd name="T3" fmla="*/ 2 h 2"/>
                    <a:gd name="T4" fmla="*/ 2 w 2"/>
                    <a:gd name="T5" fmla="*/ 1 h 2"/>
                    <a:gd name="T6" fmla="*/ 0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1" y="2"/>
                        <a:pt x="1" y="2"/>
                      </a:cubicBezTo>
                      <a:cubicBezTo>
                        <a:pt x="1" y="2"/>
                        <a:pt x="2" y="2"/>
                        <a:pt x="2" y="1"/>
                      </a:cubicBezTo>
                      <a:cubicBezTo>
                        <a:pt x="2"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3" name="Freeform 518"/>
                <p:cNvSpPr>
                  <a:spLocks/>
                </p:cNvSpPr>
                <p:nvPr>
                  <p:custDataLst>
                    <p:tags r:id="rId499"/>
                  </p:custDataLst>
                </p:nvPr>
              </p:nvSpPr>
              <p:spPr bwMode="gray">
                <a:xfrm>
                  <a:off x="7796235" y="4835416"/>
                  <a:ext cx="1833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2" y="0"/>
                        <a:pt x="2" y="1"/>
                        <a:pt x="2" y="1"/>
                      </a:cubicBezTo>
                      <a:cubicBezTo>
                        <a:pt x="2" y="2"/>
                        <a:pt x="2"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4" name="Freeform 519"/>
                <p:cNvSpPr>
                  <a:spLocks/>
                </p:cNvSpPr>
                <p:nvPr>
                  <p:custDataLst>
                    <p:tags r:id="rId500"/>
                  </p:custDataLst>
                </p:nvPr>
              </p:nvSpPr>
              <p:spPr bwMode="gray">
                <a:xfrm>
                  <a:off x="7875210" y="4857431"/>
                  <a:ext cx="11282" cy="12580"/>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1"/>
                        <a:pt x="1" y="1"/>
                        <a:pt x="1"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5" name="Freeform 520"/>
                <p:cNvSpPr>
                  <a:spLocks/>
                </p:cNvSpPr>
                <p:nvPr>
                  <p:custDataLst>
                    <p:tags r:id="rId501"/>
                  </p:custDataLst>
                </p:nvPr>
              </p:nvSpPr>
              <p:spPr bwMode="gray">
                <a:xfrm>
                  <a:off x="7865339" y="4857431"/>
                  <a:ext cx="21154" cy="1571"/>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6" name="Freeform 521"/>
                <p:cNvSpPr>
                  <a:spLocks/>
                </p:cNvSpPr>
                <p:nvPr>
                  <p:custDataLst>
                    <p:tags r:id="rId502"/>
                  </p:custDataLst>
                </p:nvPr>
              </p:nvSpPr>
              <p:spPr bwMode="gray">
                <a:xfrm>
                  <a:off x="7865339" y="4857431"/>
                  <a:ext cx="21154" cy="1571"/>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7" name="Freeform 522"/>
                <p:cNvSpPr>
                  <a:spLocks/>
                </p:cNvSpPr>
                <p:nvPr>
                  <p:custDataLst>
                    <p:tags r:id="rId503"/>
                  </p:custDataLst>
                </p:nvPr>
              </p:nvSpPr>
              <p:spPr bwMode="gray">
                <a:xfrm>
                  <a:off x="7825851" y="4835416"/>
                  <a:ext cx="49359" cy="34595"/>
                </a:xfrm>
                <a:custGeom>
                  <a:avLst/>
                  <a:gdLst>
                    <a:gd name="T0" fmla="*/ 0 w 5"/>
                    <a:gd name="T1" fmla="*/ 2 h 3"/>
                    <a:gd name="T2" fmla="*/ 0 w 5"/>
                    <a:gd name="T3" fmla="*/ 0 h 3"/>
                    <a:gd name="T4" fmla="*/ 1 w 5"/>
                    <a:gd name="T5" fmla="*/ 0 h 3"/>
                    <a:gd name="T6" fmla="*/ 5 w 5"/>
                    <a:gd name="T7" fmla="*/ 1 h 3"/>
                    <a:gd name="T8" fmla="*/ 5 w 5"/>
                    <a:gd name="T9" fmla="*/ 1 h 3"/>
                    <a:gd name="T10" fmla="*/ 5 w 5"/>
                    <a:gd name="T11" fmla="*/ 2 h 3"/>
                    <a:gd name="T12" fmla="*/ 3 w 5"/>
                    <a:gd name="T13" fmla="*/ 3 h 3"/>
                    <a:gd name="T14" fmla="*/ 3 w 5"/>
                    <a:gd name="T15" fmla="*/ 3 h 3"/>
                    <a:gd name="T16" fmla="*/ 1 w 5"/>
                    <a:gd name="T17" fmla="*/ 2 h 3"/>
                    <a:gd name="T18" fmla="*/ 0 w 5"/>
                    <a:gd name="T19" fmla="*/ 2 h 3"/>
                    <a:gd name="T20" fmla="*/ 0 w 5"/>
                    <a:gd name="T21" fmla="*/ 2 h 3"/>
                    <a:gd name="T22" fmla="*/ 0 w 5"/>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3">
                      <a:moveTo>
                        <a:pt x="0" y="2"/>
                      </a:moveTo>
                      <a:cubicBezTo>
                        <a:pt x="0" y="2"/>
                        <a:pt x="0" y="1"/>
                        <a:pt x="0" y="0"/>
                      </a:cubicBezTo>
                      <a:cubicBezTo>
                        <a:pt x="0" y="0"/>
                        <a:pt x="0" y="0"/>
                        <a:pt x="1" y="0"/>
                      </a:cubicBezTo>
                      <a:cubicBezTo>
                        <a:pt x="2" y="0"/>
                        <a:pt x="3" y="1"/>
                        <a:pt x="5" y="1"/>
                      </a:cubicBezTo>
                      <a:lnTo>
                        <a:pt x="5" y="1"/>
                      </a:lnTo>
                      <a:lnTo>
                        <a:pt x="5" y="2"/>
                      </a:lnTo>
                      <a:lnTo>
                        <a:pt x="3" y="3"/>
                      </a:lnTo>
                      <a:lnTo>
                        <a:pt x="3" y="3"/>
                      </a:lnTo>
                      <a:cubicBezTo>
                        <a:pt x="2" y="3"/>
                        <a:pt x="1" y="2"/>
                        <a:pt x="1" y="2"/>
                      </a:cubicBezTo>
                      <a:cubicBezTo>
                        <a:pt x="1" y="2"/>
                        <a:pt x="1"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8" name="Freeform 523"/>
                <p:cNvSpPr>
                  <a:spLocks/>
                </p:cNvSpPr>
                <p:nvPr>
                  <p:custDataLst>
                    <p:tags r:id="rId504"/>
                  </p:custDataLst>
                </p:nvPr>
              </p:nvSpPr>
              <p:spPr bwMode="gray">
                <a:xfrm>
                  <a:off x="7865339" y="4846423"/>
                  <a:ext cx="9871" cy="1573"/>
                </a:xfrm>
                <a:custGeom>
                  <a:avLst/>
                  <a:gdLst>
                    <a:gd name="T0" fmla="*/ 7 w 7"/>
                    <a:gd name="T1" fmla="*/ 7 w 7"/>
                    <a:gd name="T2" fmla="*/ 7 w 7"/>
                    <a:gd name="T3" fmla="*/ 7 w 7"/>
                    <a:gd name="T4" fmla="*/ 7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7" y="0"/>
                      </a:lnTo>
                      <a:lnTo>
                        <a:pt x="7" y="0"/>
                      </a:lnTo>
                      <a:lnTo>
                        <a:pt x="7" y="0"/>
                      </a:lnTo>
                      <a:lnTo>
                        <a:pt x="7"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89" name="Freeform 524"/>
                <p:cNvSpPr>
                  <a:spLocks/>
                </p:cNvSpPr>
                <p:nvPr>
                  <p:custDataLst>
                    <p:tags r:id="rId505"/>
                  </p:custDataLst>
                </p:nvPr>
              </p:nvSpPr>
              <p:spPr bwMode="gray">
                <a:xfrm>
                  <a:off x="7825851" y="4846423"/>
                  <a:ext cx="1410" cy="11009"/>
                </a:xfrm>
                <a:custGeom>
                  <a:avLst/>
                  <a:gdLst>
                    <a:gd name="T0" fmla="*/ 7 h 7"/>
                    <a:gd name="T1" fmla="*/ 7 h 7"/>
                    <a:gd name="T2" fmla="*/ 7 h 7"/>
                    <a:gd name="T3" fmla="*/ 7 h 7"/>
                    <a:gd name="T4" fmla="*/ 7 h 7"/>
                    <a:gd name="T5" fmla="*/ 0 h 7"/>
                    <a:gd name="T6" fmla="*/ 7 h 7"/>
                  </a:gdLst>
                  <a:ahLst/>
                  <a:cxnLst>
                    <a:cxn ang="0">
                      <a:pos x="0" y="T0"/>
                    </a:cxn>
                    <a:cxn ang="0">
                      <a:pos x="0" y="T1"/>
                    </a:cxn>
                    <a:cxn ang="0">
                      <a:pos x="0" y="T2"/>
                    </a:cxn>
                    <a:cxn ang="0">
                      <a:pos x="0" y="T3"/>
                    </a:cxn>
                    <a:cxn ang="0">
                      <a:pos x="0" y="T4"/>
                    </a:cxn>
                    <a:cxn ang="0">
                      <a:pos x="0" y="T5"/>
                    </a:cxn>
                    <a:cxn ang="0">
                      <a:pos x="0" y="T6"/>
                    </a:cxn>
                  </a:cxnLst>
                  <a:rect l="0" t="0" r="r" b="b"/>
                  <a:pathLst>
                    <a:path h="7">
                      <a:moveTo>
                        <a:pt x="0" y="7"/>
                      </a:moveTo>
                      <a:lnTo>
                        <a:pt x="0" y="7"/>
                      </a:lnTo>
                      <a:lnTo>
                        <a:pt x="0" y="7"/>
                      </a:lnTo>
                      <a:lnTo>
                        <a:pt x="0" y="7"/>
                      </a:lnTo>
                      <a:lnTo>
                        <a:pt x="0" y="7"/>
                      </a:lnTo>
                      <a:lnTo>
                        <a:pt x="0"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0" name="Freeform 525"/>
                <p:cNvSpPr>
                  <a:spLocks/>
                </p:cNvSpPr>
                <p:nvPr>
                  <p:custDataLst>
                    <p:tags r:id="rId506"/>
                  </p:custDataLst>
                </p:nvPr>
              </p:nvSpPr>
              <p:spPr bwMode="gray">
                <a:xfrm>
                  <a:off x="7825851" y="4846423"/>
                  <a:ext cx="1410" cy="11009"/>
                </a:xfrm>
                <a:custGeom>
                  <a:avLst/>
                  <a:gdLst>
                    <a:gd name="T0" fmla="*/ 7 h 7"/>
                    <a:gd name="T1" fmla="*/ 7 h 7"/>
                    <a:gd name="T2" fmla="*/ 7 h 7"/>
                    <a:gd name="T3" fmla="*/ 7 h 7"/>
                    <a:gd name="T4" fmla="*/ 7 h 7"/>
                    <a:gd name="T5" fmla="*/ 0 h 7"/>
                    <a:gd name="T6" fmla="*/ 7 h 7"/>
                  </a:gdLst>
                  <a:ahLst/>
                  <a:cxnLst>
                    <a:cxn ang="0">
                      <a:pos x="0" y="T0"/>
                    </a:cxn>
                    <a:cxn ang="0">
                      <a:pos x="0" y="T1"/>
                    </a:cxn>
                    <a:cxn ang="0">
                      <a:pos x="0" y="T2"/>
                    </a:cxn>
                    <a:cxn ang="0">
                      <a:pos x="0" y="T3"/>
                    </a:cxn>
                    <a:cxn ang="0">
                      <a:pos x="0" y="T4"/>
                    </a:cxn>
                    <a:cxn ang="0">
                      <a:pos x="0" y="T5"/>
                    </a:cxn>
                    <a:cxn ang="0">
                      <a:pos x="0" y="T6"/>
                    </a:cxn>
                  </a:cxnLst>
                  <a:rect l="0" t="0" r="r" b="b"/>
                  <a:pathLst>
                    <a:path h="7">
                      <a:moveTo>
                        <a:pt x="0" y="7"/>
                      </a:moveTo>
                      <a:lnTo>
                        <a:pt x="0" y="7"/>
                      </a:lnTo>
                      <a:lnTo>
                        <a:pt x="0" y="7"/>
                      </a:lnTo>
                      <a:lnTo>
                        <a:pt x="0" y="7"/>
                      </a:lnTo>
                      <a:lnTo>
                        <a:pt x="0" y="7"/>
                      </a:lnTo>
                      <a:lnTo>
                        <a:pt x="0"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1" name="Freeform 526"/>
                <p:cNvSpPr>
                  <a:spLocks/>
                </p:cNvSpPr>
                <p:nvPr>
                  <p:custDataLst>
                    <p:tags r:id="rId507"/>
                  </p:custDataLst>
                </p:nvPr>
              </p:nvSpPr>
              <p:spPr bwMode="gray">
                <a:xfrm>
                  <a:off x="7454948" y="4835416"/>
                  <a:ext cx="28206" cy="34595"/>
                </a:xfrm>
                <a:custGeom>
                  <a:avLst/>
                  <a:gdLst>
                    <a:gd name="T0" fmla="*/ 0 w 3"/>
                    <a:gd name="T1" fmla="*/ 3 h 3"/>
                    <a:gd name="T2" fmla="*/ 2 w 3"/>
                    <a:gd name="T3" fmla="*/ 0 h 3"/>
                    <a:gd name="T4" fmla="*/ 3 w 3"/>
                    <a:gd name="T5" fmla="*/ 1 h 3"/>
                    <a:gd name="T6" fmla="*/ 1 w 3"/>
                    <a:gd name="T7" fmla="*/ 3 h 3"/>
                    <a:gd name="T8" fmla="*/ 1 w 3"/>
                    <a:gd name="T9" fmla="*/ 3 h 3"/>
                    <a:gd name="T10" fmla="*/ 0 w 3"/>
                    <a:gd name="T11" fmla="*/ 3 h 3"/>
                    <a:gd name="T12" fmla="*/ 0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3"/>
                      </a:moveTo>
                      <a:cubicBezTo>
                        <a:pt x="0" y="2"/>
                        <a:pt x="1" y="1"/>
                        <a:pt x="2" y="0"/>
                      </a:cubicBezTo>
                      <a:cubicBezTo>
                        <a:pt x="2" y="1"/>
                        <a:pt x="2" y="1"/>
                        <a:pt x="3" y="1"/>
                      </a:cubicBezTo>
                      <a:cubicBezTo>
                        <a:pt x="2" y="2"/>
                        <a:pt x="2" y="3"/>
                        <a:pt x="1" y="3"/>
                      </a:cubicBezTo>
                      <a:lnTo>
                        <a:pt x="1" y="3"/>
                      </a:ln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2" name="Freeform 527"/>
                <p:cNvSpPr>
                  <a:spLocks/>
                </p:cNvSpPr>
                <p:nvPr>
                  <p:custDataLst>
                    <p:tags r:id="rId508"/>
                  </p:custDataLst>
                </p:nvPr>
              </p:nvSpPr>
              <p:spPr bwMode="gray">
                <a:xfrm>
                  <a:off x="7493027" y="4734776"/>
                  <a:ext cx="172053" cy="78626"/>
                </a:xfrm>
                <a:custGeom>
                  <a:avLst/>
                  <a:gdLst>
                    <a:gd name="T0" fmla="*/ 2 w 17"/>
                    <a:gd name="T1" fmla="*/ 3 h 7"/>
                    <a:gd name="T2" fmla="*/ 2 w 17"/>
                    <a:gd name="T3" fmla="*/ 2 h 7"/>
                    <a:gd name="T4" fmla="*/ 5 w 17"/>
                    <a:gd name="T5" fmla="*/ 1 h 7"/>
                    <a:gd name="T6" fmla="*/ 7 w 17"/>
                    <a:gd name="T7" fmla="*/ 2 h 7"/>
                    <a:gd name="T8" fmla="*/ 9 w 17"/>
                    <a:gd name="T9" fmla="*/ 1 h 7"/>
                    <a:gd name="T10" fmla="*/ 14 w 17"/>
                    <a:gd name="T11" fmla="*/ 0 h 7"/>
                    <a:gd name="T12" fmla="*/ 17 w 17"/>
                    <a:gd name="T13" fmla="*/ 2 h 7"/>
                    <a:gd name="T14" fmla="*/ 13 w 17"/>
                    <a:gd name="T15" fmla="*/ 4 h 7"/>
                    <a:gd name="T16" fmla="*/ 11 w 17"/>
                    <a:gd name="T17" fmla="*/ 6 h 7"/>
                    <a:gd name="T18" fmla="*/ 9 w 17"/>
                    <a:gd name="T19" fmla="*/ 6 h 7"/>
                    <a:gd name="T20" fmla="*/ 5 w 17"/>
                    <a:gd name="T21" fmla="*/ 5 h 7"/>
                    <a:gd name="T22" fmla="*/ 3 w 17"/>
                    <a:gd name="T23" fmla="*/ 6 h 7"/>
                    <a:gd name="T24" fmla="*/ 0 w 17"/>
                    <a:gd name="T25" fmla="*/ 7 h 7"/>
                    <a:gd name="T26" fmla="*/ 2 w 17"/>
                    <a:gd name="T27" fmla="*/ 3 h 7"/>
                    <a:gd name="T28" fmla="*/ 2 w 17"/>
                    <a:gd name="T29" fmla="*/ 3 h 7"/>
                    <a:gd name="T30" fmla="*/ 2 w 17"/>
                    <a:gd name="T3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7">
                      <a:moveTo>
                        <a:pt x="2" y="3"/>
                      </a:moveTo>
                      <a:cubicBezTo>
                        <a:pt x="2" y="3"/>
                        <a:pt x="2" y="2"/>
                        <a:pt x="2" y="2"/>
                      </a:cubicBezTo>
                      <a:cubicBezTo>
                        <a:pt x="3" y="2"/>
                        <a:pt x="4" y="1"/>
                        <a:pt x="5" y="1"/>
                      </a:cubicBezTo>
                      <a:cubicBezTo>
                        <a:pt x="6" y="1"/>
                        <a:pt x="6" y="2"/>
                        <a:pt x="7" y="2"/>
                      </a:cubicBezTo>
                      <a:cubicBezTo>
                        <a:pt x="8" y="2"/>
                        <a:pt x="9" y="1"/>
                        <a:pt x="9" y="1"/>
                      </a:cubicBezTo>
                      <a:cubicBezTo>
                        <a:pt x="11" y="1"/>
                        <a:pt x="12" y="0"/>
                        <a:pt x="14" y="0"/>
                      </a:cubicBezTo>
                      <a:cubicBezTo>
                        <a:pt x="14" y="1"/>
                        <a:pt x="17" y="1"/>
                        <a:pt x="17" y="2"/>
                      </a:cubicBezTo>
                      <a:cubicBezTo>
                        <a:pt x="17" y="4"/>
                        <a:pt x="14" y="2"/>
                        <a:pt x="13" y="4"/>
                      </a:cubicBezTo>
                      <a:cubicBezTo>
                        <a:pt x="13" y="4"/>
                        <a:pt x="13" y="6"/>
                        <a:pt x="11" y="6"/>
                      </a:cubicBezTo>
                      <a:cubicBezTo>
                        <a:pt x="10" y="6"/>
                        <a:pt x="9" y="5"/>
                        <a:pt x="9" y="6"/>
                      </a:cubicBezTo>
                      <a:cubicBezTo>
                        <a:pt x="9" y="6"/>
                        <a:pt x="6" y="5"/>
                        <a:pt x="5" y="5"/>
                      </a:cubicBezTo>
                      <a:cubicBezTo>
                        <a:pt x="4" y="5"/>
                        <a:pt x="3" y="5"/>
                        <a:pt x="3" y="6"/>
                      </a:cubicBezTo>
                      <a:cubicBezTo>
                        <a:pt x="2" y="7"/>
                        <a:pt x="1" y="7"/>
                        <a:pt x="0" y="7"/>
                      </a:cubicBezTo>
                      <a:cubicBezTo>
                        <a:pt x="0" y="6"/>
                        <a:pt x="1" y="4"/>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3" name="Freeform 528"/>
                <p:cNvSpPr>
                  <a:spLocks/>
                </p:cNvSpPr>
                <p:nvPr>
                  <p:custDataLst>
                    <p:tags r:id="rId509"/>
                  </p:custDataLst>
                </p:nvPr>
              </p:nvSpPr>
              <p:spPr bwMode="gray">
                <a:xfrm>
                  <a:off x="7273024" y="4835415"/>
                  <a:ext cx="131155" cy="67618"/>
                </a:xfrm>
                <a:custGeom>
                  <a:avLst/>
                  <a:gdLst>
                    <a:gd name="T0" fmla="*/ 2 w 13"/>
                    <a:gd name="T1" fmla="*/ 2 h 6"/>
                    <a:gd name="T2" fmla="*/ 2 w 13"/>
                    <a:gd name="T3" fmla="*/ 1 h 6"/>
                    <a:gd name="T4" fmla="*/ 3 w 13"/>
                    <a:gd name="T5" fmla="*/ 0 h 6"/>
                    <a:gd name="T6" fmla="*/ 3 w 13"/>
                    <a:gd name="T7" fmla="*/ 0 h 6"/>
                    <a:gd name="T8" fmla="*/ 4 w 13"/>
                    <a:gd name="T9" fmla="*/ 0 h 6"/>
                    <a:gd name="T10" fmla="*/ 4 w 13"/>
                    <a:gd name="T11" fmla="*/ 0 h 6"/>
                    <a:gd name="T12" fmla="*/ 4 w 13"/>
                    <a:gd name="T13" fmla="*/ 1 h 6"/>
                    <a:gd name="T14" fmla="*/ 9 w 13"/>
                    <a:gd name="T15" fmla="*/ 0 h 6"/>
                    <a:gd name="T16" fmla="*/ 9 w 13"/>
                    <a:gd name="T17" fmla="*/ 0 h 6"/>
                    <a:gd name="T18" fmla="*/ 12 w 13"/>
                    <a:gd name="T19" fmla="*/ 1 h 6"/>
                    <a:gd name="T20" fmla="*/ 12 w 13"/>
                    <a:gd name="T21" fmla="*/ 1 h 6"/>
                    <a:gd name="T22" fmla="*/ 12 w 13"/>
                    <a:gd name="T23" fmla="*/ 2 h 6"/>
                    <a:gd name="T24" fmla="*/ 13 w 13"/>
                    <a:gd name="T25" fmla="*/ 2 h 6"/>
                    <a:gd name="T26" fmla="*/ 13 w 13"/>
                    <a:gd name="T27" fmla="*/ 2 h 6"/>
                    <a:gd name="T28" fmla="*/ 13 w 13"/>
                    <a:gd name="T29" fmla="*/ 3 h 6"/>
                    <a:gd name="T30" fmla="*/ 13 w 13"/>
                    <a:gd name="T31" fmla="*/ 3 h 6"/>
                    <a:gd name="T32" fmla="*/ 11 w 13"/>
                    <a:gd name="T33" fmla="*/ 5 h 6"/>
                    <a:gd name="T34" fmla="*/ 11 w 13"/>
                    <a:gd name="T35" fmla="*/ 5 h 6"/>
                    <a:gd name="T36" fmla="*/ 8 w 13"/>
                    <a:gd name="T37" fmla="*/ 5 h 6"/>
                    <a:gd name="T38" fmla="*/ 8 w 13"/>
                    <a:gd name="T39" fmla="*/ 5 h 6"/>
                    <a:gd name="T40" fmla="*/ 4 w 13"/>
                    <a:gd name="T41" fmla="*/ 6 h 6"/>
                    <a:gd name="T42" fmla="*/ 2 w 13"/>
                    <a:gd name="T43" fmla="*/ 5 h 6"/>
                    <a:gd name="T44" fmla="*/ 1 w 13"/>
                    <a:gd name="T45" fmla="*/ 6 h 6"/>
                    <a:gd name="T46" fmla="*/ 1 w 13"/>
                    <a:gd name="T47" fmla="*/ 6 h 6"/>
                    <a:gd name="T48" fmla="*/ 0 w 13"/>
                    <a:gd name="T49" fmla="*/ 6 h 6"/>
                    <a:gd name="T50" fmla="*/ 0 w 13"/>
                    <a:gd name="T51" fmla="*/ 6 h 6"/>
                    <a:gd name="T52" fmla="*/ 2 w 13"/>
                    <a:gd name="T53" fmla="*/ 2 h 6"/>
                    <a:gd name="T54" fmla="*/ 2 w 13"/>
                    <a:gd name="T55" fmla="*/ 2 h 6"/>
                    <a:gd name="T56" fmla="*/ 2 w 13"/>
                    <a:gd name="T5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6">
                      <a:moveTo>
                        <a:pt x="2" y="2"/>
                      </a:moveTo>
                      <a:cubicBezTo>
                        <a:pt x="2" y="2"/>
                        <a:pt x="2" y="2"/>
                        <a:pt x="2" y="1"/>
                      </a:cubicBezTo>
                      <a:cubicBezTo>
                        <a:pt x="2" y="1"/>
                        <a:pt x="2" y="0"/>
                        <a:pt x="3" y="0"/>
                      </a:cubicBezTo>
                      <a:lnTo>
                        <a:pt x="3" y="0"/>
                      </a:lnTo>
                      <a:lnTo>
                        <a:pt x="4" y="0"/>
                      </a:lnTo>
                      <a:lnTo>
                        <a:pt x="4" y="0"/>
                      </a:lnTo>
                      <a:cubicBezTo>
                        <a:pt x="4" y="0"/>
                        <a:pt x="3" y="1"/>
                        <a:pt x="4" y="1"/>
                      </a:cubicBezTo>
                      <a:cubicBezTo>
                        <a:pt x="4" y="1"/>
                        <a:pt x="9" y="1"/>
                        <a:pt x="9" y="0"/>
                      </a:cubicBezTo>
                      <a:lnTo>
                        <a:pt x="9" y="0"/>
                      </a:lnTo>
                      <a:lnTo>
                        <a:pt x="12" y="1"/>
                      </a:lnTo>
                      <a:lnTo>
                        <a:pt x="12" y="1"/>
                      </a:lnTo>
                      <a:cubicBezTo>
                        <a:pt x="12" y="1"/>
                        <a:pt x="12" y="1"/>
                        <a:pt x="12" y="2"/>
                      </a:cubicBezTo>
                      <a:cubicBezTo>
                        <a:pt x="12" y="2"/>
                        <a:pt x="13" y="2"/>
                        <a:pt x="13" y="2"/>
                      </a:cubicBezTo>
                      <a:lnTo>
                        <a:pt x="13" y="2"/>
                      </a:lnTo>
                      <a:lnTo>
                        <a:pt x="13" y="3"/>
                      </a:lnTo>
                      <a:lnTo>
                        <a:pt x="13" y="3"/>
                      </a:lnTo>
                      <a:cubicBezTo>
                        <a:pt x="12" y="4"/>
                        <a:pt x="12" y="4"/>
                        <a:pt x="11" y="5"/>
                      </a:cubicBezTo>
                      <a:lnTo>
                        <a:pt x="11" y="5"/>
                      </a:lnTo>
                      <a:lnTo>
                        <a:pt x="8" y="5"/>
                      </a:lnTo>
                      <a:lnTo>
                        <a:pt x="8" y="5"/>
                      </a:lnTo>
                      <a:cubicBezTo>
                        <a:pt x="7" y="6"/>
                        <a:pt x="6" y="6"/>
                        <a:pt x="4" y="6"/>
                      </a:cubicBezTo>
                      <a:cubicBezTo>
                        <a:pt x="3" y="6"/>
                        <a:pt x="2" y="5"/>
                        <a:pt x="2" y="5"/>
                      </a:cubicBezTo>
                      <a:cubicBezTo>
                        <a:pt x="2" y="6"/>
                        <a:pt x="1" y="6"/>
                        <a:pt x="1" y="6"/>
                      </a:cubicBezTo>
                      <a:lnTo>
                        <a:pt x="1" y="6"/>
                      </a:lnTo>
                      <a:lnTo>
                        <a:pt x="0" y="6"/>
                      </a:lnTo>
                      <a:lnTo>
                        <a:pt x="0" y="6"/>
                      </a:lnTo>
                      <a:cubicBezTo>
                        <a:pt x="0" y="5"/>
                        <a:pt x="2" y="3"/>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4" name="Freeform 529"/>
                <p:cNvSpPr>
                  <a:spLocks/>
                </p:cNvSpPr>
                <p:nvPr>
                  <p:custDataLst>
                    <p:tags r:id="rId510"/>
                  </p:custDataLst>
                </p:nvPr>
              </p:nvSpPr>
              <p:spPr bwMode="gray">
                <a:xfrm>
                  <a:off x="7102381" y="5228544"/>
                  <a:ext cx="39488" cy="22015"/>
                </a:xfrm>
                <a:custGeom>
                  <a:avLst/>
                  <a:gdLst>
                    <a:gd name="T0" fmla="*/ 1 w 4"/>
                    <a:gd name="T1" fmla="*/ 2 h 2"/>
                    <a:gd name="T2" fmla="*/ 1 w 4"/>
                    <a:gd name="T3" fmla="*/ 1 h 2"/>
                    <a:gd name="T4" fmla="*/ 3 w 4"/>
                    <a:gd name="T5" fmla="*/ 0 h 2"/>
                    <a:gd name="T6" fmla="*/ 2 w 4"/>
                    <a:gd name="T7" fmla="*/ 2 h 2"/>
                    <a:gd name="T8" fmla="*/ 1 w 4"/>
                    <a:gd name="T9" fmla="*/ 2 h 2"/>
                    <a:gd name="T10" fmla="*/ 1 w 4"/>
                    <a:gd name="T11" fmla="*/ 2 h 2"/>
                    <a:gd name="T12" fmla="*/ 1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1" y="2"/>
                      </a:moveTo>
                      <a:cubicBezTo>
                        <a:pt x="0" y="2"/>
                        <a:pt x="1" y="2"/>
                        <a:pt x="1" y="1"/>
                      </a:cubicBezTo>
                      <a:cubicBezTo>
                        <a:pt x="1" y="0"/>
                        <a:pt x="3" y="0"/>
                        <a:pt x="3" y="0"/>
                      </a:cubicBezTo>
                      <a:cubicBezTo>
                        <a:pt x="4" y="1"/>
                        <a:pt x="3" y="2"/>
                        <a:pt x="2" y="2"/>
                      </a:cubicBezTo>
                      <a:cubicBezTo>
                        <a:pt x="1" y="2"/>
                        <a:pt x="1" y="2"/>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5" name="Freeform 530"/>
                <p:cNvSpPr>
                  <a:spLocks/>
                </p:cNvSpPr>
                <p:nvPr>
                  <p:custDataLst>
                    <p:tags r:id="rId511"/>
                  </p:custDataLst>
                </p:nvPr>
              </p:nvSpPr>
              <p:spPr bwMode="gray">
                <a:xfrm>
                  <a:off x="6861225" y="5282010"/>
                  <a:ext cx="39488" cy="23588"/>
                </a:xfrm>
                <a:custGeom>
                  <a:avLst/>
                  <a:gdLst>
                    <a:gd name="T0" fmla="*/ 0 w 4"/>
                    <a:gd name="T1" fmla="*/ 2 h 2"/>
                    <a:gd name="T2" fmla="*/ 4 w 4"/>
                    <a:gd name="T3" fmla="*/ 0 h 2"/>
                    <a:gd name="T4" fmla="*/ 4 w 4"/>
                    <a:gd name="T5" fmla="*/ 0 h 2"/>
                    <a:gd name="T6" fmla="*/ 4 w 4"/>
                    <a:gd name="T7" fmla="*/ 0 h 2"/>
                    <a:gd name="T8" fmla="*/ 1 w 4"/>
                    <a:gd name="T9" fmla="*/ 2 h 2"/>
                    <a:gd name="T10" fmla="*/ 0 w 4"/>
                    <a:gd name="T11" fmla="*/ 2 h 2"/>
                    <a:gd name="T12" fmla="*/ 0 w 4"/>
                    <a:gd name="T13" fmla="*/ 2 h 2"/>
                    <a:gd name="T14" fmla="*/ 0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2"/>
                      </a:moveTo>
                      <a:cubicBezTo>
                        <a:pt x="0" y="1"/>
                        <a:pt x="2" y="0"/>
                        <a:pt x="4" y="0"/>
                      </a:cubicBezTo>
                      <a:cubicBezTo>
                        <a:pt x="4" y="0"/>
                        <a:pt x="4" y="0"/>
                        <a:pt x="4" y="0"/>
                      </a:cubicBezTo>
                      <a:cubicBezTo>
                        <a:pt x="4" y="0"/>
                        <a:pt x="4" y="0"/>
                        <a:pt x="4" y="0"/>
                      </a:cubicBezTo>
                      <a:cubicBezTo>
                        <a:pt x="4" y="2"/>
                        <a:pt x="3" y="2"/>
                        <a:pt x="1" y="2"/>
                      </a:cubicBezTo>
                      <a:cubicBezTo>
                        <a:pt x="1" y="2"/>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6" name="Freeform 531"/>
                <p:cNvSpPr>
                  <a:spLocks/>
                </p:cNvSpPr>
                <p:nvPr>
                  <p:custDataLst>
                    <p:tags r:id="rId512"/>
                  </p:custDataLst>
                </p:nvPr>
              </p:nvSpPr>
              <p:spPr bwMode="gray">
                <a:xfrm>
                  <a:off x="6830199" y="5305597"/>
                  <a:ext cx="9871" cy="11009"/>
                </a:xfrm>
                <a:custGeom>
                  <a:avLst/>
                  <a:gdLst>
                    <a:gd name="T0" fmla="*/ 0 w 1"/>
                    <a:gd name="T1" fmla="*/ 1 h 1"/>
                    <a:gd name="T2" fmla="*/ 1 w 1"/>
                    <a:gd name="T3" fmla="*/ 1 h 1"/>
                    <a:gd name="T4" fmla="*/ 1 w 1"/>
                    <a:gd name="T5" fmla="*/ 0 h 1"/>
                    <a:gd name="T6" fmla="*/ 1 w 1"/>
                    <a:gd name="T7" fmla="*/ 0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lnTo>
                        <a:pt x="1" y="1"/>
                      </a:lnTo>
                      <a:lnTo>
                        <a:pt x="1" y="0"/>
                      </a:lnTo>
                      <a:lnTo>
                        <a:pt x="1" y="0"/>
                      </a:lnTo>
                      <a:cubicBezTo>
                        <a:pt x="0"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7" name="Freeform 532"/>
                <p:cNvSpPr>
                  <a:spLocks/>
                </p:cNvSpPr>
                <p:nvPr>
                  <p:custDataLst>
                    <p:tags r:id="rId513"/>
                  </p:custDataLst>
                </p:nvPr>
              </p:nvSpPr>
              <p:spPr bwMode="gray">
                <a:xfrm>
                  <a:off x="7031868" y="5294590"/>
                  <a:ext cx="100129" cy="78626"/>
                </a:xfrm>
                <a:custGeom>
                  <a:avLst/>
                  <a:gdLst>
                    <a:gd name="T0" fmla="*/ 0 w 10"/>
                    <a:gd name="T1" fmla="*/ 7 h 7"/>
                    <a:gd name="T2" fmla="*/ 1 w 10"/>
                    <a:gd name="T3" fmla="*/ 5 h 7"/>
                    <a:gd name="T4" fmla="*/ 1 w 10"/>
                    <a:gd name="T5" fmla="*/ 4 h 7"/>
                    <a:gd name="T6" fmla="*/ 4 w 10"/>
                    <a:gd name="T7" fmla="*/ 3 h 7"/>
                    <a:gd name="T8" fmla="*/ 6 w 10"/>
                    <a:gd name="T9" fmla="*/ 0 h 7"/>
                    <a:gd name="T10" fmla="*/ 9 w 10"/>
                    <a:gd name="T11" fmla="*/ 0 h 7"/>
                    <a:gd name="T12" fmla="*/ 9 w 10"/>
                    <a:gd name="T13" fmla="*/ 1 h 7"/>
                    <a:gd name="T14" fmla="*/ 10 w 10"/>
                    <a:gd name="T15" fmla="*/ 2 h 7"/>
                    <a:gd name="T16" fmla="*/ 0 w 10"/>
                    <a:gd name="T17" fmla="*/ 7 h 7"/>
                    <a:gd name="T18" fmla="*/ 0 w 10"/>
                    <a:gd name="T19" fmla="*/ 7 h 7"/>
                    <a:gd name="T20" fmla="*/ 0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7"/>
                      </a:moveTo>
                      <a:cubicBezTo>
                        <a:pt x="0" y="5"/>
                        <a:pt x="1" y="5"/>
                        <a:pt x="1" y="5"/>
                      </a:cubicBezTo>
                      <a:cubicBezTo>
                        <a:pt x="1" y="4"/>
                        <a:pt x="1" y="4"/>
                        <a:pt x="1" y="4"/>
                      </a:cubicBezTo>
                      <a:cubicBezTo>
                        <a:pt x="0" y="3"/>
                        <a:pt x="4" y="3"/>
                        <a:pt x="4" y="3"/>
                      </a:cubicBezTo>
                      <a:cubicBezTo>
                        <a:pt x="5" y="2"/>
                        <a:pt x="6" y="1"/>
                        <a:pt x="6" y="0"/>
                      </a:cubicBezTo>
                      <a:cubicBezTo>
                        <a:pt x="8" y="0"/>
                        <a:pt x="9" y="0"/>
                        <a:pt x="9" y="0"/>
                      </a:cubicBezTo>
                      <a:cubicBezTo>
                        <a:pt x="9" y="0"/>
                        <a:pt x="9" y="0"/>
                        <a:pt x="9" y="1"/>
                      </a:cubicBezTo>
                      <a:cubicBezTo>
                        <a:pt x="9" y="1"/>
                        <a:pt x="10" y="1"/>
                        <a:pt x="10" y="2"/>
                      </a:cubicBezTo>
                      <a:cubicBezTo>
                        <a:pt x="8" y="4"/>
                        <a:pt x="3" y="7"/>
                        <a:pt x="0" y="7"/>
                      </a:cubicBezTo>
                      <a:lnTo>
                        <a:pt x="0" y="7"/>
                      </a:lnTo>
                      <a:lnTo>
                        <a:pt x="0"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8" name="Freeform 533"/>
                <p:cNvSpPr>
                  <a:spLocks/>
                </p:cNvSpPr>
                <p:nvPr>
                  <p:custDataLst>
                    <p:tags r:id="rId514"/>
                  </p:custDataLst>
                </p:nvPr>
              </p:nvSpPr>
              <p:spPr bwMode="gray">
                <a:xfrm>
                  <a:off x="6710326" y="4577525"/>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399" name="Freeform 534"/>
                <p:cNvSpPr>
                  <a:spLocks/>
                </p:cNvSpPr>
                <p:nvPr>
                  <p:custDataLst>
                    <p:tags r:id="rId515"/>
                  </p:custDataLst>
                </p:nvPr>
              </p:nvSpPr>
              <p:spPr bwMode="gray">
                <a:xfrm>
                  <a:off x="6378912" y="4577523"/>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0" name="Freeform 535"/>
                <p:cNvSpPr>
                  <a:spLocks/>
                </p:cNvSpPr>
                <p:nvPr>
                  <p:custDataLst>
                    <p:tags r:id="rId516"/>
                  </p:custDataLst>
                </p:nvPr>
              </p:nvSpPr>
              <p:spPr bwMode="gray">
                <a:xfrm>
                  <a:off x="6378912" y="4577525"/>
                  <a:ext cx="9871"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1" name="Freeform 536"/>
                <p:cNvSpPr>
                  <a:spLocks/>
                </p:cNvSpPr>
                <p:nvPr>
                  <p:custDataLst>
                    <p:tags r:id="rId517"/>
                  </p:custDataLst>
                </p:nvPr>
              </p:nvSpPr>
              <p:spPr bwMode="gray">
                <a:xfrm>
                  <a:off x="6347886" y="4522485"/>
                  <a:ext cx="9871" cy="11009"/>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2" name="Freeform 537"/>
                <p:cNvSpPr>
                  <a:spLocks/>
                </p:cNvSpPr>
                <p:nvPr>
                  <p:custDataLst>
                    <p:tags r:id="rId518"/>
                  </p:custDataLst>
                </p:nvPr>
              </p:nvSpPr>
              <p:spPr bwMode="gray">
                <a:xfrm>
                  <a:off x="7202511" y="4846424"/>
                  <a:ext cx="70513" cy="77053"/>
                </a:xfrm>
                <a:custGeom>
                  <a:avLst/>
                  <a:gdLst>
                    <a:gd name="T0" fmla="*/ 0 w 7"/>
                    <a:gd name="T1" fmla="*/ 5 h 7"/>
                    <a:gd name="T2" fmla="*/ 1 w 7"/>
                    <a:gd name="T3" fmla="*/ 2 h 7"/>
                    <a:gd name="T4" fmla="*/ 3 w 7"/>
                    <a:gd name="T5" fmla="*/ 2 h 7"/>
                    <a:gd name="T6" fmla="*/ 3 w 7"/>
                    <a:gd name="T7" fmla="*/ 3 h 7"/>
                    <a:gd name="T8" fmla="*/ 6 w 7"/>
                    <a:gd name="T9" fmla="*/ 0 h 7"/>
                    <a:gd name="T10" fmla="*/ 7 w 7"/>
                    <a:gd name="T11" fmla="*/ 0 h 7"/>
                    <a:gd name="T12" fmla="*/ 7 w 7"/>
                    <a:gd name="T13" fmla="*/ 1 h 7"/>
                    <a:gd name="T14" fmla="*/ 3 w 7"/>
                    <a:gd name="T15" fmla="*/ 7 h 7"/>
                    <a:gd name="T16" fmla="*/ 2 w 7"/>
                    <a:gd name="T17" fmla="*/ 6 h 7"/>
                    <a:gd name="T18" fmla="*/ 2 w 7"/>
                    <a:gd name="T19" fmla="*/ 5 h 7"/>
                    <a:gd name="T20" fmla="*/ 0 w 7"/>
                    <a:gd name="T21" fmla="*/ 5 h 7"/>
                    <a:gd name="T22" fmla="*/ 0 w 7"/>
                    <a:gd name="T23" fmla="*/ 5 h 7"/>
                    <a:gd name="T24" fmla="*/ 0 w 7"/>
                    <a:gd name="T2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5"/>
                      </a:moveTo>
                      <a:cubicBezTo>
                        <a:pt x="1" y="4"/>
                        <a:pt x="1" y="3"/>
                        <a:pt x="1" y="2"/>
                      </a:cubicBezTo>
                      <a:cubicBezTo>
                        <a:pt x="2" y="2"/>
                        <a:pt x="2" y="2"/>
                        <a:pt x="3" y="2"/>
                      </a:cubicBezTo>
                      <a:cubicBezTo>
                        <a:pt x="3" y="2"/>
                        <a:pt x="3" y="3"/>
                        <a:pt x="3" y="3"/>
                      </a:cubicBezTo>
                      <a:cubicBezTo>
                        <a:pt x="4" y="3"/>
                        <a:pt x="6" y="0"/>
                        <a:pt x="6" y="0"/>
                      </a:cubicBezTo>
                      <a:cubicBezTo>
                        <a:pt x="6" y="0"/>
                        <a:pt x="7" y="0"/>
                        <a:pt x="7" y="0"/>
                      </a:cubicBezTo>
                      <a:cubicBezTo>
                        <a:pt x="7" y="0"/>
                        <a:pt x="7" y="1"/>
                        <a:pt x="7" y="1"/>
                      </a:cubicBezTo>
                      <a:cubicBezTo>
                        <a:pt x="7" y="2"/>
                        <a:pt x="5" y="7"/>
                        <a:pt x="3" y="7"/>
                      </a:cubicBezTo>
                      <a:cubicBezTo>
                        <a:pt x="2" y="7"/>
                        <a:pt x="2" y="6"/>
                        <a:pt x="2" y="6"/>
                      </a:cubicBezTo>
                      <a:cubicBezTo>
                        <a:pt x="2" y="6"/>
                        <a:pt x="2" y="5"/>
                        <a:pt x="2" y="5"/>
                      </a:cubicBezTo>
                      <a:cubicBezTo>
                        <a:pt x="1" y="5"/>
                        <a:pt x="1"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3" name="Freeform 538"/>
                <p:cNvSpPr>
                  <a:spLocks/>
                </p:cNvSpPr>
                <p:nvPr>
                  <p:custDataLst>
                    <p:tags r:id="rId519"/>
                  </p:custDataLst>
                </p:nvPr>
              </p:nvSpPr>
              <p:spPr bwMode="gray">
                <a:xfrm>
                  <a:off x="7102381" y="4846424"/>
                  <a:ext cx="110001" cy="77053"/>
                </a:xfrm>
                <a:custGeom>
                  <a:avLst/>
                  <a:gdLst>
                    <a:gd name="T0" fmla="*/ 0 w 11"/>
                    <a:gd name="T1" fmla="*/ 6 h 7"/>
                    <a:gd name="T2" fmla="*/ 0 w 11"/>
                    <a:gd name="T3" fmla="*/ 5 h 7"/>
                    <a:gd name="T4" fmla="*/ 2 w 11"/>
                    <a:gd name="T5" fmla="*/ 4 h 7"/>
                    <a:gd name="T6" fmla="*/ 1 w 11"/>
                    <a:gd name="T7" fmla="*/ 2 h 7"/>
                    <a:gd name="T8" fmla="*/ 3 w 11"/>
                    <a:gd name="T9" fmla="*/ 1 h 7"/>
                    <a:gd name="T10" fmla="*/ 4 w 11"/>
                    <a:gd name="T11" fmla="*/ 2 h 7"/>
                    <a:gd name="T12" fmla="*/ 4 w 11"/>
                    <a:gd name="T13" fmla="*/ 3 h 7"/>
                    <a:gd name="T14" fmla="*/ 5 w 11"/>
                    <a:gd name="T15" fmla="*/ 4 h 7"/>
                    <a:gd name="T16" fmla="*/ 9 w 11"/>
                    <a:gd name="T17" fmla="*/ 0 h 7"/>
                    <a:gd name="T18" fmla="*/ 11 w 11"/>
                    <a:gd name="T19" fmla="*/ 1 h 7"/>
                    <a:gd name="T20" fmla="*/ 7 w 11"/>
                    <a:gd name="T21" fmla="*/ 4 h 7"/>
                    <a:gd name="T22" fmla="*/ 3 w 11"/>
                    <a:gd name="T23" fmla="*/ 7 h 7"/>
                    <a:gd name="T24" fmla="*/ 0 w 11"/>
                    <a:gd name="T25" fmla="*/ 6 h 7"/>
                    <a:gd name="T26" fmla="*/ 0 w 11"/>
                    <a:gd name="T27" fmla="*/ 6 h 7"/>
                    <a:gd name="T28" fmla="*/ 0 w 11"/>
                    <a:gd name="T2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7">
                      <a:moveTo>
                        <a:pt x="0" y="6"/>
                      </a:moveTo>
                      <a:cubicBezTo>
                        <a:pt x="0" y="6"/>
                        <a:pt x="0" y="5"/>
                        <a:pt x="0" y="5"/>
                      </a:cubicBezTo>
                      <a:cubicBezTo>
                        <a:pt x="0" y="4"/>
                        <a:pt x="2" y="4"/>
                        <a:pt x="2" y="4"/>
                      </a:cubicBezTo>
                      <a:cubicBezTo>
                        <a:pt x="2" y="3"/>
                        <a:pt x="1" y="2"/>
                        <a:pt x="1" y="2"/>
                      </a:cubicBezTo>
                      <a:cubicBezTo>
                        <a:pt x="1" y="2"/>
                        <a:pt x="3" y="1"/>
                        <a:pt x="3" y="1"/>
                      </a:cubicBezTo>
                      <a:cubicBezTo>
                        <a:pt x="3" y="1"/>
                        <a:pt x="4" y="2"/>
                        <a:pt x="4" y="2"/>
                      </a:cubicBezTo>
                      <a:cubicBezTo>
                        <a:pt x="4" y="2"/>
                        <a:pt x="4" y="2"/>
                        <a:pt x="4" y="3"/>
                      </a:cubicBezTo>
                      <a:cubicBezTo>
                        <a:pt x="4" y="3"/>
                        <a:pt x="4" y="4"/>
                        <a:pt x="5" y="4"/>
                      </a:cubicBezTo>
                      <a:cubicBezTo>
                        <a:pt x="5" y="1"/>
                        <a:pt x="6" y="0"/>
                        <a:pt x="9" y="0"/>
                      </a:cubicBezTo>
                      <a:cubicBezTo>
                        <a:pt x="9" y="0"/>
                        <a:pt x="11" y="1"/>
                        <a:pt x="11" y="1"/>
                      </a:cubicBezTo>
                      <a:cubicBezTo>
                        <a:pt x="11" y="2"/>
                        <a:pt x="8" y="2"/>
                        <a:pt x="7" y="4"/>
                      </a:cubicBezTo>
                      <a:cubicBezTo>
                        <a:pt x="6" y="6"/>
                        <a:pt x="5" y="7"/>
                        <a:pt x="3" y="7"/>
                      </a:cubicBezTo>
                      <a:cubicBezTo>
                        <a:pt x="1" y="7"/>
                        <a:pt x="1" y="6"/>
                        <a:pt x="0" y="6"/>
                      </a:cubicBezTo>
                      <a:lnTo>
                        <a:pt x="0" y="6"/>
                      </a:lnTo>
                      <a:lnTo>
                        <a:pt x="0"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4" name="Freeform 539"/>
                <p:cNvSpPr>
                  <a:spLocks/>
                </p:cNvSpPr>
                <p:nvPr>
                  <p:custDataLst>
                    <p:tags r:id="rId520"/>
                  </p:custDataLst>
                </p:nvPr>
              </p:nvSpPr>
              <p:spPr bwMode="gray">
                <a:xfrm>
                  <a:off x="7061484" y="4857433"/>
                  <a:ext cx="50769" cy="34595"/>
                </a:xfrm>
                <a:custGeom>
                  <a:avLst/>
                  <a:gdLst>
                    <a:gd name="T0" fmla="*/ 0 w 5"/>
                    <a:gd name="T1" fmla="*/ 2 h 3"/>
                    <a:gd name="T2" fmla="*/ 3 w 5"/>
                    <a:gd name="T3" fmla="*/ 0 h 3"/>
                    <a:gd name="T4" fmla="*/ 5 w 5"/>
                    <a:gd name="T5" fmla="*/ 0 h 3"/>
                    <a:gd name="T6" fmla="*/ 5 w 5"/>
                    <a:gd name="T7" fmla="*/ 1 h 3"/>
                    <a:gd name="T8" fmla="*/ 3 w 5"/>
                    <a:gd name="T9" fmla="*/ 3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2" y="0"/>
                        <a:pt x="2" y="0"/>
                        <a:pt x="3" y="0"/>
                      </a:cubicBezTo>
                      <a:cubicBezTo>
                        <a:pt x="4" y="0"/>
                        <a:pt x="5" y="0"/>
                        <a:pt x="5" y="0"/>
                      </a:cubicBezTo>
                      <a:cubicBezTo>
                        <a:pt x="5" y="1"/>
                        <a:pt x="5" y="1"/>
                        <a:pt x="5" y="1"/>
                      </a:cubicBezTo>
                      <a:cubicBezTo>
                        <a:pt x="5" y="2"/>
                        <a:pt x="4" y="3"/>
                        <a:pt x="3" y="3"/>
                      </a:cubicBezTo>
                      <a:cubicBezTo>
                        <a:pt x="2" y="3"/>
                        <a:pt x="1"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5" name="Freeform 540"/>
                <p:cNvSpPr>
                  <a:spLocks/>
                </p:cNvSpPr>
                <p:nvPr>
                  <p:custDataLst>
                    <p:tags r:id="rId521"/>
                  </p:custDataLst>
                </p:nvPr>
              </p:nvSpPr>
              <p:spPr bwMode="gray">
                <a:xfrm>
                  <a:off x="6679300" y="4621556"/>
                  <a:ext cx="31026" cy="34595"/>
                </a:xfrm>
                <a:custGeom>
                  <a:avLst/>
                  <a:gdLst>
                    <a:gd name="T0" fmla="*/ 1 w 3"/>
                    <a:gd name="T1" fmla="*/ 3 h 3"/>
                    <a:gd name="T2" fmla="*/ 3 w 3"/>
                    <a:gd name="T3" fmla="*/ 2 h 3"/>
                    <a:gd name="T4" fmla="*/ 0 w 3"/>
                    <a:gd name="T5" fmla="*/ 0 h 3"/>
                    <a:gd name="T6" fmla="*/ 1 w 3"/>
                    <a:gd name="T7" fmla="*/ 3 h 3"/>
                    <a:gd name="T8" fmla="*/ 1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2" y="3"/>
                        <a:pt x="3" y="2"/>
                        <a:pt x="3" y="2"/>
                      </a:cubicBezTo>
                      <a:cubicBezTo>
                        <a:pt x="2" y="0"/>
                        <a:pt x="1" y="1"/>
                        <a:pt x="0" y="0"/>
                      </a:cubicBezTo>
                      <a:cubicBezTo>
                        <a:pt x="0" y="2"/>
                        <a:pt x="1" y="3"/>
                        <a:pt x="1" y="3"/>
                      </a:cubicBezTo>
                      <a:lnTo>
                        <a:pt x="1" y="3"/>
                      </a:lnTo>
                      <a:lnTo>
                        <a:pt x="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6" name="Freeform 541"/>
                <p:cNvSpPr>
                  <a:spLocks/>
                </p:cNvSpPr>
                <p:nvPr>
                  <p:custDataLst>
                    <p:tags r:id="rId522"/>
                  </p:custDataLst>
                </p:nvPr>
              </p:nvSpPr>
              <p:spPr bwMode="gray">
                <a:xfrm>
                  <a:off x="6720197" y="4667157"/>
                  <a:ext cx="50769" cy="34595"/>
                </a:xfrm>
                <a:custGeom>
                  <a:avLst/>
                  <a:gdLst>
                    <a:gd name="T0" fmla="*/ 0 w 5"/>
                    <a:gd name="T1" fmla="*/ 2 h 3"/>
                    <a:gd name="T2" fmla="*/ 2 w 5"/>
                    <a:gd name="T3" fmla="*/ 2 h 3"/>
                    <a:gd name="T4" fmla="*/ 5 w 5"/>
                    <a:gd name="T5" fmla="*/ 3 h 3"/>
                    <a:gd name="T6" fmla="*/ 5 w 5"/>
                    <a:gd name="T7" fmla="*/ 2 h 3"/>
                    <a:gd name="T8" fmla="*/ 0 w 5"/>
                    <a:gd name="T9" fmla="*/ 0 h 3"/>
                    <a:gd name="T10" fmla="*/ 0 w 5"/>
                    <a:gd name="T11" fmla="*/ 2 h 3"/>
                    <a:gd name="T12" fmla="*/ 0 w 5"/>
                    <a:gd name="T13" fmla="*/ 2 h 3"/>
                    <a:gd name="T14" fmla="*/ 0 w 5"/>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2"/>
                      </a:moveTo>
                      <a:cubicBezTo>
                        <a:pt x="1" y="2"/>
                        <a:pt x="1" y="2"/>
                        <a:pt x="2" y="2"/>
                      </a:cubicBezTo>
                      <a:cubicBezTo>
                        <a:pt x="3" y="2"/>
                        <a:pt x="4" y="3"/>
                        <a:pt x="5" y="3"/>
                      </a:cubicBezTo>
                      <a:cubicBezTo>
                        <a:pt x="5" y="3"/>
                        <a:pt x="5" y="2"/>
                        <a:pt x="5" y="2"/>
                      </a:cubicBezTo>
                      <a:cubicBezTo>
                        <a:pt x="5" y="0"/>
                        <a:pt x="1" y="0"/>
                        <a:pt x="0" y="0"/>
                      </a:cubicBezTo>
                      <a:cubicBezTo>
                        <a:pt x="0" y="1"/>
                        <a:pt x="0" y="1"/>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7" name="Freeform 542"/>
                <p:cNvSpPr>
                  <a:spLocks/>
                </p:cNvSpPr>
                <p:nvPr>
                  <p:custDataLst>
                    <p:tags r:id="rId523"/>
                  </p:custDataLst>
                </p:nvPr>
              </p:nvSpPr>
              <p:spPr bwMode="gray">
                <a:xfrm>
                  <a:off x="6720199" y="4678164"/>
                  <a:ext cx="1410" cy="12580"/>
                </a:xfrm>
                <a:custGeom>
                  <a:avLst/>
                  <a:gdLst>
                    <a:gd name="T0" fmla="*/ 0 h 8"/>
                    <a:gd name="T1" fmla="*/ 8 h 8"/>
                    <a:gd name="T2" fmla="*/ 8 h 8"/>
                    <a:gd name="T3" fmla="*/ 8 h 8"/>
                    <a:gd name="T4" fmla="*/ 8 h 8"/>
                    <a:gd name="T5" fmla="*/ 8 h 8"/>
                    <a:gd name="T6" fmla="*/ 0 h 8"/>
                  </a:gdLst>
                  <a:ahLst/>
                  <a:cxnLst>
                    <a:cxn ang="0">
                      <a:pos x="0" y="T0"/>
                    </a:cxn>
                    <a:cxn ang="0">
                      <a:pos x="0" y="T1"/>
                    </a:cxn>
                    <a:cxn ang="0">
                      <a:pos x="0" y="T2"/>
                    </a:cxn>
                    <a:cxn ang="0">
                      <a:pos x="0" y="T3"/>
                    </a:cxn>
                    <a:cxn ang="0">
                      <a:pos x="0" y="T4"/>
                    </a:cxn>
                    <a:cxn ang="0">
                      <a:pos x="0" y="T5"/>
                    </a:cxn>
                    <a:cxn ang="0">
                      <a:pos x="0" y="T6"/>
                    </a:cxn>
                  </a:cxnLst>
                  <a:rect l="0" t="0" r="r" b="b"/>
                  <a:pathLst>
                    <a:path h="8">
                      <a:moveTo>
                        <a:pt x="0" y="0"/>
                      </a:moveTo>
                      <a:lnTo>
                        <a:pt x="0" y="8"/>
                      </a:lnTo>
                      <a:lnTo>
                        <a:pt x="0" y="8"/>
                      </a:lnTo>
                      <a:lnTo>
                        <a:pt x="0" y="8"/>
                      </a:lnTo>
                      <a:lnTo>
                        <a:pt x="0" y="8"/>
                      </a:lnTo>
                      <a:lnTo>
                        <a:pt x="0" y="8"/>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8" name="Freeform 543"/>
                <p:cNvSpPr>
                  <a:spLocks/>
                </p:cNvSpPr>
                <p:nvPr>
                  <p:custDataLst>
                    <p:tags r:id="rId524"/>
                  </p:custDataLst>
                </p:nvPr>
              </p:nvSpPr>
              <p:spPr bwMode="gray">
                <a:xfrm>
                  <a:off x="6720199" y="4678164"/>
                  <a:ext cx="1410" cy="12580"/>
                </a:xfrm>
                <a:custGeom>
                  <a:avLst/>
                  <a:gdLst>
                    <a:gd name="T0" fmla="*/ 0 h 8"/>
                    <a:gd name="T1" fmla="*/ 8 h 8"/>
                    <a:gd name="T2" fmla="*/ 8 h 8"/>
                    <a:gd name="T3" fmla="*/ 8 h 8"/>
                    <a:gd name="T4" fmla="*/ 8 h 8"/>
                    <a:gd name="T5" fmla="*/ 8 h 8"/>
                    <a:gd name="T6" fmla="*/ 0 h 8"/>
                  </a:gdLst>
                  <a:ahLst/>
                  <a:cxnLst>
                    <a:cxn ang="0">
                      <a:pos x="0" y="T0"/>
                    </a:cxn>
                    <a:cxn ang="0">
                      <a:pos x="0" y="T1"/>
                    </a:cxn>
                    <a:cxn ang="0">
                      <a:pos x="0" y="T2"/>
                    </a:cxn>
                    <a:cxn ang="0">
                      <a:pos x="0" y="T3"/>
                    </a:cxn>
                    <a:cxn ang="0">
                      <a:pos x="0" y="T4"/>
                    </a:cxn>
                    <a:cxn ang="0">
                      <a:pos x="0" y="T5"/>
                    </a:cxn>
                    <a:cxn ang="0">
                      <a:pos x="0" y="T6"/>
                    </a:cxn>
                  </a:cxnLst>
                  <a:rect l="0" t="0" r="r" b="b"/>
                  <a:pathLst>
                    <a:path h="8">
                      <a:moveTo>
                        <a:pt x="0" y="0"/>
                      </a:moveTo>
                      <a:lnTo>
                        <a:pt x="0" y="8"/>
                      </a:lnTo>
                      <a:lnTo>
                        <a:pt x="0" y="8"/>
                      </a:lnTo>
                      <a:lnTo>
                        <a:pt x="0" y="8"/>
                      </a:lnTo>
                      <a:lnTo>
                        <a:pt x="0" y="8"/>
                      </a:lnTo>
                      <a:lnTo>
                        <a:pt x="0" y="8"/>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09" name="Freeform 544"/>
                <p:cNvSpPr>
                  <a:spLocks/>
                </p:cNvSpPr>
                <p:nvPr>
                  <p:custDataLst>
                    <p:tags r:id="rId525"/>
                  </p:custDataLst>
                </p:nvPr>
              </p:nvSpPr>
              <p:spPr bwMode="gray">
                <a:xfrm>
                  <a:off x="6649685" y="4398257"/>
                  <a:ext cx="29615" cy="124229"/>
                </a:xfrm>
                <a:custGeom>
                  <a:avLst/>
                  <a:gdLst>
                    <a:gd name="T0" fmla="*/ 2 w 3"/>
                    <a:gd name="T1" fmla="*/ 6 h 11"/>
                    <a:gd name="T2" fmla="*/ 1 w 3"/>
                    <a:gd name="T3" fmla="*/ 11 h 11"/>
                    <a:gd name="T4" fmla="*/ 0 w 3"/>
                    <a:gd name="T5" fmla="*/ 6 h 11"/>
                    <a:gd name="T6" fmla="*/ 1 w 3"/>
                    <a:gd name="T7" fmla="*/ 0 h 11"/>
                    <a:gd name="T8" fmla="*/ 2 w 3"/>
                    <a:gd name="T9" fmla="*/ 6 h 11"/>
                    <a:gd name="T10" fmla="*/ 2 w 3"/>
                    <a:gd name="T11" fmla="*/ 6 h 11"/>
                    <a:gd name="T12" fmla="*/ 2 w 3"/>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2" y="6"/>
                      </a:moveTo>
                      <a:cubicBezTo>
                        <a:pt x="2" y="8"/>
                        <a:pt x="3" y="10"/>
                        <a:pt x="1" y="11"/>
                      </a:cubicBezTo>
                      <a:cubicBezTo>
                        <a:pt x="0" y="9"/>
                        <a:pt x="0" y="8"/>
                        <a:pt x="0" y="6"/>
                      </a:cubicBezTo>
                      <a:cubicBezTo>
                        <a:pt x="0" y="5"/>
                        <a:pt x="1" y="0"/>
                        <a:pt x="1" y="0"/>
                      </a:cubicBezTo>
                      <a:cubicBezTo>
                        <a:pt x="2" y="1"/>
                        <a:pt x="2" y="3"/>
                        <a:pt x="2" y="6"/>
                      </a:cubicBezTo>
                      <a:lnTo>
                        <a:pt x="2" y="6"/>
                      </a:lnTo>
                      <a:lnTo>
                        <a:pt x="2"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0" name="Freeform 545"/>
                <p:cNvSpPr>
                  <a:spLocks/>
                </p:cNvSpPr>
                <p:nvPr>
                  <p:custDataLst>
                    <p:tags r:id="rId526"/>
                  </p:custDataLst>
                </p:nvPr>
              </p:nvSpPr>
              <p:spPr bwMode="gray">
                <a:xfrm>
                  <a:off x="6187116" y="4846424"/>
                  <a:ext cx="31026" cy="45603"/>
                </a:xfrm>
                <a:custGeom>
                  <a:avLst/>
                  <a:gdLst>
                    <a:gd name="T0" fmla="*/ 0 w 3"/>
                    <a:gd name="T1" fmla="*/ 1 h 4"/>
                    <a:gd name="T2" fmla="*/ 1 w 3"/>
                    <a:gd name="T3" fmla="*/ 0 h 4"/>
                    <a:gd name="T4" fmla="*/ 1 w 3"/>
                    <a:gd name="T5" fmla="*/ 0 h 4"/>
                    <a:gd name="T6" fmla="*/ 3 w 3"/>
                    <a:gd name="T7" fmla="*/ 0 h 4"/>
                    <a:gd name="T8" fmla="*/ 3 w 3"/>
                    <a:gd name="T9" fmla="*/ 0 h 4"/>
                    <a:gd name="T10" fmla="*/ 1 w 3"/>
                    <a:gd name="T11" fmla="*/ 4 h 4"/>
                    <a:gd name="T12" fmla="*/ 1 w 3"/>
                    <a:gd name="T13" fmla="*/ 4 h 4"/>
                    <a:gd name="T14" fmla="*/ 0 w 3"/>
                    <a:gd name="T15" fmla="*/ 1 h 4"/>
                    <a:gd name="T16" fmla="*/ 0 w 3"/>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1"/>
                      </a:moveTo>
                      <a:cubicBezTo>
                        <a:pt x="0" y="0"/>
                        <a:pt x="1" y="0"/>
                        <a:pt x="1" y="0"/>
                      </a:cubicBezTo>
                      <a:lnTo>
                        <a:pt x="1" y="0"/>
                      </a:lnTo>
                      <a:lnTo>
                        <a:pt x="3" y="0"/>
                      </a:lnTo>
                      <a:lnTo>
                        <a:pt x="3" y="0"/>
                      </a:lnTo>
                      <a:cubicBezTo>
                        <a:pt x="3" y="1"/>
                        <a:pt x="2" y="3"/>
                        <a:pt x="1" y="4"/>
                      </a:cubicBezTo>
                      <a:lnTo>
                        <a:pt x="1" y="4"/>
                      </a:ln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1" name="Freeform 546"/>
                <p:cNvSpPr>
                  <a:spLocks/>
                </p:cNvSpPr>
                <p:nvPr>
                  <p:custDataLst>
                    <p:tags r:id="rId527"/>
                  </p:custDataLst>
                </p:nvPr>
              </p:nvSpPr>
              <p:spPr bwMode="gray">
                <a:xfrm>
                  <a:off x="6187116" y="4881018"/>
                  <a:ext cx="9871" cy="11009"/>
                </a:xfrm>
                <a:custGeom>
                  <a:avLst/>
                  <a:gdLst>
                    <a:gd name="T0" fmla="*/ 0 w 7"/>
                    <a:gd name="T1" fmla="*/ 7 h 7"/>
                    <a:gd name="T2" fmla="*/ 7 w 7"/>
                    <a:gd name="T3" fmla="*/ 7 h 7"/>
                    <a:gd name="T4" fmla="*/ 7 w 7"/>
                    <a:gd name="T5" fmla="*/ 7 h 7"/>
                    <a:gd name="T6" fmla="*/ 7 w 7"/>
                    <a:gd name="T7" fmla="*/ 7 h 7"/>
                    <a:gd name="T8" fmla="*/ 7 w 7"/>
                    <a:gd name="T9" fmla="*/ 7 h 7"/>
                    <a:gd name="T10" fmla="*/ 7 w 7"/>
                    <a:gd name="T11" fmla="*/ 0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7" y="7"/>
                      </a:lnTo>
                      <a:lnTo>
                        <a:pt x="7" y="7"/>
                      </a:lnTo>
                      <a:lnTo>
                        <a:pt x="7" y="7"/>
                      </a:lnTo>
                      <a:lnTo>
                        <a:pt x="7" y="7"/>
                      </a:lnTo>
                      <a:lnTo>
                        <a:pt x="7"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2" name="Freeform 547"/>
                <p:cNvSpPr>
                  <a:spLocks/>
                </p:cNvSpPr>
                <p:nvPr>
                  <p:custDataLst>
                    <p:tags r:id="rId528"/>
                  </p:custDataLst>
                </p:nvPr>
              </p:nvSpPr>
              <p:spPr bwMode="gray">
                <a:xfrm>
                  <a:off x="5824676" y="4588532"/>
                  <a:ext cx="71924" cy="33023"/>
                </a:xfrm>
                <a:custGeom>
                  <a:avLst/>
                  <a:gdLst>
                    <a:gd name="T0" fmla="*/ 3 w 7"/>
                    <a:gd name="T1" fmla="*/ 2 h 3"/>
                    <a:gd name="T2" fmla="*/ 2 w 7"/>
                    <a:gd name="T3" fmla="*/ 3 h 3"/>
                    <a:gd name="T4" fmla="*/ 0 w 7"/>
                    <a:gd name="T5" fmla="*/ 2 h 3"/>
                    <a:gd name="T6" fmla="*/ 2 w 7"/>
                    <a:gd name="T7" fmla="*/ 0 h 3"/>
                    <a:gd name="T8" fmla="*/ 7 w 7"/>
                    <a:gd name="T9" fmla="*/ 3 h 3"/>
                    <a:gd name="T10" fmla="*/ 7 w 7"/>
                    <a:gd name="T11" fmla="*/ 3 h 3"/>
                    <a:gd name="T12" fmla="*/ 6 w 7"/>
                    <a:gd name="T13" fmla="*/ 3 h 3"/>
                    <a:gd name="T14" fmla="*/ 6 w 7"/>
                    <a:gd name="T15" fmla="*/ 3 h 3"/>
                    <a:gd name="T16" fmla="*/ 3 w 7"/>
                    <a:gd name="T17" fmla="*/ 2 h 3"/>
                    <a:gd name="T18" fmla="*/ 3 w 7"/>
                    <a:gd name="T19" fmla="*/ 2 h 3"/>
                    <a:gd name="T20" fmla="*/ 3 w 7"/>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2"/>
                      </a:moveTo>
                      <a:cubicBezTo>
                        <a:pt x="3" y="3"/>
                        <a:pt x="3" y="3"/>
                        <a:pt x="2" y="3"/>
                      </a:cubicBezTo>
                      <a:cubicBezTo>
                        <a:pt x="1" y="3"/>
                        <a:pt x="0" y="2"/>
                        <a:pt x="0" y="2"/>
                      </a:cubicBezTo>
                      <a:cubicBezTo>
                        <a:pt x="0" y="0"/>
                        <a:pt x="1" y="0"/>
                        <a:pt x="2" y="0"/>
                      </a:cubicBezTo>
                      <a:cubicBezTo>
                        <a:pt x="4" y="0"/>
                        <a:pt x="6" y="2"/>
                        <a:pt x="7" y="3"/>
                      </a:cubicBezTo>
                      <a:lnTo>
                        <a:pt x="7" y="3"/>
                      </a:lnTo>
                      <a:lnTo>
                        <a:pt x="6" y="3"/>
                      </a:lnTo>
                      <a:lnTo>
                        <a:pt x="6" y="3"/>
                      </a:lnTo>
                      <a:cubicBezTo>
                        <a:pt x="5" y="3"/>
                        <a:pt x="4" y="2"/>
                        <a:pt x="3" y="2"/>
                      </a:cubicBezTo>
                      <a:lnTo>
                        <a:pt x="3" y="2"/>
                      </a:lnTo>
                      <a:lnTo>
                        <a:pt x="3"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3" name="Freeform 548"/>
                <p:cNvSpPr>
                  <a:spLocks/>
                </p:cNvSpPr>
                <p:nvPr>
                  <p:custDataLst>
                    <p:tags r:id="rId529"/>
                  </p:custDataLst>
                </p:nvPr>
              </p:nvSpPr>
              <p:spPr bwMode="gray">
                <a:xfrm>
                  <a:off x="5916343" y="4645142"/>
                  <a:ext cx="9871"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1" y="0"/>
                        <a:pt x="1" y="0"/>
                      </a:cubicBezTo>
                      <a:cubicBezTo>
                        <a:pt x="1" y="0"/>
                        <a:pt x="1" y="1"/>
                        <a:pt x="1" y="1"/>
                      </a:cubicBezTo>
                      <a:cubicBezTo>
                        <a:pt x="1" y="1"/>
                        <a:pt x="1"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4" name="Freeform 549"/>
                <p:cNvSpPr>
                  <a:spLocks/>
                </p:cNvSpPr>
                <p:nvPr>
                  <p:custDataLst>
                    <p:tags r:id="rId530"/>
                  </p:custDataLst>
                </p:nvPr>
              </p:nvSpPr>
              <p:spPr bwMode="gray">
                <a:xfrm>
                  <a:off x="6136345" y="4723767"/>
                  <a:ext cx="9871" cy="11009"/>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5" name="Freeform 550"/>
                <p:cNvSpPr>
                  <a:spLocks/>
                </p:cNvSpPr>
                <p:nvPr>
                  <p:custDataLst>
                    <p:tags r:id="rId531"/>
                  </p:custDataLst>
                </p:nvPr>
              </p:nvSpPr>
              <p:spPr bwMode="gray">
                <a:xfrm>
                  <a:off x="5804932" y="4218991"/>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6" name="Freeform 551"/>
                <p:cNvSpPr>
                  <a:spLocks/>
                </p:cNvSpPr>
                <p:nvPr>
                  <p:custDataLst>
                    <p:tags r:id="rId532"/>
                  </p:custDataLst>
                </p:nvPr>
              </p:nvSpPr>
              <p:spPr bwMode="gray">
                <a:xfrm>
                  <a:off x="5804932" y="4218991"/>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7" name="Freeform 552"/>
                <p:cNvSpPr>
                  <a:spLocks/>
                </p:cNvSpPr>
                <p:nvPr>
                  <p:custDataLst>
                    <p:tags r:id="rId533"/>
                  </p:custDataLst>
                </p:nvPr>
              </p:nvSpPr>
              <p:spPr bwMode="gray">
                <a:xfrm>
                  <a:off x="5804932" y="4218991"/>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8" name="Freeform 553"/>
                <p:cNvSpPr>
                  <a:spLocks/>
                </p:cNvSpPr>
                <p:nvPr>
                  <p:custDataLst>
                    <p:tags r:id="rId534"/>
                  </p:custDataLst>
                </p:nvPr>
              </p:nvSpPr>
              <p:spPr bwMode="gray">
                <a:xfrm>
                  <a:off x="6046088" y="4241006"/>
                  <a:ext cx="11282" cy="11008"/>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19" name="Freeform 554"/>
                <p:cNvSpPr>
                  <a:spLocks/>
                </p:cNvSpPr>
                <p:nvPr>
                  <p:custDataLst>
                    <p:tags r:id="rId535"/>
                  </p:custDataLst>
                </p:nvPr>
              </p:nvSpPr>
              <p:spPr bwMode="gray">
                <a:xfrm>
                  <a:off x="6036217" y="4241006"/>
                  <a:ext cx="21155" cy="1571"/>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0" name="Freeform 555"/>
                <p:cNvSpPr>
                  <a:spLocks/>
                </p:cNvSpPr>
                <p:nvPr>
                  <p:custDataLst>
                    <p:tags r:id="rId536"/>
                  </p:custDataLst>
                </p:nvPr>
              </p:nvSpPr>
              <p:spPr bwMode="gray">
                <a:xfrm>
                  <a:off x="6036217" y="4241006"/>
                  <a:ext cx="21155" cy="1571"/>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1" name="Freeform 556"/>
                <p:cNvSpPr>
                  <a:spLocks/>
                </p:cNvSpPr>
                <p:nvPr>
                  <p:custDataLst>
                    <p:tags r:id="rId537"/>
                  </p:custDataLst>
                </p:nvPr>
              </p:nvSpPr>
              <p:spPr bwMode="gray">
                <a:xfrm>
                  <a:off x="6146217" y="4252014"/>
                  <a:ext cx="9872" cy="23588"/>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2" name="Freeform 557"/>
                <p:cNvSpPr>
                  <a:spLocks/>
                </p:cNvSpPr>
                <p:nvPr>
                  <p:custDataLst>
                    <p:tags r:id="rId538"/>
                  </p:custDataLst>
                </p:nvPr>
              </p:nvSpPr>
              <p:spPr bwMode="gray">
                <a:xfrm>
                  <a:off x="6136346" y="4263022"/>
                  <a:ext cx="19744" cy="1571"/>
                </a:xfrm>
                <a:custGeom>
                  <a:avLst/>
                  <a:gdLst>
                    <a:gd name="T0" fmla="*/ 0 w 14"/>
                    <a:gd name="T1" fmla="*/ 7 w 14"/>
                    <a:gd name="T2" fmla="*/ 7 w 14"/>
                    <a:gd name="T3" fmla="*/ 7 w 14"/>
                    <a:gd name="T4" fmla="*/ 7 w 14"/>
                    <a:gd name="T5" fmla="*/ 14 w 14"/>
                    <a:gd name="T6" fmla="*/ 0 w 14"/>
                  </a:gdLst>
                  <a:ahLst/>
                  <a:cxnLst>
                    <a:cxn ang="0">
                      <a:pos x="T0" y="0"/>
                    </a:cxn>
                    <a:cxn ang="0">
                      <a:pos x="T1" y="0"/>
                    </a:cxn>
                    <a:cxn ang="0">
                      <a:pos x="T2" y="0"/>
                    </a:cxn>
                    <a:cxn ang="0">
                      <a:pos x="T3" y="0"/>
                    </a:cxn>
                    <a:cxn ang="0">
                      <a:pos x="T4" y="0"/>
                    </a:cxn>
                    <a:cxn ang="0">
                      <a:pos x="T5" y="0"/>
                    </a:cxn>
                    <a:cxn ang="0">
                      <a:pos x="T6" y="0"/>
                    </a:cxn>
                  </a:cxnLst>
                  <a:rect l="0" t="0" r="r" b="b"/>
                  <a:pathLst>
                    <a:path w="14">
                      <a:moveTo>
                        <a:pt x="0" y="0"/>
                      </a:moveTo>
                      <a:lnTo>
                        <a:pt x="7" y="0"/>
                      </a:lnTo>
                      <a:lnTo>
                        <a:pt x="7" y="0"/>
                      </a:lnTo>
                      <a:lnTo>
                        <a:pt x="7" y="0"/>
                      </a:lnTo>
                      <a:lnTo>
                        <a:pt x="7" y="0"/>
                      </a:lnTo>
                      <a:lnTo>
                        <a:pt x="14"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3" name="Freeform 558"/>
                <p:cNvSpPr>
                  <a:spLocks/>
                </p:cNvSpPr>
                <p:nvPr>
                  <p:custDataLst>
                    <p:tags r:id="rId539"/>
                  </p:custDataLst>
                </p:nvPr>
              </p:nvSpPr>
              <p:spPr bwMode="gray">
                <a:xfrm>
                  <a:off x="6136346" y="4263022"/>
                  <a:ext cx="19744" cy="1571"/>
                </a:xfrm>
                <a:custGeom>
                  <a:avLst/>
                  <a:gdLst>
                    <a:gd name="T0" fmla="*/ 0 w 14"/>
                    <a:gd name="T1" fmla="*/ 7 w 14"/>
                    <a:gd name="T2" fmla="*/ 7 w 14"/>
                    <a:gd name="T3" fmla="*/ 7 w 14"/>
                    <a:gd name="T4" fmla="*/ 7 w 14"/>
                    <a:gd name="T5" fmla="*/ 14 w 14"/>
                    <a:gd name="T6" fmla="*/ 0 w 14"/>
                  </a:gdLst>
                  <a:ahLst/>
                  <a:cxnLst>
                    <a:cxn ang="0">
                      <a:pos x="T0" y="0"/>
                    </a:cxn>
                    <a:cxn ang="0">
                      <a:pos x="T1" y="0"/>
                    </a:cxn>
                    <a:cxn ang="0">
                      <a:pos x="T2" y="0"/>
                    </a:cxn>
                    <a:cxn ang="0">
                      <a:pos x="T3" y="0"/>
                    </a:cxn>
                    <a:cxn ang="0">
                      <a:pos x="T4" y="0"/>
                    </a:cxn>
                    <a:cxn ang="0">
                      <a:pos x="T5" y="0"/>
                    </a:cxn>
                    <a:cxn ang="0">
                      <a:pos x="T6" y="0"/>
                    </a:cxn>
                  </a:cxnLst>
                  <a:rect l="0" t="0" r="r" b="b"/>
                  <a:pathLst>
                    <a:path w="14">
                      <a:moveTo>
                        <a:pt x="0" y="0"/>
                      </a:moveTo>
                      <a:lnTo>
                        <a:pt x="7" y="0"/>
                      </a:lnTo>
                      <a:lnTo>
                        <a:pt x="7" y="0"/>
                      </a:lnTo>
                      <a:lnTo>
                        <a:pt x="7" y="0"/>
                      </a:lnTo>
                      <a:lnTo>
                        <a:pt x="7" y="0"/>
                      </a:lnTo>
                      <a:lnTo>
                        <a:pt x="14"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4" name="Freeform 559"/>
                <p:cNvSpPr>
                  <a:spLocks/>
                </p:cNvSpPr>
                <p:nvPr>
                  <p:custDataLst>
                    <p:tags r:id="rId540"/>
                  </p:custDataLst>
                </p:nvPr>
              </p:nvSpPr>
              <p:spPr bwMode="gray">
                <a:xfrm>
                  <a:off x="6196988" y="4297617"/>
                  <a:ext cx="9872" cy="22015"/>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0"/>
                        <a:pt x="0" y="0"/>
                        <a:pt x="0" y="0"/>
                      </a:cubicBezTo>
                      <a:cubicBezTo>
                        <a:pt x="0" y="0"/>
                        <a:pt x="1" y="0"/>
                        <a:pt x="1" y="1"/>
                      </a:cubicBezTo>
                      <a:cubicBezTo>
                        <a:pt x="1" y="1"/>
                        <a:pt x="0"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5" name="Freeform 560"/>
                <p:cNvSpPr>
                  <a:spLocks/>
                </p:cNvSpPr>
                <p:nvPr>
                  <p:custDataLst>
                    <p:tags r:id="rId541"/>
                  </p:custDataLst>
                </p:nvPr>
              </p:nvSpPr>
              <p:spPr bwMode="gray">
                <a:xfrm>
                  <a:off x="6187116" y="4308623"/>
                  <a:ext cx="9871" cy="1573"/>
                </a:xfrm>
                <a:custGeom>
                  <a:avLst/>
                  <a:gdLst>
                    <a:gd name="T0" fmla="*/ 0 w 7"/>
                    <a:gd name="T1" fmla="*/ 7 w 7"/>
                    <a:gd name="T2" fmla="*/ 7 w 7"/>
                    <a:gd name="T3" fmla="*/ 7 w 7"/>
                    <a:gd name="T4" fmla="*/ 7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7" y="0"/>
                      </a:lnTo>
                      <a:lnTo>
                        <a:pt x="7" y="0"/>
                      </a:lnTo>
                      <a:lnTo>
                        <a:pt x="7" y="0"/>
                      </a:lnTo>
                      <a:lnTo>
                        <a:pt x="7"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6" name="Freeform 561"/>
                <p:cNvSpPr>
                  <a:spLocks/>
                </p:cNvSpPr>
                <p:nvPr>
                  <p:custDataLst>
                    <p:tags r:id="rId542"/>
                  </p:custDataLst>
                </p:nvPr>
              </p:nvSpPr>
              <p:spPr bwMode="gray">
                <a:xfrm>
                  <a:off x="6187116" y="4308623"/>
                  <a:ext cx="9871" cy="1573"/>
                </a:xfrm>
                <a:custGeom>
                  <a:avLst/>
                  <a:gdLst>
                    <a:gd name="T0" fmla="*/ 0 w 7"/>
                    <a:gd name="T1" fmla="*/ 7 w 7"/>
                    <a:gd name="T2" fmla="*/ 7 w 7"/>
                    <a:gd name="T3" fmla="*/ 7 w 7"/>
                    <a:gd name="T4" fmla="*/ 7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7" y="0"/>
                      </a:lnTo>
                      <a:lnTo>
                        <a:pt x="7" y="0"/>
                      </a:lnTo>
                      <a:lnTo>
                        <a:pt x="7" y="0"/>
                      </a:lnTo>
                      <a:lnTo>
                        <a:pt x="7"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7" name="Freeform 562"/>
                <p:cNvSpPr>
                  <a:spLocks/>
                </p:cNvSpPr>
                <p:nvPr>
                  <p:custDataLst>
                    <p:tags r:id="rId543"/>
                  </p:custDataLst>
                </p:nvPr>
              </p:nvSpPr>
              <p:spPr bwMode="gray">
                <a:xfrm>
                  <a:off x="5875445" y="4947065"/>
                  <a:ext cx="21155"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0"/>
                        <a:pt x="0" y="0"/>
                        <a:pt x="1" y="0"/>
                      </a:cubicBezTo>
                      <a:cubicBezTo>
                        <a:pt x="1" y="0"/>
                        <a:pt x="2" y="0"/>
                        <a:pt x="2" y="1"/>
                      </a:cubicBezTo>
                      <a:cubicBezTo>
                        <a:pt x="2"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8" name="Freeform 563"/>
                <p:cNvSpPr>
                  <a:spLocks/>
                </p:cNvSpPr>
                <p:nvPr>
                  <p:custDataLst>
                    <p:tags r:id="rId544"/>
                  </p:custDataLst>
                </p:nvPr>
              </p:nvSpPr>
              <p:spPr bwMode="gray">
                <a:xfrm>
                  <a:off x="5814804" y="4958073"/>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0"/>
                        <a:pt x="1" y="0"/>
                      </a:cubicBezTo>
                      <a:cubicBezTo>
                        <a:pt x="1" y="0"/>
                        <a:pt x="2" y="1"/>
                        <a:pt x="2" y="1"/>
                      </a:cubicBezTo>
                      <a:cubicBezTo>
                        <a:pt x="2"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29" name="Freeform 564"/>
                <p:cNvSpPr>
                  <a:spLocks/>
                </p:cNvSpPr>
                <p:nvPr>
                  <p:custDataLst>
                    <p:tags r:id="rId545"/>
                  </p:custDataLst>
                </p:nvPr>
              </p:nvSpPr>
              <p:spPr bwMode="gray">
                <a:xfrm>
                  <a:off x="6167372" y="4835415"/>
                  <a:ext cx="9871" cy="11008"/>
                </a:xfrm>
                <a:custGeom>
                  <a:avLst/>
                  <a:gdLst>
                    <a:gd name="T0" fmla="*/ 0 w 1"/>
                    <a:gd name="T1" fmla="*/ 0 h 1"/>
                    <a:gd name="T2" fmla="*/ 1 w 1"/>
                    <a:gd name="T3" fmla="*/ 0 h 1"/>
                    <a:gd name="T4" fmla="*/ 1 w 1"/>
                    <a:gd name="T5" fmla="*/ 1 h 1"/>
                    <a:gd name="T6" fmla="*/ 0 w 1"/>
                    <a:gd name="T7" fmla="*/ 1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0"/>
                      </a:moveTo>
                      <a:lnTo>
                        <a:pt x="1" y="0"/>
                      </a:lnTo>
                      <a:lnTo>
                        <a:pt x="1" y="1"/>
                      </a:lnTo>
                      <a:lnTo>
                        <a:pt x="0" y="1"/>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0" name="Freeform 565"/>
                <p:cNvSpPr>
                  <a:spLocks/>
                </p:cNvSpPr>
                <p:nvPr>
                  <p:custDataLst>
                    <p:tags r:id="rId546"/>
                  </p:custDataLst>
                </p:nvPr>
              </p:nvSpPr>
              <p:spPr bwMode="gray">
                <a:xfrm>
                  <a:off x="7212383" y="3646595"/>
                  <a:ext cx="9872"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1" y="0"/>
                        <a:pt x="1" y="0"/>
                      </a:cubicBezTo>
                      <a:cubicBezTo>
                        <a:pt x="1" y="0"/>
                        <a:pt x="1" y="0"/>
                        <a:pt x="1" y="1"/>
                      </a:cubicBezTo>
                      <a:cubicBezTo>
                        <a:pt x="1" y="1"/>
                        <a:pt x="1"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1" name="Freeform 566"/>
                <p:cNvSpPr>
                  <a:spLocks/>
                </p:cNvSpPr>
                <p:nvPr>
                  <p:custDataLst>
                    <p:tags r:id="rId547"/>
                  </p:custDataLst>
                </p:nvPr>
              </p:nvSpPr>
              <p:spPr bwMode="gray">
                <a:xfrm>
                  <a:off x="7212383" y="3657604"/>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2" name="Freeform 567"/>
                <p:cNvSpPr>
                  <a:spLocks/>
                </p:cNvSpPr>
                <p:nvPr>
                  <p:custDataLst>
                    <p:tags r:id="rId548"/>
                  </p:custDataLst>
                </p:nvPr>
              </p:nvSpPr>
              <p:spPr bwMode="gray">
                <a:xfrm>
                  <a:off x="7212383" y="3657604"/>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3" name="Freeform 568"/>
                <p:cNvSpPr>
                  <a:spLocks/>
                </p:cNvSpPr>
                <p:nvPr>
                  <p:custDataLst>
                    <p:tags r:id="rId549"/>
                  </p:custDataLst>
                </p:nvPr>
              </p:nvSpPr>
              <p:spPr bwMode="gray">
                <a:xfrm>
                  <a:off x="7071355" y="3637161"/>
                  <a:ext cx="11282" cy="20442"/>
                </a:xfrm>
                <a:custGeom>
                  <a:avLst/>
                  <a:gdLst>
                    <a:gd name="T0" fmla="*/ 0 w 1"/>
                    <a:gd name="T1" fmla="*/ 1 h 2"/>
                    <a:gd name="T2" fmla="*/ 0 w 1"/>
                    <a:gd name="T3" fmla="*/ 0 h 2"/>
                    <a:gd name="T4" fmla="*/ 1 w 1"/>
                    <a:gd name="T5" fmla="*/ 1 h 2"/>
                    <a:gd name="T6" fmla="*/ 0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0" y="0"/>
                      </a:cubicBezTo>
                      <a:cubicBezTo>
                        <a:pt x="1" y="0"/>
                        <a:pt x="1" y="1"/>
                        <a:pt x="1" y="1"/>
                      </a:cubicBezTo>
                      <a:cubicBezTo>
                        <a:pt x="1" y="1"/>
                        <a:pt x="1" y="2"/>
                        <a:pt x="0"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4" name="Freeform 569"/>
                <p:cNvSpPr>
                  <a:spLocks/>
                </p:cNvSpPr>
                <p:nvPr>
                  <p:custDataLst>
                    <p:tags r:id="rId550"/>
                  </p:custDataLst>
                </p:nvPr>
              </p:nvSpPr>
              <p:spPr bwMode="gray">
                <a:xfrm>
                  <a:off x="7112253" y="3626154"/>
                  <a:ext cx="9871" cy="11009"/>
                </a:xfrm>
                <a:custGeom>
                  <a:avLst/>
                  <a:gdLst>
                    <a:gd name="T0" fmla="*/ 0 w 1"/>
                    <a:gd name="T1" fmla="*/ 0 h 1"/>
                    <a:gd name="T2" fmla="*/ 0 w 1"/>
                    <a:gd name="T3" fmla="*/ 1 h 1"/>
                    <a:gd name="T4" fmla="*/ 0 w 1"/>
                    <a:gd name="T5" fmla="*/ 1 h 1"/>
                    <a:gd name="T6" fmla="*/ 1 w 1"/>
                    <a:gd name="T7" fmla="*/ 0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lnTo>
                        <a:pt x="0" y="1"/>
                      </a:lnTo>
                      <a:lnTo>
                        <a:pt x="0" y="1"/>
                      </a:lnTo>
                      <a:cubicBezTo>
                        <a:pt x="0" y="1"/>
                        <a:pt x="1" y="0"/>
                        <a:pt x="1" y="0"/>
                      </a:cubicBezTo>
                      <a:cubicBezTo>
                        <a:pt x="0" y="0"/>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5" name="Freeform 570"/>
                <p:cNvSpPr>
                  <a:spLocks/>
                </p:cNvSpPr>
                <p:nvPr>
                  <p:custDataLst>
                    <p:tags r:id="rId551"/>
                  </p:custDataLst>
                </p:nvPr>
              </p:nvSpPr>
              <p:spPr bwMode="gray">
                <a:xfrm>
                  <a:off x="7182767" y="3657604"/>
                  <a:ext cx="19744" cy="34595"/>
                </a:xfrm>
                <a:custGeom>
                  <a:avLst/>
                  <a:gdLst>
                    <a:gd name="T0" fmla="*/ 2 w 2"/>
                    <a:gd name="T1" fmla="*/ 3 h 3"/>
                    <a:gd name="T2" fmla="*/ 2 w 2"/>
                    <a:gd name="T3" fmla="*/ 3 h 3"/>
                    <a:gd name="T4" fmla="*/ 0 w 2"/>
                    <a:gd name="T5" fmla="*/ 0 h 3"/>
                    <a:gd name="T6" fmla="*/ 2 w 2"/>
                    <a:gd name="T7" fmla="*/ 3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cubicBezTo>
                        <a:pt x="2" y="3"/>
                        <a:pt x="2" y="3"/>
                        <a:pt x="2" y="3"/>
                      </a:cubicBezTo>
                      <a:cubicBezTo>
                        <a:pt x="2" y="2"/>
                        <a:pt x="1" y="1"/>
                        <a:pt x="0" y="0"/>
                      </a:cubicBezTo>
                      <a:cubicBezTo>
                        <a:pt x="0" y="2"/>
                        <a:pt x="1" y="3"/>
                        <a:pt x="2" y="3"/>
                      </a:cubicBezTo>
                      <a:lnTo>
                        <a:pt x="2" y="3"/>
                      </a:lnTo>
                      <a:lnTo>
                        <a:pt x="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6" name="Freeform 571"/>
                <p:cNvSpPr>
                  <a:spLocks/>
                </p:cNvSpPr>
                <p:nvPr>
                  <p:custDataLst>
                    <p:tags r:id="rId552"/>
                  </p:custDataLst>
                </p:nvPr>
              </p:nvSpPr>
              <p:spPr bwMode="gray">
                <a:xfrm>
                  <a:off x="7192639" y="3692198"/>
                  <a:ext cx="9872" cy="1573"/>
                </a:xfrm>
                <a:custGeom>
                  <a:avLst/>
                  <a:gdLst>
                    <a:gd name="T0" fmla="*/ 0 w 7"/>
                    <a:gd name="T1" fmla="*/ 0 w 7"/>
                    <a:gd name="T2" fmla="*/ 0 w 7"/>
                    <a:gd name="T3" fmla="*/ 7 w 7"/>
                    <a:gd name="T4" fmla="*/ 7 w 7"/>
                    <a:gd name="T5" fmla="*/ 7 w 7"/>
                    <a:gd name="T6" fmla="*/ 7 w 7"/>
                    <a:gd name="T7" fmla="*/ 7 w 7"/>
                    <a:gd name="T8" fmla="*/ 7 w 7"/>
                    <a:gd name="T9" fmla="*/ 7 w 7"/>
                    <a:gd name="T10" fmla="*/ 0 w 7"/>
                    <a:gd name="T11" fmla="*/ 0 w 7"/>
                    <a:gd name="T12" fmla="*/ 0 w 7"/>
                    <a:gd name="T13" fmla="*/ 0 w 7"/>
                    <a:gd name="T14" fmla="*/ 0 w 7"/>
                    <a:gd name="T15" fmla="*/ 0 w 7"/>
                    <a:gd name="T16" fmla="*/ 0 w 7"/>
                    <a:gd name="T17" fmla="*/ 7 w 7"/>
                    <a:gd name="T18" fmla="*/ 7 w 7"/>
                    <a:gd name="T19" fmla="*/ 7 w 7"/>
                    <a:gd name="T20"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7">
                      <a:moveTo>
                        <a:pt x="0" y="0"/>
                      </a:moveTo>
                      <a:lnTo>
                        <a:pt x="0" y="0"/>
                      </a:lnTo>
                      <a:lnTo>
                        <a:pt x="0" y="0"/>
                      </a:lnTo>
                      <a:lnTo>
                        <a:pt x="7" y="0"/>
                      </a:lnTo>
                      <a:lnTo>
                        <a:pt x="7" y="0"/>
                      </a:lnTo>
                      <a:lnTo>
                        <a:pt x="7" y="0"/>
                      </a:lnTo>
                      <a:lnTo>
                        <a:pt x="7" y="0"/>
                      </a:lnTo>
                      <a:lnTo>
                        <a:pt x="7" y="0"/>
                      </a:lnTo>
                      <a:lnTo>
                        <a:pt x="7" y="0"/>
                      </a:lnTo>
                      <a:lnTo>
                        <a:pt x="7" y="0"/>
                      </a:lnTo>
                      <a:lnTo>
                        <a:pt x="0" y="0"/>
                      </a:lnTo>
                      <a:lnTo>
                        <a:pt x="0" y="0"/>
                      </a:lnTo>
                      <a:lnTo>
                        <a:pt x="0" y="0"/>
                      </a:lnTo>
                      <a:lnTo>
                        <a:pt x="0" y="0"/>
                      </a:lnTo>
                      <a:lnTo>
                        <a:pt x="0" y="0"/>
                      </a:lnTo>
                      <a:lnTo>
                        <a:pt x="0" y="0"/>
                      </a:lnTo>
                      <a:lnTo>
                        <a:pt x="0" y="0"/>
                      </a:lnTo>
                      <a:lnTo>
                        <a:pt x="7" y="0"/>
                      </a:lnTo>
                      <a:lnTo>
                        <a:pt x="7"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7" name="Freeform 572"/>
                <p:cNvSpPr>
                  <a:spLocks/>
                </p:cNvSpPr>
                <p:nvPr>
                  <p:custDataLst>
                    <p:tags r:id="rId553"/>
                  </p:custDataLst>
                </p:nvPr>
              </p:nvSpPr>
              <p:spPr bwMode="gray">
                <a:xfrm>
                  <a:off x="7192639" y="3692198"/>
                  <a:ext cx="9872" cy="1573"/>
                </a:xfrm>
                <a:custGeom>
                  <a:avLst/>
                  <a:gdLst>
                    <a:gd name="T0" fmla="*/ 7 w 7"/>
                    <a:gd name="T1" fmla="*/ 7 w 7"/>
                    <a:gd name="T2" fmla="*/ 7 w 7"/>
                    <a:gd name="T3" fmla="*/ 7 w 7"/>
                    <a:gd name="T4" fmla="*/ 7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7" y="0"/>
                      </a:lnTo>
                      <a:lnTo>
                        <a:pt x="7" y="0"/>
                      </a:lnTo>
                      <a:lnTo>
                        <a:pt x="7" y="0"/>
                      </a:lnTo>
                      <a:lnTo>
                        <a:pt x="7"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8" name="Freeform 573"/>
                <p:cNvSpPr>
                  <a:spLocks/>
                </p:cNvSpPr>
                <p:nvPr>
                  <p:custDataLst>
                    <p:tags r:id="rId554"/>
                  </p:custDataLst>
                </p:nvPr>
              </p:nvSpPr>
              <p:spPr bwMode="gray">
                <a:xfrm>
                  <a:off x="7192639" y="3692198"/>
                  <a:ext cx="9872" cy="1573"/>
                </a:xfrm>
                <a:custGeom>
                  <a:avLst/>
                  <a:gdLst>
                    <a:gd name="T0" fmla="*/ 7 w 7"/>
                    <a:gd name="T1" fmla="*/ 7 w 7"/>
                    <a:gd name="T2" fmla="*/ 7 w 7"/>
                    <a:gd name="T3" fmla="*/ 7 w 7"/>
                    <a:gd name="T4" fmla="*/ 7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7" y="0"/>
                      </a:lnTo>
                      <a:lnTo>
                        <a:pt x="7" y="0"/>
                      </a:lnTo>
                      <a:lnTo>
                        <a:pt x="7" y="0"/>
                      </a:lnTo>
                      <a:lnTo>
                        <a:pt x="7"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39" name="Freeform 574"/>
                <p:cNvSpPr>
                  <a:spLocks/>
                </p:cNvSpPr>
                <p:nvPr>
                  <p:custDataLst>
                    <p:tags r:id="rId555"/>
                  </p:custDataLst>
                </p:nvPr>
              </p:nvSpPr>
              <p:spPr bwMode="gray">
                <a:xfrm>
                  <a:off x="7514180" y="3670183"/>
                  <a:ext cx="39488" cy="100641"/>
                </a:xfrm>
                <a:custGeom>
                  <a:avLst/>
                  <a:gdLst>
                    <a:gd name="T0" fmla="*/ 0 w 4"/>
                    <a:gd name="T1" fmla="*/ 3 h 9"/>
                    <a:gd name="T2" fmla="*/ 3 w 4"/>
                    <a:gd name="T3" fmla="*/ 9 h 9"/>
                    <a:gd name="T4" fmla="*/ 4 w 4"/>
                    <a:gd name="T5" fmla="*/ 7 h 9"/>
                    <a:gd name="T6" fmla="*/ 3 w 4"/>
                    <a:gd name="T7" fmla="*/ 6 h 9"/>
                    <a:gd name="T8" fmla="*/ 1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5"/>
                        <a:pt x="3" y="9"/>
                        <a:pt x="3" y="9"/>
                      </a:cubicBezTo>
                      <a:cubicBezTo>
                        <a:pt x="3" y="9"/>
                        <a:pt x="4" y="8"/>
                        <a:pt x="4" y="7"/>
                      </a:cubicBezTo>
                      <a:cubicBezTo>
                        <a:pt x="4" y="6"/>
                        <a:pt x="3" y="6"/>
                        <a:pt x="3" y="6"/>
                      </a:cubicBezTo>
                      <a:cubicBezTo>
                        <a:pt x="2" y="4"/>
                        <a:pt x="2" y="2"/>
                        <a:pt x="1" y="0"/>
                      </a:cubicBezTo>
                      <a:cubicBezTo>
                        <a:pt x="0" y="1"/>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0" name="Freeform 575"/>
                <p:cNvSpPr>
                  <a:spLocks/>
                </p:cNvSpPr>
                <p:nvPr>
                  <p:custDataLst>
                    <p:tags r:id="rId556"/>
                  </p:custDataLst>
                </p:nvPr>
              </p:nvSpPr>
              <p:spPr bwMode="gray">
                <a:xfrm>
                  <a:off x="7433796" y="3637161"/>
                  <a:ext cx="170642" cy="33022"/>
                </a:xfrm>
                <a:custGeom>
                  <a:avLst/>
                  <a:gdLst>
                    <a:gd name="T0" fmla="*/ 0 w 17"/>
                    <a:gd name="T1" fmla="*/ 1 h 3"/>
                    <a:gd name="T2" fmla="*/ 3 w 17"/>
                    <a:gd name="T3" fmla="*/ 3 h 3"/>
                    <a:gd name="T4" fmla="*/ 4 w 17"/>
                    <a:gd name="T5" fmla="*/ 2 h 3"/>
                    <a:gd name="T6" fmla="*/ 4 w 17"/>
                    <a:gd name="T7" fmla="*/ 2 h 3"/>
                    <a:gd name="T8" fmla="*/ 8 w 17"/>
                    <a:gd name="T9" fmla="*/ 2 h 3"/>
                    <a:gd name="T10" fmla="*/ 8 w 17"/>
                    <a:gd name="T11" fmla="*/ 2 h 3"/>
                    <a:gd name="T12" fmla="*/ 17 w 17"/>
                    <a:gd name="T13" fmla="*/ 0 h 3"/>
                    <a:gd name="T14" fmla="*/ 17 w 17"/>
                    <a:gd name="T15" fmla="*/ 0 h 3"/>
                    <a:gd name="T16" fmla="*/ 9 w 17"/>
                    <a:gd name="T17" fmla="*/ 0 h 3"/>
                    <a:gd name="T18" fmla="*/ 9 w 17"/>
                    <a:gd name="T19" fmla="*/ 0 h 3"/>
                    <a:gd name="T20" fmla="*/ 0 w 17"/>
                    <a:gd name="T21" fmla="*/ 1 h 3"/>
                    <a:gd name="T22" fmla="*/ 0 w 17"/>
                    <a:gd name="T23" fmla="*/ 1 h 3"/>
                    <a:gd name="T24" fmla="*/ 0 w 17"/>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3">
                      <a:moveTo>
                        <a:pt x="0" y="1"/>
                      </a:moveTo>
                      <a:cubicBezTo>
                        <a:pt x="1" y="2"/>
                        <a:pt x="1" y="3"/>
                        <a:pt x="3" y="3"/>
                      </a:cubicBezTo>
                      <a:cubicBezTo>
                        <a:pt x="4" y="3"/>
                        <a:pt x="4" y="2"/>
                        <a:pt x="4" y="2"/>
                      </a:cubicBezTo>
                      <a:lnTo>
                        <a:pt x="4" y="2"/>
                      </a:lnTo>
                      <a:lnTo>
                        <a:pt x="8" y="2"/>
                      </a:lnTo>
                      <a:lnTo>
                        <a:pt x="8" y="2"/>
                      </a:lnTo>
                      <a:cubicBezTo>
                        <a:pt x="11" y="1"/>
                        <a:pt x="15" y="3"/>
                        <a:pt x="17" y="0"/>
                      </a:cubicBezTo>
                      <a:lnTo>
                        <a:pt x="17" y="0"/>
                      </a:lnTo>
                      <a:lnTo>
                        <a:pt x="9" y="0"/>
                      </a:lnTo>
                      <a:lnTo>
                        <a:pt x="9" y="0"/>
                      </a:lnTo>
                      <a:cubicBezTo>
                        <a:pt x="5" y="1"/>
                        <a:pt x="3"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1" name="Freeform 576"/>
                <p:cNvSpPr>
                  <a:spLocks/>
                </p:cNvSpPr>
                <p:nvPr>
                  <p:custDataLst>
                    <p:tags r:id="rId557"/>
                  </p:custDataLst>
                </p:nvPr>
              </p:nvSpPr>
              <p:spPr bwMode="gray">
                <a:xfrm>
                  <a:off x="7273024" y="3602566"/>
                  <a:ext cx="150898" cy="78626"/>
                </a:xfrm>
                <a:custGeom>
                  <a:avLst/>
                  <a:gdLst>
                    <a:gd name="T0" fmla="*/ 12 w 15"/>
                    <a:gd name="T1" fmla="*/ 3 h 7"/>
                    <a:gd name="T2" fmla="*/ 13 w 15"/>
                    <a:gd name="T3" fmla="*/ 2 h 7"/>
                    <a:gd name="T4" fmla="*/ 15 w 15"/>
                    <a:gd name="T5" fmla="*/ 3 h 7"/>
                    <a:gd name="T6" fmla="*/ 9 w 15"/>
                    <a:gd name="T7" fmla="*/ 5 h 7"/>
                    <a:gd name="T8" fmla="*/ 3 w 15"/>
                    <a:gd name="T9" fmla="*/ 7 h 7"/>
                    <a:gd name="T10" fmla="*/ 0 w 15"/>
                    <a:gd name="T11" fmla="*/ 2 h 7"/>
                    <a:gd name="T12" fmla="*/ 5 w 15"/>
                    <a:gd name="T13" fmla="*/ 0 h 7"/>
                    <a:gd name="T14" fmla="*/ 5 w 15"/>
                    <a:gd name="T15" fmla="*/ 0 h 7"/>
                    <a:gd name="T16" fmla="*/ 12 w 15"/>
                    <a:gd name="T17" fmla="*/ 3 h 7"/>
                    <a:gd name="T18" fmla="*/ 12 w 15"/>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7">
                      <a:moveTo>
                        <a:pt x="12" y="3"/>
                      </a:moveTo>
                      <a:cubicBezTo>
                        <a:pt x="12" y="3"/>
                        <a:pt x="13" y="2"/>
                        <a:pt x="13" y="2"/>
                      </a:cubicBezTo>
                      <a:cubicBezTo>
                        <a:pt x="14" y="3"/>
                        <a:pt x="15" y="2"/>
                        <a:pt x="15" y="3"/>
                      </a:cubicBezTo>
                      <a:cubicBezTo>
                        <a:pt x="15" y="5"/>
                        <a:pt x="11" y="5"/>
                        <a:pt x="9" y="5"/>
                      </a:cubicBezTo>
                      <a:cubicBezTo>
                        <a:pt x="6" y="5"/>
                        <a:pt x="5" y="7"/>
                        <a:pt x="3" y="7"/>
                      </a:cubicBezTo>
                      <a:cubicBezTo>
                        <a:pt x="1" y="7"/>
                        <a:pt x="0" y="4"/>
                        <a:pt x="0" y="2"/>
                      </a:cubicBezTo>
                      <a:cubicBezTo>
                        <a:pt x="0" y="2"/>
                        <a:pt x="4" y="0"/>
                        <a:pt x="5" y="0"/>
                      </a:cubicBezTo>
                      <a:lnTo>
                        <a:pt x="5" y="0"/>
                      </a:lnTo>
                      <a:lnTo>
                        <a:pt x="12" y="3"/>
                      </a:lnTo>
                      <a:lnTo>
                        <a:pt x="12"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2" name="Freeform 577"/>
                <p:cNvSpPr>
                  <a:spLocks/>
                </p:cNvSpPr>
                <p:nvPr>
                  <p:custDataLst>
                    <p:tags r:id="rId558"/>
                  </p:custDataLst>
                </p:nvPr>
              </p:nvSpPr>
              <p:spPr bwMode="gray">
                <a:xfrm>
                  <a:off x="7253280" y="3670185"/>
                  <a:ext cx="19744" cy="22015"/>
                </a:xfrm>
                <a:custGeom>
                  <a:avLst/>
                  <a:gdLst>
                    <a:gd name="T0" fmla="*/ 2 w 2"/>
                    <a:gd name="T1" fmla="*/ 2 h 2"/>
                    <a:gd name="T2" fmla="*/ 2 w 2"/>
                    <a:gd name="T3" fmla="*/ 1 h 2"/>
                    <a:gd name="T4" fmla="*/ 0 w 2"/>
                    <a:gd name="T5" fmla="*/ 0 h 2"/>
                    <a:gd name="T6" fmla="*/ 2 w 2"/>
                    <a:gd name="T7" fmla="*/ 2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cubicBezTo>
                        <a:pt x="2" y="1"/>
                        <a:pt x="2" y="1"/>
                        <a:pt x="2" y="1"/>
                      </a:cubicBezTo>
                      <a:cubicBezTo>
                        <a:pt x="1" y="0"/>
                        <a:pt x="1" y="0"/>
                        <a:pt x="0" y="0"/>
                      </a:cubicBezTo>
                      <a:cubicBezTo>
                        <a:pt x="1" y="0"/>
                        <a:pt x="1" y="1"/>
                        <a:pt x="2" y="2"/>
                      </a:cubicBezTo>
                      <a:lnTo>
                        <a:pt x="2" y="2"/>
                      </a:lnTo>
                      <a:lnTo>
                        <a:pt x="2"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3" name="Freeform 578"/>
                <p:cNvSpPr>
                  <a:spLocks/>
                </p:cNvSpPr>
                <p:nvPr>
                  <p:custDataLst>
                    <p:tags r:id="rId559"/>
                  </p:custDataLst>
                </p:nvPr>
              </p:nvSpPr>
              <p:spPr bwMode="gray">
                <a:xfrm>
                  <a:off x="7031867" y="3512931"/>
                  <a:ext cx="119874" cy="102214"/>
                </a:xfrm>
                <a:custGeom>
                  <a:avLst/>
                  <a:gdLst>
                    <a:gd name="T0" fmla="*/ 2 w 12"/>
                    <a:gd name="T1" fmla="*/ 7 h 9"/>
                    <a:gd name="T2" fmla="*/ 0 w 12"/>
                    <a:gd name="T3" fmla="*/ 5 h 9"/>
                    <a:gd name="T4" fmla="*/ 6 w 12"/>
                    <a:gd name="T5" fmla="*/ 0 h 9"/>
                    <a:gd name="T6" fmla="*/ 6 w 12"/>
                    <a:gd name="T7" fmla="*/ 4 h 9"/>
                    <a:gd name="T8" fmla="*/ 8 w 12"/>
                    <a:gd name="T9" fmla="*/ 3 h 9"/>
                    <a:gd name="T10" fmla="*/ 7 w 12"/>
                    <a:gd name="T11" fmla="*/ 1 h 9"/>
                    <a:gd name="T12" fmla="*/ 8 w 12"/>
                    <a:gd name="T13" fmla="*/ 1 h 9"/>
                    <a:gd name="T14" fmla="*/ 12 w 12"/>
                    <a:gd name="T15" fmla="*/ 4 h 9"/>
                    <a:gd name="T16" fmla="*/ 9 w 12"/>
                    <a:gd name="T17" fmla="*/ 6 h 9"/>
                    <a:gd name="T18" fmla="*/ 8 w 12"/>
                    <a:gd name="T19" fmla="*/ 6 h 9"/>
                    <a:gd name="T20" fmla="*/ 6 w 12"/>
                    <a:gd name="T21" fmla="*/ 9 h 9"/>
                    <a:gd name="T22" fmla="*/ 5 w 12"/>
                    <a:gd name="T23" fmla="*/ 5 h 9"/>
                    <a:gd name="T24" fmla="*/ 6 w 12"/>
                    <a:gd name="T25" fmla="*/ 3 h 9"/>
                    <a:gd name="T26" fmla="*/ 2 w 12"/>
                    <a:gd name="T27" fmla="*/ 7 h 9"/>
                    <a:gd name="T28" fmla="*/ 2 w 12"/>
                    <a:gd name="T29" fmla="*/ 7 h 9"/>
                    <a:gd name="T30" fmla="*/ 2 w 12"/>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2" y="7"/>
                      </a:moveTo>
                      <a:cubicBezTo>
                        <a:pt x="0" y="7"/>
                        <a:pt x="0" y="6"/>
                        <a:pt x="0" y="5"/>
                      </a:cubicBezTo>
                      <a:cubicBezTo>
                        <a:pt x="0" y="1"/>
                        <a:pt x="3" y="0"/>
                        <a:pt x="6" y="0"/>
                      </a:cubicBezTo>
                      <a:cubicBezTo>
                        <a:pt x="7" y="0"/>
                        <a:pt x="6" y="4"/>
                        <a:pt x="6" y="4"/>
                      </a:cubicBezTo>
                      <a:cubicBezTo>
                        <a:pt x="7" y="4"/>
                        <a:pt x="8" y="3"/>
                        <a:pt x="8" y="3"/>
                      </a:cubicBezTo>
                      <a:cubicBezTo>
                        <a:pt x="8" y="2"/>
                        <a:pt x="7" y="2"/>
                        <a:pt x="7" y="1"/>
                      </a:cubicBezTo>
                      <a:cubicBezTo>
                        <a:pt x="8" y="1"/>
                        <a:pt x="8" y="1"/>
                        <a:pt x="8" y="1"/>
                      </a:cubicBezTo>
                      <a:cubicBezTo>
                        <a:pt x="10" y="1"/>
                        <a:pt x="11" y="3"/>
                        <a:pt x="12" y="4"/>
                      </a:cubicBezTo>
                      <a:cubicBezTo>
                        <a:pt x="12" y="5"/>
                        <a:pt x="11" y="6"/>
                        <a:pt x="9" y="6"/>
                      </a:cubicBezTo>
                      <a:cubicBezTo>
                        <a:pt x="8" y="6"/>
                        <a:pt x="8" y="6"/>
                        <a:pt x="8" y="6"/>
                      </a:cubicBezTo>
                      <a:cubicBezTo>
                        <a:pt x="6" y="6"/>
                        <a:pt x="7" y="8"/>
                        <a:pt x="6" y="9"/>
                      </a:cubicBezTo>
                      <a:cubicBezTo>
                        <a:pt x="5" y="8"/>
                        <a:pt x="5" y="6"/>
                        <a:pt x="5" y="5"/>
                      </a:cubicBezTo>
                      <a:cubicBezTo>
                        <a:pt x="5" y="4"/>
                        <a:pt x="6" y="3"/>
                        <a:pt x="6" y="3"/>
                      </a:cubicBezTo>
                      <a:cubicBezTo>
                        <a:pt x="4" y="4"/>
                        <a:pt x="4" y="7"/>
                        <a:pt x="2" y="7"/>
                      </a:cubicBezTo>
                      <a:lnTo>
                        <a:pt x="2" y="7"/>
                      </a:lnTo>
                      <a:lnTo>
                        <a:pt x="2"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4" name="Freeform 579"/>
                <p:cNvSpPr>
                  <a:spLocks/>
                </p:cNvSpPr>
                <p:nvPr>
                  <p:custDataLst>
                    <p:tags r:id="rId560"/>
                  </p:custDataLst>
                </p:nvPr>
              </p:nvSpPr>
              <p:spPr bwMode="gray">
                <a:xfrm>
                  <a:off x="6830199" y="3333666"/>
                  <a:ext cx="19744" cy="11009"/>
                </a:xfrm>
                <a:custGeom>
                  <a:avLst/>
                  <a:gdLst>
                    <a:gd name="T0" fmla="*/ 0 w 2"/>
                    <a:gd name="T1" fmla="*/ 1 h 1"/>
                    <a:gd name="T2" fmla="*/ 2 w 2"/>
                    <a:gd name="T3" fmla="*/ 0 h 1"/>
                    <a:gd name="T4" fmla="*/ 0 w 2"/>
                    <a:gd name="T5" fmla="*/ 1 h 1"/>
                    <a:gd name="T6" fmla="*/ 0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1" y="1"/>
                        <a:pt x="2" y="0"/>
                        <a:pt x="2" y="0"/>
                      </a:cubicBezTo>
                      <a:cubicBezTo>
                        <a:pt x="1" y="0"/>
                        <a:pt x="0" y="0"/>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5" name="Freeform 580"/>
                <p:cNvSpPr>
                  <a:spLocks/>
                </p:cNvSpPr>
                <p:nvPr>
                  <p:custDataLst>
                    <p:tags r:id="rId561"/>
                  </p:custDataLst>
                </p:nvPr>
              </p:nvSpPr>
              <p:spPr bwMode="gray">
                <a:xfrm>
                  <a:off x="6990971" y="3390278"/>
                  <a:ext cx="9871"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6" name="Freeform 581"/>
                <p:cNvSpPr>
                  <a:spLocks/>
                </p:cNvSpPr>
                <p:nvPr>
                  <p:custDataLst>
                    <p:tags r:id="rId562"/>
                  </p:custDataLst>
                </p:nvPr>
              </p:nvSpPr>
              <p:spPr bwMode="gray">
                <a:xfrm>
                  <a:off x="6910584" y="3344673"/>
                  <a:ext cx="1128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7" name="Freeform 582"/>
                <p:cNvSpPr>
                  <a:spLocks/>
                </p:cNvSpPr>
                <p:nvPr>
                  <p:custDataLst>
                    <p:tags r:id="rId563"/>
                  </p:custDataLst>
                </p:nvPr>
              </p:nvSpPr>
              <p:spPr bwMode="gray">
                <a:xfrm>
                  <a:off x="6951484" y="3344673"/>
                  <a:ext cx="8461" cy="23588"/>
                </a:xfrm>
                <a:custGeom>
                  <a:avLst/>
                  <a:gdLst>
                    <a:gd name="T0" fmla="*/ 0 w 1"/>
                    <a:gd name="T1" fmla="*/ 0 h 2"/>
                    <a:gd name="T2" fmla="*/ 1 w 1"/>
                    <a:gd name="T3" fmla="*/ 2 h 2"/>
                    <a:gd name="T4" fmla="*/ 1 w 1"/>
                    <a:gd name="T5" fmla="*/ 0 h 2"/>
                    <a:gd name="T6" fmla="*/ 0 w 1"/>
                    <a:gd name="T7" fmla="*/ 0 h 2"/>
                    <a:gd name="T8" fmla="*/ 0 w 1"/>
                    <a:gd name="T9" fmla="*/ 0 h 2"/>
                    <a:gd name="T10" fmla="*/ 0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cubicBezTo>
                        <a:pt x="0" y="1"/>
                        <a:pt x="0" y="1"/>
                        <a:pt x="1" y="2"/>
                      </a:cubicBezTo>
                      <a:cubicBezTo>
                        <a:pt x="1" y="1"/>
                        <a:pt x="1" y="1"/>
                        <a:pt x="1" y="0"/>
                      </a:cubicBezTo>
                      <a:cubicBezTo>
                        <a:pt x="1" y="0"/>
                        <a:pt x="0" y="0"/>
                        <a:pt x="0" y="0"/>
                      </a:cubicBezTo>
                      <a:lnTo>
                        <a:pt x="0" y="0"/>
                      </a:ln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8" name="Freeform 583"/>
                <p:cNvSpPr>
                  <a:spLocks/>
                </p:cNvSpPr>
                <p:nvPr>
                  <p:custDataLst>
                    <p:tags r:id="rId564"/>
                  </p:custDataLst>
                </p:nvPr>
              </p:nvSpPr>
              <p:spPr bwMode="gray">
                <a:xfrm>
                  <a:off x="6077114" y="3794412"/>
                  <a:ext cx="9871" cy="11008"/>
                </a:xfrm>
                <a:custGeom>
                  <a:avLst/>
                  <a:gdLst>
                    <a:gd name="T0" fmla="*/ 0 w 1"/>
                    <a:gd name="T1" fmla="*/ 1 h 1"/>
                    <a:gd name="T2" fmla="*/ 1 w 1"/>
                    <a:gd name="T3" fmla="*/ 0 h 1"/>
                    <a:gd name="T4" fmla="*/ 1 w 1"/>
                    <a:gd name="T5" fmla="*/ 1 h 1"/>
                    <a:gd name="T6" fmla="*/ 1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1" y="0"/>
                      </a:cubicBezTo>
                      <a:cubicBezTo>
                        <a:pt x="1" y="0"/>
                        <a:pt x="1" y="0"/>
                        <a:pt x="1" y="1"/>
                      </a:cubicBezTo>
                      <a:cubicBezTo>
                        <a:pt x="1"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49" name="Freeform 584"/>
                <p:cNvSpPr>
                  <a:spLocks/>
                </p:cNvSpPr>
                <p:nvPr>
                  <p:custDataLst>
                    <p:tags r:id="rId565"/>
                  </p:custDataLst>
                </p:nvPr>
              </p:nvSpPr>
              <p:spPr bwMode="gray">
                <a:xfrm>
                  <a:off x="6347887" y="2863486"/>
                  <a:ext cx="19744" cy="34595"/>
                </a:xfrm>
                <a:custGeom>
                  <a:avLst/>
                  <a:gdLst>
                    <a:gd name="T0" fmla="*/ 0 w 2"/>
                    <a:gd name="T1" fmla="*/ 2 h 3"/>
                    <a:gd name="T2" fmla="*/ 2 w 2"/>
                    <a:gd name="T3" fmla="*/ 0 h 3"/>
                    <a:gd name="T4" fmla="*/ 2 w 2"/>
                    <a:gd name="T5" fmla="*/ 3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1"/>
                        <a:pt x="2" y="0"/>
                      </a:cubicBezTo>
                      <a:cubicBezTo>
                        <a:pt x="2" y="2"/>
                        <a:pt x="2" y="2"/>
                        <a:pt x="2" y="3"/>
                      </a:cubicBezTo>
                      <a:cubicBezTo>
                        <a:pt x="1"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0" name="Freeform 585"/>
                <p:cNvSpPr>
                  <a:spLocks/>
                </p:cNvSpPr>
                <p:nvPr>
                  <p:custDataLst>
                    <p:tags r:id="rId566"/>
                  </p:custDataLst>
                </p:nvPr>
              </p:nvSpPr>
              <p:spPr bwMode="gray">
                <a:xfrm>
                  <a:off x="7865338" y="2806875"/>
                  <a:ext cx="101540" cy="122656"/>
                </a:xfrm>
                <a:custGeom>
                  <a:avLst/>
                  <a:gdLst>
                    <a:gd name="T0" fmla="*/ 3 w 10"/>
                    <a:gd name="T1" fmla="*/ 11 h 11"/>
                    <a:gd name="T2" fmla="*/ 3 w 10"/>
                    <a:gd name="T3" fmla="*/ 8 h 11"/>
                    <a:gd name="T4" fmla="*/ 0 w 10"/>
                    <a:gd name="T5" fmla="*/ 5 h 11"/>
                    <a:gd name="T6" fmla="*/ 1 w 10"/>
                    <a:gd name="T7" fmla="*/ 5 h 11"/>
                    <a:gd name="T8" fmla="*/ 2 w 10"/>
                    <a:gd name="T9" fmla="*/ 6 h 11"/>
                    <a:gd name="T10" fmla="*/ 4 w 10"/>
                    <a:gd name="T11" fmla="*/ 4 h 11"/>
                    <a:gd name="T12" fmla="*/ 8 w 10"/>
                    <a:gd name="T13" fmla="*/ 0 h 11"/>
                    <a:gd name="T14" fmla="*/ 10 w 10"/>
                    <a:gd name="T15" fmla="*/ 4 h 11"/>
                    <a:gd name="T16" fmla="*/ 9 w 10"/>
                    <a:gd name="T17" fmla="*/ 5 h 11"/>
                    <a:gd name="T18" fmla="*/ 9 w 10"/>
                    <a:gd name="T19" fmla="*/ 7 h 11"/>
                    <a:gd name="T20" fmla="*/ 3 w 10"/>
                    <a:gd name="T21" fmla="*/ 11 h 11"/>
                    <a:gd name="T22" fmla="*/ 3 w 10"/>
                    <a:gd name="T23" fmla="*/ 11 h 11"/>
                    <a:gd name="T24" fmla="*/ 3 w 10"/>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3" y="11"/>
                      </a:moveTo>
                      <a:cubicBezTo>
                        <a:pt x="3" y="10"/>
                        <a:pt x="3" y="9"/>
                        <a:pt x="3" y="8"/>
                      </a:cubicBezTo>
                      <a:cubicBezTo>
                        <a:pt x="3" y="6"/>
                        <a:pt x="1" y="7"/>
                        <a:pt x="0" y="5"/>
                      </a:cubicBezTo>
                      <a:cubicBezTo>
                        <a:pt x="0" y="5"/>
                        <a:pt x="1" y="5"/>
                        <a:pt x="1" y="5"/>
                      </a:cubicBezTo>
                      <a:cubicBezTo>
                        <a:pt x="1" y="5"/>
                        <a:pt x="2" y="6"/>
                        <a:pt x="2" y="6"/>
                      </a:cubicBezTo>
                      <a:cubicBezTo>
                        <a:pt x="3" y="6"/>
                        <a:pt x="4" y="4"/>
                        <a:pt x="4" y="4"/>
                      </a:cubicBezTo>
                      <a:cubicBezTo>
                        <a:pt x="4" y="2"/>
                        <a:pt x="6" y="0"/>
                        <a:pt x="8" y="0"/>
                      </a:cubicBezTo>
                      <a:cubicBezTo>
                        <a:pt x="8" y="0"/>
                        <a:pt x="10" y="4"/>
                        <a:pt x="10" y="4"/>
                      </a:cubicBezTo>
                      <a:cubicBezTo>
                        <a:pt x="10" y="5"/>
                        <a:pt x="9" y="5"/>
                        <a:pt x="9" y="5"/>
                      </a:cubicBezTo>
                      <a:cubicBezTo>
                        <a:pt x="8" y="6"/>
                        <a:pt x="9" y="7"/>
                        <a:pt x="9" y="7"/>
                      </a:cubicBezTo>
                      <a:cubicBezTo>
                        <a:pt x="8" y="10"/>
                        <a:pt x="5" y="11"/>
                        <a:pt x="3" y="11"/>
                      </a:cubicBezTo>
                      <a:lnTo>
                        <a:pt x="3" y="11"/>
                      </a:lnTo>
                      <a:lnTo>
                        <a:pt x="3"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1" name="Freeform 586"/>
                <p:cNvSpPr>
                  <a:spLocks/>
                </p:cNvSpPr>
                <p:nvPr>
                  <p:custDataLst>
                    <p:tags r:id="rId567"/>
                  </p:custDataLst>
                </p:nvPr>
              </p:nvSpPr>
              <p:spPr bwMode="gray">
                <a:xfrm>
                  <a:off x="7814568" y="2887072"/>
                  <a:ext cx="11282" cy="11009"/>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1" y="0"/>
                      </a:cubicBezTo>
                      <a:cubicBezTo>
                        <a:pt x="1" y="0"/>
                        <a:pt x="1" y="0"/>
                        <a:pt x="1" y="0"/>
                      </a:cubicBezTo>
                      <a:cubicBezTo>
                        <a:pt x="1" y="0"/>
                        <a:pt x="1" y="1"/>
                        <a:pt x="1" y="1"/>
                      </a:cubicBezTo>
                      <a:cubicBezTo>
                        <a:pt x="0" y="1"/>
                        <a:pt x="0"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2" name="Freeform 587"/>
                <p:cNvSpPr>
                  <a:spLocks/>
                </p:cNvSpPr>
                <p:nvPr>
                  <p:custDataLst>
                    <p:tags r:id="rId568"/>
                  </p:custDataLst>
                </p:nvPr>
              </p:nvSpPr>
              <p:spPr bwMode="gray">
                <a:xfrm>
                  <a:off x="7755337" y="3278628"/>
                  <a:ext cx="9871" cy="33022"/>
                </a:xfrm>
                <a:custGeom>
                  <a:avLst/>
                  <a:gdLst>
                    <a:gd name="T0" fmla="*/ 0 w 1"/>
                    <a:gd name="T1" fmla="*/ 3 h 3"/>
                    <a:gd name="T2" fmla="*/ 0 w 1"/>
                    <a:gd name="T3" fmla="*/ 0 h 3"/>
                    <a:gd name="T4" fmla="*/ 1 w 1"/>
                    <a:gd name="T5" fmla="*/ 0 h 3"/>
                    <a:gd name="T6" fmla="*/ 1 w 1"/>
                    <a:gd name="T7" fmla="*/ 3 h 3"/>
                    <a:gd name="T8" fmla="*/ 0 w 1"/>
                    <a:gd name="T9" fmla="*/ 3 h 3"/>
                    <a:gd name="T10" fmla="*/ 0 w 1"/>
                    <a:gd name="T11" fmla="*/ 3 h 3"/>
                    <a:gd name="T12" fmla="*/ 0 w 1"/>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 h="3">
                      <a:moveTo>
                        <a:pt x="0" y="3"/>
                      </a:moveTo>
                      <a:cubicBezTo>
                        <a:pt x="0" y="3"/>
                        <a:pt x="0" y="1"/>
                        <a:pt x="0" y="0"/>
                      </a:cubicBezTo>
                      <a:cubicBezTo>
                        <a:pt x="1" y="0"/>
                        <a:pt x="1" y="0"/>
                        <a:pt x="1" y="0"/>
                      </a:cubicBezTo>
                      <a:cubicBezTo>
                        <a:pt x="1" y="2"/>
                        <a:pt x="1" y="3"/>
                        <a:pt x="1" y="3"/>
                      </a:cubicBezTo>
                      <a:cubicBezTo>
                        <a:pt x="1" y="3"/>
                        <a:pt x="0" y="3"/>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3" name="Freeform 588"/>
                <p:cNvSpPr>
                  <a:spLocks/>
                </p:cNvSpPr>
                <p:nvPr>
                  <p:custDataLst>
                    <p:tags r:id="rId569"/>
                  </p:custDataLst>
                </p:nvPr>
              </p:nvSpPr>
              <p:spPr bwMode="gray">
                <a:xfrm>
                  <a:off x="7714439" y="3423299"/>
                  <a:ext cx="21155" cy="34595"/>
                </a:xfrm>
                <a:custGeom>
                  <a:avLst/>
                  <a:gdLst>
                    <a:gd name="T0" fmla="*/ 0 w 2"/>
                    <a:gd name="T1" fmla="*/ 2 h 3"/>
                    <a:gd name="T2" fmla="*/ 1 w 2"/>
                    <a:gd name="T3" fmla="*/ 0 h 3"/>
                    <a:gd name="T4" fmla="*/ 2 w 2"/>
                    <a:gd name="T5" fmla="*/ 2 h 3"/>
                    <a:gd name="T6" fmla="*/ 0 w 2"/>
                    <a:gd name="T7" fmla="*/ 2 h 3"/>
                    <a:gd name="T8" fmla="*/ 0 w 2"/>
                    <a:gd name="T9" fmla="*/ 2 h 3"/>
                    <a:gd name="T10" fmla="*/ 0 w 2"/>
                    <a:gd name="T11" fmla="*/ 2 h 3"/>
                  </a:gdLst>
                  <a:ahLst/>
                  <a:cxnLst>
                    <a:cxn ang="0">
                      <a:pos x="T0" y="T1"/>
                    </a:cxn>
                    <a:cxn ang="0">
                      <a:pos x="T2" y="T3"/>
                    </a:cxn>
                    <a:cxn ang="0">
                      <a:pos x="T4" y="T5"/>
                    </a:cxn>
                    <a:cxn ang="0">
                      <a:pos x="T6" y="T7"/>
                    </a:cxn>
                    <a:cxn ang="0">
                      <a:pos x="T8" y="T9"/>
                    </a:cxn>
                    <a:cxn ang="0">
                      <a:pos x="T10" y="T11"/>
                    </a:cxn>
                  </a:cxnLst>
                  <a:rect l="0" t="0" r="r" b="b"/>
                  <a:pathLst>
                    <a:path w="2" h="3">
                      <a:moveTo>
                        <a:pt x="0" y="2"/>
                      </a:moveTo>
                      <a:cubicBezTo>
                        <a:pt x="0" y="1"/>
                        <a:pt x="1" y="0"/>
                        <a:pt x="1" y="0"/>
                      </a:cubicBezTo>
                      <a:cubicBezTo>
                        <a:pt x="1" y="1"/>
                        <a:pt x="1" y="1"/>
                        <a:pt x="2" y="2"/>
                      </a:cubicBezTo>
                      <a:cubicBezTo>
                        <a:pt x="1" y="3"/>
                        <a:pt x="0" y="3"/>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4" name="Freeform 589"/>
                <p:cNvSpPr>
                  <a:spLocks/>
                </p:cNvSpPr>
                <p:nvPr>
                  <p:custDataLst>
                    <p:tags r:id="rId570"/>
                  </p:custDataLst>
                </p:nvPr>
              </p:nvSpPr>
              <p:spPr bwMode="gray">
                <a:xfrm>
                  <a:off x="7714439" y="3344673"/>
                  <a:ext cx="21155" cy="56611"/>
                </a:xfrm>
                <a:custGeom>
                  <a:avLst/>
                  <a:gdLst>
                    <a:gd name="T0" fmla="*/ 0 w 2"/>
                    <a:gd name="T1" fmla="*/ 5 h 5"/>
                    <a:gd name="T2" fmla="*/ 0 w 2"/>
                    <a:gd name="T3" fmla="*/ 3 h 5"/>
                    <a:gd name="T4" fmla="*/ 1 w 2"/>
                    <a:gd name="T5" fmla="*/ 0 h 5"/>
                    <a:gd name="T6" fmla="*/ 2 w 2"/>
                    <a:gd name="T7" fmla="*/ 1 h 5"/>
                    <a:gd name="T8" fmla="*/ 2 w 2"/>
                    <a:gd name="T9" fmla="*/ 3 h 5"/>
                    <a:gd name="T10" fmla="*/ 0 w 2"/>
                    <a:gd name="T11" fmla="*/ 5 h 5"/>
                    <a:gd name="T12" fmla="*/ 0 w 2"/>
                    <a:gd name="T13" fmla="*/ 5 h 5"/>
                    <a:gd name="T14" fmla="*/ 0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0" y="5"/>
                      </a:moveTo>
                      <a:cubicBezTo>
                        <a:pt x="0" y="4"/>
                        <a:pt x="0" y="4"/>
                        <a:pt x="0" y="3"/>
                      </a:cubicBezTo>
                      <a:cubicBezTo>
                        <a:pt x="0" y="2"/>
                        <a:pt x="0" y="0"/>
                        <a:pt x="1" y="0"/>
                      </a:cubicBezTo>
                      <a:cubicBezTo>
                        <a:pt x="1" y="0"/>
                        <a:pt x="1" y="1"/>
                        <a:pt x="2" y="1"/>
                      </a:cubicBezTo>
                      <a:cubicBezTo>
                        <a:pt x="2" y="2"/>
                        <a:pt x="2" y="2"/>
                        <a:pt x="2" y="3"/>
                      </a:cubicBezTo>
                      <a:cubicBezTo>
                        <a:pt x="2" y="4"/>
                        <a:pt x="1" y="4"/>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5" name="Freeform 590"/>
                <p:cNvSpPr>
                  <a:spLocks/>
                </p:cNvSpPr>
                <p:nvPr>
                  <p:custDataLst>
                    <p:tags r:id="rId571"/>
                  </p:custDataLst>
                </p:nvPr>
              </p:nvSpPr>
              <p:spPr bwMode="gray">
                <a:xfrm>
                  <a:off x="7745465" y="3368262"/>
                  <a:ext cx="90258" cy="99068"/>
                </a:xfrm>
                <a:custGeom>
                  <a:avLst/>
                  <a:gdLst>
                    <a:gd name="T0" fmla="*/ 5 w 9"/>
                    <a:gd name="T1" fmla="*/ 7 h 9"/>
                    <a:gd name="T2" fmla="*/ 3 w 9"/>
                    <a:gd name="T3" fmla="*/ 7 h 9"/>
                    <a:gd name="T4" fmla="*/ 1 w 9"/>
                    <a:gd name="T5" fmla="*/ 4 h 9"/>
                    <a:gd name="T6" fmla="*/ 0 w 9"/>
                    <a:gd name="T7" fmla="*/ 2 h 9"/>
                    <a:gd name="T8" fmla="*/ 1 w 9"/>
                    <a:gd name="T9" fmla="*/ 0 h 9"/>
                    <a:gd name="T10" fmla="*/ 2 w 9"/>
                    <a:gd name="T11" fmla="*/ 1 h 9"/>
                    <a:gd name="T12" fmla="*/ 4 w 9"/>
                    <a:gd name="T13" fmla="*/ 0 h 9"/>
                    <a:gd name="T14" fmla="*/ 6 w 9"/>
                    <a:gd name="T15" fmla="*/ 2 h 9"/>
                    <a:gd name="T16" fmla="*/ 5 w 9"/>
                    <a:gd name="T17" fmla="*/ 5 h 9"/>
                    <a:gd name="T18" fmla="*/ 9 w 9"/>
                    <a:gd name="T19" fmla="*/ 7 h 9"/>
                    <a:gd name="T20" fmla="*/ 7 w 9"/>
                    <a:gd name="T21" fmla="*/ 9 h 9"/>
                    <a:gd name="T22" fmla="*/ 5 w 9"/>
                    <a:gd name="T23" fmla="*/ 7 h 9"/>
                    <a:gd name="T24" fmla="*/ 5 w 9"/>
                    <a:gd name="T25" fmla="*/ 7 h 9"/>
                    <a:gd name="T26" fmla="*/ 5 w 9"/>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5" y="7"/>
                      </a:moveTo>
                      <a:cubicBezTo>
                        <a:pt x="4" y="8"/>
                        <a:pt x="4" y="7"/>
                        <a:pt x="3" y="7"/>
                      </a:cubicBezTo>
                      <a:cubicBezTo>
                        <a:pt x="2" y="7"/>
                        <a:pt x="1" y="5"/>
                        <a:pt x="1" y="4"/>
                      </a:cubicBezTo>
                      <a:cubicBezTo>
                        <a:pt x="0" y="3"/>
                        <a:pt x="0" y="3"/>
                        <a:pt x="0" y="2"/>
                      </a:cubicBezTo>
                      <a:cubicBezTo>
                        <a:pt x="0" y="2"/>
                        <a:pt x="1" y="0"/>
                        <a:pt x="1" y="0"/>
                      </a:cubicBezTo>
                      <a:cubicBezTo>
                        <a:pt x="2" y="0"/>
                        <a:pt x="2" y="1"/>
                        <a:pt x="2" y="1"/>
                      </a:cubicBezTo>
                      <a:cubicBezTo>
                        <a:pt x="3" y="0"/>
                        <a:pt x="4" y="0"/>
                        <a:pt x="4" y="0"/>
                      </a:cubicBezTo>
                      <a:cubicBezTo>
                        <a:pt x="5" y="0"/>
                        <a:pt x="6" y="2"/>
                        <a:pt x="6" y="2"/>
                      </a:cubicBezTo>
                      <a:cubicBezTo>
                        <a:pt x="6" y="4"/>
                        <a:pt x="5" y="3"/>
                        <a:pt x="5" y="5"/>
                      </a:cubicBezTo>
                      <a:cubicBezTo>
                        <a:pt x="5" y="7"/>
                        <a:pt x="9" y="5"/>
                        <a:pt x="9" y="7"/>
                      </a:cubicBezTo>
                      <a:cubicBezTo>
                        <a:pt x="9" y="8"/>
                        <a:pt x="8" y="9"/>
                        <a:pt x="7" y="9"/>
                      </a:cubicBezTo>
                      <a:cubicBezTo>
                        <a:pt x="6" y="9"/>
                        <a:pt x="5" y="8"/>
                        <a:pt x="5" y="7"/>
                      </a:cubicBezTo>
                      <a:lnTo>
                        <a:pt x="5" y="7"/>
                      </a:lnTo>
                      <a:lnTo>
                        <a:pt x="5"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6" name="Freeform 591"/>
                <p:cNvSpPr>
                  <a:spLocks/>
                </p:cNvSpPr>
                <p:nvPr>
                  <p:custDataLst>
                    <p:tags r:id="rId572"/>
                  </p:custDataLst>
                </p:nvPr>
              </p:nvSpPr>
              <p:spPr bwMode="gray">
                <a:xfrm>
                  <a:off x="7796235" y="3446886"/>
                  <a:ext cx="1410" cy="11009"/>
                </a:xfrm>
                <a:custGeom>
                  <a:avLst/>
                  <a:gdLst>
                    <a:gd name="T0" fmla="*/ 7 h 7"/>
                    <a:gd name="T1" fmla="*/ 0 h 7"/>
                    <a:gd name="T2" fmla="*/ 0 h 7"/>
                    <a:gd name="T3" fmla="*/ 0 h 7"/>
                    <a:gd name="T4" fmla="*/ 0 h 7"/>
                    <a:gd name="T5" fmla="*/ 0 h 7"/>
                    <a:gd name="T6" fmla="*/ 7 h 7"/>
                  </a:gdLst>
                  <a:ahLst/>
                  <a:cxnLst>
                    <a:cxn ang="0">
                      <a:pos x="0" y="T0"/>
                    </a:cxn>
                    <a:cxn ang="0">
                      <a:pos x="0" y="T1"/>
                    </a:cxn>
                    <a:cxn ang="0">
                      <a:pos x="0" y="T2"/>
                    </a:cxn>
                    <a:cxn ang="0">
                      <a:pos x="0" y="T3"/>
                    </a:cxn>
                    <a:cxn ang="0">
                      <a:pos x="0" y="T4"/>
                    </a:cxn>
                    <a:cxn ang="0">
                      <a:pos x="0" y="T5"/>
                    </a:cxn>
                    <a:cxn ang="0">
                      <a:pos x="0" y="T6"/>
                    </a:cxn>
                  </a:cxnLst>
                  <a:rect l="0" t="0" r="r" b="b"/>
                  <a:pathLst>
                    <a:path h="7">
                      <a:moveTo>
                        <a:pt x="0" y="7"/>
                      </a:moveTo>
                      <a:lnTo>
                        <a:pt x="0" y="0"/>
                      </a:lnTo>
                      <a:lnTo>
                        <a:pt x="0" y="0"/>
                      </a:lnTo>
                      <a:lnTo>
                        <a:pt x="0" y="0"/>
                      </a:lnTo>
                      <a:lnTo>
                        <a:pt x="0" y="0"/>
                      </a:lnTo>
                      <a:lnTo>
                        <a:pt x="0"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7" name="Freeform 592"/>
                <p:cNvSpPr>
                  <a:spLocks/>
                </p:cNvSpPr>
                <p:nvPr>
                  <p:custDataLst>
                    <p:tags r:id="rId573"/>
                  </p:custDataLst>
                </p:nvPr>
              </p:nvSpPr>
              <p:spPr bwMode="gray">
                <a:xfrm>
                  <a:off x="7433796" y="2459348"/>
                  <a:ext cx="9871" cy="12580"/>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1" y="0"/>
                        <a:pt x="1" y="1"/>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8" name="Freeform 593"/>
                <p:cNvSpPr>
                  <a:spLocks/>
                </p:cNvSpPr>
                <p:nvPr>
                  <p:custDataLst>
                    <p:tags r:id="rId574"/>
                  </p:custDataLst>
                </p:nvPr>
              </p:nvSpPr>
              <p:spPr bwMode="gray">
                <a:xfrm>
                  <a:off x="7916108" y="3501925"/>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1"/>
                        <a:pt x="0" y="0"/>
                        <a:pt x="0" y="0"/>
                      </a:cubicBezTo>
                      <a:cubicBezTo>
                        <a:pt x="0" y="0"/>
                        <a:pt x="1" y="1"/>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59" name="Freeform 594"/>
                <p:cNvSpPr>
                  <a:spLocks/>
                </p:cNvSpPr>
                <p:nvPr>
                  <p:custDataLst>
                    <p:tags r:id="rId575"/>
                  </p:custDataLst>
                </p:nvPr>
              </p:nvSpPr>
              <p:spPr bwMode="gray">
                <a:xfrm>
                  <a:off x="7896364" y="3478337"/>
                  <a:ext cx="19744" cy="23588"/>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1"/>
                        <a:pt x="2" y="2"/>
                        <a:pt x="1" y="2"/>
                      </a:cubicBezTo>
                      <a:cubicBezTo>
                        <a:pt x="1"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0" name="Freeform 595"/>
                <p:cNvSpPr>
                  <a:spLocks/>
                </p:cNvSpPr>
                <p:nvPr>
                  <p:custDataLst>
                    <p:tags r:id="rId576"/>
                  </p:custDataLst>
                </p:nvPr>
              </p:nvSpPr>
              <p:spPr bwMode="gray">
                <a:xfrm>
                  <a:off x="7735593" y="3143392"/>
                  <a:ext cx="9871"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1" name="Freeform 596"/>
                <p:cNvSpPr>
                  <a:spLocks/>
                </p:cNvSpPr>
                <p:nvPr>
                  <p:custDataLst>
                    <p:tags r:id="rId577"/>
                  </p:custDataLst>
                </p:nvPr>
              </p:nvSpPr>
              <p:spPr bwMode="gray">
                <a:xfrm>
                  <a:off x="7735593" y="3143392"/>
                  <a:ext cx="9871"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2" name="Freeform 597"/>
                <p:cNvSpPr>
                  <a:spLocks/>
                </p:cNvSpPr>
                <p:nvPr>
                  <p:custDataLst>
                    <p:tags r:id="rId578"/>
                  </p:custDataLst>
                </p:nvPr>
              </p:nvSpPr>
              <p:spPr bwMode="gray">
                <a:xfrm>
                  <a:off x="7735593" y="3143392"/>
                  <a:ext cx="9871"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3" name="Freeform 598"/>
                <p:cNvSpPr>
                  <a:spLocks/>
                </p:cNvSpPr>
                <p:nvPr>
                  <p:custDataLst>
                    <p:tags r:id="rId579"/>
                  </p:custDataLst>
                </p:nvPr>
              </p:nvSpPr>
              <p:spPr bwMode="gray">
                <a:xfrm>
                  <a:off x="7755337" y="3165406"/>
                  <a:ext cx="9871"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1" y="0"/>
                        <a:pt x="1" y="0"/>
                        <a:pt x="1" y="1"/>
                      </a:cubicBezTo>
                      <a:cubicBezTo>
                        <a:pt x="1" y="1"/>
                        <a:pt x="1"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4" name="Freeform 599"/>
                <p:cNvSpPr>
                  <a:spLocks/>
                </p:cNvSpPr>
                <p:nvPr>
                  <p:custDataLst>
                    <p:tags r:id="rId580"/>
                  </p:custDataLst>
                </p:nvPr>
              </p:nvSpPr>
              <p:spPr bwMode="gray">
                <a:xfrm>
                  <a:off x="7745465" y="3233025"/>
                  <a:ext cx="9872" cy="23588"/>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5" name="Freeform 600"/>
                <p:cNvSpPr>
                  <a:spLocks/>
                </p:cNvSpPr>
                <p:nvPr>
                  <p:custDataLst>
                    <p:tags r:id="rId581"/>
                  </p:custDataLst>
                </p:nvPr>
              </p:nvSpPr>
              <p:spPr bwMode="gray">
                <a:xfrm>
                  <a:off x="7694696" y="3344673"/>
                  <a:ext cx="9872" cy="11008"/>
                </a:xfrm>
                <a:custGeom>
                  <a:avLst/>
                  <a:gdLst>
                    <a:gd name="T0" fmla="*/ 0 w 1"/>
                    <a:gd name="T1" fmla="*/ 0 h 1"/>
                    <a:gd name="T2" fmla="*/ 1 w 1"/>
                    <a:gd name="T3" fmla="*/ 0 h 1"/>
                    <a:gd name="T4" fmla="*/ 1 w 1"/>
                    <a:gd name="T5" fmla="*/ 0 h 1"/>
                    <a:gd name="T6" fmla="*/ 1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1" y="0"/>
                        <a:pt x="1" y="0"/>
                      </a:cubicBezTo>
                      <a:cubicBezTo>
                        <a:pt x="1" y="0"/>
                        <a:pt x="1" y="0"/>
                        <a:pt x="1" y="0"/>
                      </a:cubicBezTo>
                      <a:cubicBezTo>
                        <a:pt x="1" y="1"/>
                        <a:pt x="1" y="1"/>
                        <a:pt x="1" y="1"/>
                      </a:cubicBezTo>
                      <a:cubicBezTo>
                        <a:pt x="1"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6" name="Freeform 601"/>
                <p:cNvSpPr>
                  <a:spLocks/>
                </p:cNvSpPr>
                <p:nvPr>
                  <p:custDataLst>
                    <p:tags r:id="rId582"/>
                  </p:custDataLst>
                </p:nvPr>
              </p:nvSpPr>
              <p:spPr bwMode="gray">
                <a:xfrm>
                  <a:off x="7694696" y="3344675"/>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7" name="Freeform 602"/>
                <p:cNvSpPr>
                  <a:spLocks/>
                </p:cNvSpPr>
                <p:nvPr>
                  <p:custDataLst>
                    <p:tags r:id="rId583"/>
                  </p:custDataLst>
                </p:nvPr>
              </p:nvSpPr>
              <p:spPr bwMode="gray">
                <a:xfrm>
                  <a:off x="7694696" y="3344675"/>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8" name="Freeform 603"/>
                <p:cNvSpPr>
                  <a:spLocks/>
                </p:cNvSpPr>
                <p:nvPr>
                  <p:custDataLst>
                    <p:tags r:id="rId584"/>
                  </p:custDataLst>
                </p:nvPr>
              </p:nvSpPr>
              <p:spPr bwMode="gray">
                <a:xfrm>
                  <a:off x="7714439" y="3322658"/>
                  <a:ext cx="21155" cy="11008"/>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1" y="0"/>
                        <a:pt x="1" y="0"/>
                      </a:cubicBezTo>
                      <a:cubicBezTo>
                        <a:pt x="2" y="0"/>
                        <a:pt x="2" y="0"/>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69" name="Freeform 604"/>
                <p:cNvSpPr>
                  <a:spLocks/>
                </p:cNvSpPr>
                <p:nvPr>
                  <p:custDataLst>
                    <p:tags r:id="rId585"/>
                  </p:custDataLst>
                </p:nvPr>
              </p:nvSpPr>
              <p:spPr bwMode="gray">
                <a:xfrm>
                  <a:off x="7765208" y="2898080"/>
                  <a:ext cx="231285" cy="569250"/>
                </a:xfrm>
                <a:custGeom>
                  <a:avLst/>
                  <a:gdLst>
                    <a:gd name="T0" fmla="*/ 12 w 23"/>
                    <a:gd name="T1" fmla="*/ 49 h 51"/>
                    <a:gd name="T2" fmla="*/ 7 w 23"/>
                    <a:gd name="T3" fmla="*/ 43 h 51"/>
                    <a:gd name="T4" fmla="*/ 3 w 23"/>
                    <a:gd name="T5" fmla="*/ 35 h 51"/>
                    <a:gd name="T6" fmla="*/ 4 w 23"/>
                    <a:gd name="T7" fmla="*/ 31 h 51"/>
                    <a:gd name="T8" fmla="*/ 3 w 23"/>
                    <a:gd name="T9" fmla="*/ 30 h 51"/>
                    <a:gd name="T10" fmla="*/ 1 w 23"/>
                    <a:gd name="T11" fmla="*/ 25 h 51"/>
                    <a:gd name="T12" fmla="*/ 3 w 23"/>
                    <a:gd name="T13" fmla="*/ 23 h 51"/>
                    <a:gd name="T14" fmla="*/ 0 w 23"/>
                    <a:gd name="T15" fmla="*/ 17 h 51"/>
                    <a:gd name="T16" fmla="*/ 1 w 23"/>
                    <a:gd name="T17" fmla="*/ 13 h 51"/>
                    <a:gd name="T18" fmla="*/ 5 w 23"/>
                    <a:gd name="T19" fmla="*/ 4 h 51"/>
                    <a:gd name="T20" fmla="*/ 9 w 23"/>
                    <a:gd name="T21" fmla="*/ 0 h 51"/>
                    <a:gd name="T22" fmla="*/ 9 w 23"/>
                    <a:gd name="T23" fmla="*/ 0 h 51"/>
                    <a:gd name="T24" fmla="*/ 10 w 23"/>
                    <a:gd name="T25" fmla="*/ 0 h 51"/>
                    <a:gd name="T26" fmla="*/ 10 w 23"/>
                    <a:gd name="T27" fmla="*/ 0 h 51"/>
                    <a:gd name="T28" fmla="*/ 7 w 23"/>
                    <a:gd name="T29" fmla="*/ 5 h 51"/>
                    <a:gd name="T30" fmla="*/ 8 w 23"/>
                    <a:gd name="T31" fmla="*/ 7 h 51"/>
                    <a:gd name="T32" fmla="*/ 10 w 23"/>
                    <a:gd name="T33" fmla="*/ 11 h 51"/>
                    <a:gd name="T34" fmla="*/ 3 w 23"/>
                    <a:gd name="T35" fmla="*/ 21 h 51"/>
                    <a:gd name="T36" fmla="*/ 6 w 23"/>
                    <a:gd name="T37" fmla="*/ 22 h 51"/>
                    <a:gd name="T38" fmla="*/ 8 w 23"/>
                    <a:gd name="T39" fmla="*/ 21 h 51"/>
                    <a:gd name="T40" fmla="*/ 8 w 23"/>
                    <a:gd name="T41" fmla="*/ 19 h 51"/>
                    <a:gd name="T42" fmla="*/ 9 w 23"/>
                    <a:gd name="T43" fmla="*/ 17 h 51"/>
                    <a:gd name="T44" fmla="*/ 12 w 23"/>
                    <a:gd name="T45" fmla="*/ 17 h 51"/>
                    <a:gd name="T46" fmla="*/ 10 w 23"/>
                    <a:gd name="T47" fmla="*/ 15 h 51"/>
                    <a:gd name="T48" fmla="*/ 12 w 23"/>
                    <a:gd name="T49" fmla="*/ 13 h 51"/>
                    <a:gd name="T50" fmla="*/ 18 w 23"/>
                    <a:gd name="T51" fmla="*/ 10 h 51"/>
                    <a:gd name="T52" fmla="*/ 21 w 23"/>
                    <a:gd name="T53" fmla="*/ 14 h 51"/>
                    <a:gd name="T54" fmla="*/ 16 w 23"/>
                    <a:gd name="T55" fmla="*/ 21 h 51"/>
                    <a:gd name="T56" fmla="*/ 13 w 23"/>
                    <a:gd name="T57" fmla="*/ 24 h 51"/>
                    <a:gd name="T58" fmla="*/ 20 w 23"/>
                    <a:gd name="T59" fmla="*/ 29 h 51"/>
                    <a:gd name="T60" fmla="*/ 23 w 23"/>
                    <a:gd name="T61" fmla="*/ 32 h 51"/>
                    <a:gd name="T62" fmla="*/ 22 w 23"/>
                    <a:gd name="T63" fmla="*/ 32 h 51"/>
                    <a:gd name="T64" fmla="*/ 20 w 23"/>
                    <a:gd name="T65" fmla="*/ 31 h 51"/>
                    <a:gd name="T66" fmla="*/ 18 w 23"/>
                    <a:gd name="T67" fmla="*/ 31 h 51"/>
                    <a:gd name="T68" fmla="*/ 17 w 23"/>
                    <a:gd name="T69" fmla="*/ 30 h 51"/>
                    <a:gd name="T70" fmla="*/ 9 w 23"/>
                    <a:gd name="T71" fmla="*/ 28 h 51"/>
                    <a:gd name="T72" fmla="*/ 7 w 23"/>
                    <a:gd name="T73" fmla="*/ 30 h 51"/>
                    <a:gd name="T74" fmla="*/ 7 w 23"/>
                    <a:gd name="T75" fmla="*/ 30 h 51"/>
                    <a:gd name="T76" fmla="*/ 8 w 23"/>
                    <a:gd name="T77" fmla="*/ 33 h 51"/>
                    <a:gd name="T78" fmla="*/ 8 w 23"/>
                    <a:gd name="T79" fmla="*/ 33 h 51"/>
                    <a:gd name="T80" fmla="*/ 8 w 23"/>
                    <a:gd name="T81" fmla="*/ 35 h 51"/>
                    <a:gd name="T82" fmla="*/ 15 w 23"/>
                    <a:gd name="T83" fmla="*/ 51 h 51"/>
                    <a:gd name="T84" fmla="*/ 12 w 23"/>
                    <a:gd name="T85" fmla="*/ 49 h 51"/>
                    <a:gd name="T86" fmla="*/ 12 w 23"/>
                    <a:gd name="T87" fmla="*/ 49 h 51"/>
                    <a:gd name="T88" fmla="*/ 12 w 23"/>
                    <a:gd name="T89"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51">
                      <a:moveTo>
                        <a:pt x="12" y="49"/>
                      </a:moveTo>
                      <a:cubicBezTo>
                        <a:pt x="9" y="49"/>
                        <a:pt x="7" y="46"/>
                        <a:pt x="7" y="43"/>
                      </a:cubicBezTo>
                      <a:cubicBezTo>
                        <a:pt x="4" y="42"/>
                        <a:pt x="3" y="38"/>
                        <a:pt x="3" y="35"/>
                      </a:cubicBezTo>
                      <a:cubicBezTo>
                        <a:pt x="3" y="33"/>
                        <a:pt x="4" y="32"/>
                        <a:pt x="4" y="31"/>
                      </a:cubicBezTo>
                      <a:cubicBezTo>
                        <a:pt x="4" y="31"/>
                        <a:pt x="3" y="30"/>
                        <a:pt x="3" y="30"/>
                      </a:cubicBezTo>
                      <a:cubicBezTo>
                        <a:pt x="2" y="29"/>
                        <a:pt x="1" y="26"/>
                        <a:pt x="1" y="25"/>
                      </a:cubicBezTo>
                      <a:cubicBezTo>
                        <a:pt x="1" y="24"/>
                        <a:pt x="2" y="24"/>
                        <a:pt x="3" y="23"/>
                      </a:cubicBezTo>
                      <a:cubicBezTo>
                        <a:pt x="1" y="22"/>
                        <a:pt x="0" y="19"/>
                        <a:pt x="0" y="17"/>
                      </a:cubicBezTo>
                      <a:cubicBezTo>
                        <a:pt x="0" y="15"/>
                        <a:pt x="0" y="14"/>
                        <a:pt x="1" y="13"/>
                      </a:cubicBezTo>
                      <a:cubicBezTo>
                        <a:pt x="2" y="9"/>
                        <a:pt x="2" y="6"/>
                        <a:pt x="5" y="4"/>
                      </a:cubicBezTo>
                      <a:cubicBezTo>
                        <a:pt x="6" y="2"/>
                        <a:pt x="7" y="1"/>
                        <a:pt x="9" y="0"/>
                      </a:cubicBezTo>
                      <a:lnTo>
                        <a:pt x="9" y="0"/>
                      </a:lnTo>
                      <a:lnTo>
                        <a:pt x="10" y="0"/>
                      </a:lnTo>
                      <a:lnTo>
                        <a:pt x="10" y="0"/>
                      </a:lnTo>
                      <a:cubicBezTo>
                        <a:pt x="10" y="2"/>
                        <a:pt x="7" y="3"/>
                        <a:pt x="7" y="5"/>
                      </a:cubicBezTo>
                      <a:cubicBezTo>
                        <a:pt x="7" y="6"/>
                        <a:pt x="8" y="7"/>
                        <a:pt x="8" y="7"/>
                      </a:cubicBezTo>
                      <a:cubicBezTo>
                        <a:pt x="9" y="7"/>
                        <a:pt x="10" y="10"/>
                        <a:pt x="10" y="11"/>
                      </a:cubicBezTo>
                      <a:cubicBezTo>
                        <a:pt x="10" y="17"/>
                        <a:pt x="3" y="16"/>
                        <a:pt x="3" y="21"/>
                      </a:cubicBezTo>
                      <a:cubicBezTo>
                        <a:pt x="3" y="22"/>
                        <a:pt x="5" y="22"/>
                        <a:pt x="6" y="22"/>
                      </a:cubicBezTo>
                      <a:cubicBezTo>
                        <a:pt x="7" y="22"/>
                        <a:pt x="8" y="22"/>
                        <a:pt x="8" y="21"/>
                      </a:cubicBezTo>
                      <a:cubicBezTo>
                        <a:pt x="8" y="20"/>
                        <a:pt x="8" y="19"/>
                        <a:pt x="8" y="19"/>
                      </a:cubicBezTo>
                      <a:cubicBezTo>
                        <a:pt x="8" y="19"/>
                        <a:pt x="8" y="18"/>
                        <a:pt x="9" y="17"/>
                      </a:cubicBezTo>
                      <a:cubicBezTo>
                        <a:pt x="10" y="17"/>
                        <a:pt x="12" y="18"/>
                        <a:pt x="12" y="17"/>
                      </a:cubicBezTo>
                      <a:cubicBezTo>
                        <a:pt x="12" y="15"/>
                        <a:pt x="10" y="15"/>
                        <a:pt x="10" y="15"/>
                      </a:cubicBezTo>
                      <a:cubicBezTo>
                        <a:pt x="10" y="14"/>
                        <a:pt x="11" y="14"/>
                        <a:pt x="12" y="13"/>
                      </a:cubicBezTo>
                      <a:cubicBezTo>
                        <a:pt x="14" y="12"/>
                        <a:pt x="15" y="10"/>
                        <a:pt x="18" y="10"/>
                      </a:cubicBezTo>
                      <a:cubicBezTo>
                        <a:pt x="21" y="10"/>
                        <a:pt x="21" y="12"/>
                        <a:pt x="21" y="14"/>
                      </a:cubicBezTo>
                      <a:cubicBezTo>
                        <a:pt x="21" y="17"/>
                        <a:pt x="18" y="19"/>
                        <a:pt x="16" y="21"/>
                      </a:cubicBezTo>
                      <a:cubicBezTo>
                        <a:pt x="14" y="21"/>
                        <a:pt x="13" y="22"/>
                        <a:pt x="13" y="24"/>
                      </a:cubicBezTo>
                      <a:cubicBezTo>
                        <a:pt x="13" y="27"/>
                        <a:pt x="20" y="25"/>
                        <a:pt x="20" y="29"/>
                      </a:cubicBezTo>
                      <a:cubicBezTo>
                        <a:pt x="20" y="31"/>
                        <a:pt x="22" y="31"/>
                        <a:pt x="23" y="32"/>
                      </a:cubicBezTo>
                      <a:cubicBezTo>
                        <a:pt x="23" y="32"/>
                        <a:pt x="22" y="32"/>
                        <a:pt x="22" y="32"/>
                      </a:cubicBezTo>
                      <a:cubicBezTo>
                        <a:pt x="21" y="32"/>
                        <a:pt x="21" y="32"/>
                        <a:pt x="20" y="31"/>
                      </a:cubicBezTo>
                      <a:cubicBezTo>
                        <a:pt x="20" y="31"/>
                        <a:pt x="19" y="31"/>
                        <a:pt x="18" y="31"/>
                      </a:cubicBezTo>
                      <a:cubicBezTo>
                        <a:pt x="18" y="31"/>
                        <a:pt x="17" y="30"/>
                        <a:pt x="17" y="30"/>
                      </a:cubicBezTo>
                      <a:cubicBezTo>
                        <a:pt x="16" y="29"/>
                        <a:pt x="9" y="28"/>
                        <a:pt x="9" y="28"/>
                      </a:cubicBezTo>
                      <a:cubicBezTo>
                        <a:pt x="8" y="28"/>
                        <a:pt x="7" y="29"/>
                        <a:pt x="7" y="30"/>
                      </a:cubicBezTo>
                      <a:lnTo>
                        <a:pt x="7" y="30"/>
                      </a:lnTo>
                      <a:lnTo>
                        <a:pt x="8" y="33"/>
                      </a:lnTo>
                      <a:lnTo>
                        <a:pt x="8" y="33"/>
                      </a:lnTo>
                      <a:cubicBezTo>
                        <a:pt x="8" y="33"/>
                        <a:pt x="8" y="34"/>
                        <a:pt x="8" y="35"/>
                      </a:cubicBezTo>
                      <a:cubicBezTo>
                        <a:pt x="8" y="42"/>
                        <a:pt x="13" y="47"/>
                        <a:pt x="15" y="51"/>
                      </a:cubicBezTo>
                      <a:cubicBezTo>
                        <a:pt x="14" y="50"/>
                        <a:pt x="12" y="51"/>
                        <a:pt x="12" y="49"/>
                      </a:cubicBezTo>
                      <a:lnTo>
                        <a:pt x="12" y="49"/>
                      </a:lnTo>
                      <a:lnTo>
                        <a:pt x="12" y="4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0" name="Freeform 605"/>
                <p:cNvSpPr>
                  <a:spLocks/>
                </p:cNvSpPr>
                <p:nvPr>
                  <p:custDataLst>
                    <p:tags r:id="rId586"/>
                  </p:custDataLst>
                </p:nvPr>
              </p:nvSpPr>
              <p:spPr bwMode="gray">
                <a:xfrm>
                  <a:off x="7643925" y="2448342"/>
                  <a:ext cx="40898" cy="102214"/>
                </a:xfrm>
                <a:custGeom>
                  <a:avLst/>
                  <a:gdLst>
                    <a:gd name="T0" fmla="*/ 1 w 4"/>
                    <a:gd name="T1" fmla="*/ 6 h 9"/>
                    <a:gd name="T2" fmla="*/ 0 w 4"/>
                    <a:gd name="T3" fmla="*/ 3 h 9"/>
                    <a:gd name="T4" fmla="*/ 0 w 4"/>
                    <a:gd name="T5" fmla="*/ 3 h 9"/>
                    <a:gd name="T6" fmla="*/ 1 w 4"/>
                    <a:gd name="T7" fmla="*/ 0 h 9"/>
                    <a:gd name="T8" fmla="*/ 2 w 4"/>
                    <a:gd name="T9" fmla="*/ 0 h 9"/>
                    <a:gd name="T10" fmla="*/ 2 w 4"/>
                    <a:gd name="T11" fmla="*/ 0 h 9"/>
                    <a:gd name="T12" fmla="*/ 4 w 4"/>
                    <a:gd name="T13" fmla="*/ 5 h 9"/>
                    <a:gd name="T14" fmla="*/ 3 w 4"/>
                    <a:gd name="T15" fmla="*/ 6 h 9"/>
                    <a:gd name="T16" fmla="*/ 3 w 4"/>
                    <a:gd name="T17" fmla="*/ 9 h 9"/>
                    <a:gd name="T18" fmla="*/ 1 w 4"/>
                    <a:gd name="T19" fmla="*/ 9 h 9"/>
                    <a:gd name="T20" fmla="*/ 1 w 4"/>
                    <a:gd name="T21" fmla="*/ 9 h 9"/>
                    <a:gd name="T22" fmla="*/ 0 w 4"/>
                    <a:gd name="T23" fmla="*/ 9 h 9"/>
                    <a:gd name="T24" fmla="*/ 0 w 4"/>
                    <a:gd name="T25" fmla="*/ 9 h 9"/>
                    <a:gd name="T26" fmla="*/ 1 w 4"/>
                    <a:gd name="T27" fmla="*/ 6 h 9"/>
                    <a:gd name="T28" fmla="*/ 1 w 4"/>
                    <a:gd name="T29" fmla="*/ 6 h 9"/>
                    <a:gd name="T30" fmla="*/ 1 w 4"/>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9">
                      <a:moveTo>
                        <a:pt x="1" y="6"/>
                      </a:moveTo>
                      <a:cubicBezTo>
                        <a:pt x="1" y="5"/>
                        <a:pt x="0" y="4"/>
                        <a:pt x="0" y="3"/>
                      </a:cubicBezTo>
                      <a:lnTo>
                        <a:pt x="0" y="3"/>
                      </a:lnTo>
                      <a:lnTo>
                        <a:pt x="1" y="0"/>
                      </a:lnTo>
                      <a:lnTo>
                        <a:pt x="2" y="0"/>
                      </a:lnTo>
                      <a:lnTo>
                        <a:pt x="2" y="0"/>
                      </a:lnTo>
                      <a:cubicBezTo>
                        <a:pt x="3" y="2"/>
                        <a:pt x="4" y="3"/>
                        <a:pt x="4" y="5"/>
                      </a:cubicBezTo>
                      <a:cubicBezTo>
                        <a:pt x="4" y="5"/>
                        <a:pt x="3" y="6"/>
                        <a:pt x="3" y="6"/>
                      </a:cubicBezTo>
                      <a:cubicBezTo>
                        <a:pt x="2" y="7"/>
                        <a:pt x="3" y="8"/>
                        <a:pt x="3" y="9"/>
                      </a:cubicBezTo>
                      <a:cubicBezTo>
                        <a:pt x="3" y="9"/>
                        <a:pt x="2" y="9"/>
                        <a:pt x="1" y="9"/>
                      </a:cubicBezTo>
                      <a:lnTo>
                        <a:pt x="1" y="9"/>
                      </a:lnTo>
                      <a:lnTo>
                        <a:pt x="0" y="9"/>
                      </a:lnTo>
                      <a:lnTo>
                        <a:pt x="0" y="9"/>
                      </a:lnTo>
                      <a:cubicBezTo>
                        <a:pt x="0" y="7"/>
                        <a:pt x="1" y="7"/>
                        <a:pt x="1" y="6"/>
                      </a:cubicBezTo>
                      <a:lnTo>
                        <a:pt x="1" y="6"/>
                      </a:lnTo>
                      <a:lnTo>
                        <a:pt x="1"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1" name="Freeform 606"/>
                <p:cNvSpPr>
                  <a:spLocks/>
                </p:cNvSpPr>
                <p:nvPr>
                  <p:custDataLst>
                    <p:tags r:id="rId587"/>
                  </p:custDataLst>
                </p:nvPr>
              </p:nvSpPr>
              <p:spPr bwMode="gray">
                <a:xfrm>
                  <a:off x="7454948" y="2627609"/>
                  <a:ext cx="28206" cy="45602"/>
                </a:xfrm>
                <a:custGeom>
                  <a:avLst/>
                  <a:gdLst>
                    <a:gd name="T0" fmla="*/ 2 w 3"/>
                    <a:gd name="T1" fmla="*/ 4 h 4"/>
                    <a:gd name="T2" fmla="*/ 3 w 3"/>
                    <a:gd name="T3" fmla="*/ 3 h 4"/>
                    <a:gd name="T4" fmla="*/ 0 w 3"/>
                    <a:gd name="T5" fmla="*/ 0 h 4"/>
                    <a:gd name="T6" fmla="*/ 2 w 3"/>
                    <a:gd name="T7" fmla="*/ 4 h 4"/>
                    <a:gd name="T8" fmla="*/ 2 w 3"/>
                    <a:gd name="T9" fmla="*/ 4 h 4"/>
                    <a:gd name="T10" fmla="*/ 2 w 3"/>
                    <a:gd name="T11" fmla="*/ 4 h 4"/>
                  </a:gdLst>
                  <a:ahLst/>
                  <a:cxnLst>
                    <a:cxn ang="0">
                      <a:pos x="T0" y="T1"/>
                    </a:cxn>
                    <a:cxn ang="0">
                      <a:pos x="T2" y="T3"/>
                    </a:cxn>
                    <a:cxn ang="0">
                      <a:pos x="T4" y="T5"/>
                    </a:cxn>
                    <a:cxn ang="0">
                      <a:pos x="T6" y="T7"/>
                    </a:cxn>
                    <a:cxn ang="0">
                      <a:pos x="T8" y="T9"/>
                    </a:cxn>
                    <a:cxn ang="0">
                      <a:pos x="T10" y="T11"/>
                    </a:cxn>
                  </a:cxnLst>
                  <a:rect l="0" t="0" r="r" b="b"/>
                  <a:pathLst>
                    <a:path w="3" h="4">
                      <a:moveTo>
                        <a:pt x="2" y="4"/>
                      </a:moveTo>
                      <a:cubicBezTo>
                        <a:pt x="2" y="4"/>
                        <a:pt x="2" y="3"/>
                        <a:pt x="3" y="3"/>
                      </a:cubicBezTo>
                      <a:cubicBezTo>
                        <a:pt x="2" y="2"/>
                        <a:pt x="2" y="1"/>
                        <a:pt x="0" y="0"/>
                      </a:cubicBezTo>
                      <a:cubicBezTo>
                        <a:pt x="0" y="1"/>
                        <a:pt x="1" y="4"/>
                        <a:pt x="2" y="4"/>
                      </a:cubicBezTo>
                      <a:lnTo>
                        <a:pt x="2" y="4"/>
                      </a:lnTo>
                      <a:lnTo>
                        <a:pt x="2"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2" name="Freeform 607"/>
                <p:cNvSpPr>
                  <a:spLocks/>
                </p:cNvSpPr>
                <p:nvPr>
                  <p:custDataLst>
                    <p:tags r:id="rId588"/>
                  </p:custDataLst>
                </p:nvPr>
              </p:nvSpPr>
              <p:spPr bwMode="gray">
                <a:xfrm>
                  <a:off x="4689407" y="2515959"/>
                  <a:ext cx="60642" cy="100641"/>
                </a:xfrm>
                <a:custGeom>
                  <a:avLst/>
                  <a:gdLst>
                    <a:gd name="T0" fmla="*/ 2 w 6"/>
                    <a:gd name="T1" fmla="*/ 9 h 9"/>
                    <a:gd name="T2" fmla="*/ 2 w 6"/>
                    <a:gd name="T3" fmla="*/ 7 h 9"/>
                    <a:gd name="T4" fmla="*/ 2 w 6"/>
                    <a:gd name="T5" fmla="*/ 7 h 9"/>
                    <a:gd name="T6" fmla="*/ 0 w 6"/>
                    <a:gd name="T7" fmla="*/ 3 h 9"/>
                    <a:gd name="T8" fmla="*/ 3 w 6"/>
                    <a:gd name="T9" fmla="*/ 0 h 9"/>
                    <a:gd name="T10" fmla="*/ 3 w 6"/>
                    <a:gd name="T11" fmla="*/ 0 h 9"/>
                    <a:gd name="T12" fmla="*/ 4 w 6"/>
                    <a:gd name="T13" fmla="*/ 0 h 9"/>
                    <a:gd name="T14" fmla="*/ 4 w 6"/>
                    <a:gd name="T15" fmla="*/ 0 h 9"/>
                    <a:gd name="T16" fmla="*/ 6 w 6"/>
                    <a:gd name="T17" fmla="*/ 4 h 9"/>
                    <a:gd name="T18" fmla="*/ 2 w 6"/>
                    <a:gd name="T19" fmla="*/ 9 h 9"/>
                    <a:gd name="T20" fmla="*/ 2 w 6"/>
                    <a:gd name="T21" fmla="*/ 9 h 9"/>
                    <a:gd name="T22" fmla="*/ 2 w 6"/>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9">
                      <a:moveTo>
                        <a:pt x="2" y="9"/>
                      </a:moveTo>
                      <a:lnTo>
                        <a:pt x="2" y="7"/>
                      </a:lnTo>
                      <a:lnTo>
                        <a:pt x="2" y="7"/>
                      </a:lnTo>
                      <a:cubicBezTo>
                        <a:pt x="2" y="6"/>
                        <a:pt x="0" y="5"/>
                        <a:pt x="0" y="3"/>
                      </a:cubicBezTo>
                      <a:cubicBezTo>
                        <a:pt x="0" y="2"/>
                        <a:pt x="3" y="1"/>
                        <a:pt x="3" y="0"/>
                      </a:cubicBezTo>
                      <a:lnTo>
                        <a:pt x="3" y="0"/>
                      </a:lnTo>
                      <a:lnTo>
                        <a:pt x="4" y="0"/>
                      </a:lnTo>
                      <a:lnTo>
                        <a:pt x="4" y="0"/>
                      </a:lnTo>
                      <a:cubicBezTo>
                        <a:pt x="4" y="2"/>
                        <a:pt x="6" y="2"/>
                        <a:pt x="6" y="4"/>
                      </a:cubicBezTo>
                      <a:cubicBezTo>
                        <a:pt x="6" y="8"/>
                        <a:pt x="5" y="9"/>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3" name="Freeform 608"/>
                <p:cNvSpPr>
                  <a:spLocks/>
                </p:cNvSpPr>
                <p:nvPr>
                  <p:custDataLst>
                    <p:tags r:id="rId589"/>
                  </p:custDataLst>
                </p:nvPr>
              </p:nvSpPr>
              <p:spPr bwMode="gray">
                <a:xfrm>
                  <a:off x="4699279" y="2594585"/>
                  <a:ext cx="21155" cy="1573"/>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4" name="Freeform 609"/>
                <p:cNvSpPr>
                  <a:spLocks/>
                </p:cNvSpPr>
                <p:nvPr>
                  <p:custDataLst>
                    <p:tags r:id="rId590"/>
                  </p:custDataLst>
                </p:nvPr>
              </p:nvSpPr>
              <p:spPr bwMode="gray">
                <a:xfrm>
                  <a:off x="4699279" y="2616600"/>
                  <a:ext cx="21155" cy="1573"/>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5" name="Freeform 610"/>
                <p:cNvSpPr>
                  <a:spLocks/>
                </p:cNvSpPr>
                <p:nvPr>
                  <p:custDataLst>
                    <p:tags r:id="rId591"/>
                  </p:custDataLst>
                </p:nvPr>
              </p:nvSpPr>
              <p:spPr bwMode="gray">
                <a:xfrm>
                  <a:off x="4699279" y="2616600"/>
                  <a:ext cx="21155" cy="1573"/>
                </a:xfrm>
                <a:custGeom>
                  <a:avLst/>
                  <a:gdLst>
                    <a:gd name="T0" fmla="*/ 0 w 15"/>
                    <a:gd name="T1" fmla="*/ 7 w 15"/>
                    <a:gd name="T2" fmla="*/ 7 w 15"/>
                    <a:gd name="T3" fmla="*/ 7 w 15"/>
                    <a:gd name="T4" fmla="*/ 7 w 15"/>
                    <a:gd name="T5" fmla="*/ 15 w 15"/>
                    <a:gd name="T6" fmla="*/ 0 w 15"/>
                  </a:gdLst>
                  <a:ahLst/>
                  <a:cxnLst>
                    <a:cxn ang="0">
                      <a:pos x="T0" y="0"/>
                    </a:cxn>
                    <a:cxn ang="0">
                      <a:pos x="T1" y="0"/>
                    </a:cxn>
                    <a:cxn ang="0">
                      <a:pos x="T2" y="0"/>
                    </a:cxn>
                    <a:cxn ang="0">
                      <a:pos x="T3" y="0"/>
                    </a:cxn>
                    <a:cxn ang="0">
                      <a:pos x="T4" y="0"/>
                    </a:cxn>
                    <a:cxn ang="0">
                      <a:pos x="T5" y="0"/>
                    </a:cxn>
                    <a:cxn ang="0">
                      <a:pos x="T6" y="0"/>
                    </a:cxn>
                  </a:cxnLst>
                  <a:rect l="0" t="0" r="r" b="b"/>
                  <a:pathLst>
                    <a:path w="15">
                      <a:moveTo>
                        <a:pt x="0" y="0"/>
                      </a:moveTo>
                      <a:lnTo>
                        <a:pt x="7" y="0"/>
                      </a:lnTo>
                      <a:lnTo>
                        <a:pt x="7" y="0"/>
                      </a:lnTo>
                      <a:lnTo>
                        <a:pt x="7" y="0"/>
                      </a:lnTo>
                      <a:lnTo>
                        <a:pt x="7" y="0"/>
                      </a:lnTo>
                      <a:lnTo>
                        <a:pt x="15"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6" name="Freeform 611"/>
                <p:cNvSpPr>
                  <a:spLocks/>
                </p:cNvSpPr>
                <p:nvPr>
                  <p:custDataLst>
                    <p:tags r:id="rId592"/>
                  </p:custDataLst>
                </p:nvPr>
              </p:nvSpPr>
              <p:spPr bwMode="gray">
                <a:xfrm>
                  <a:off x="4820562" y="3602566"/>
                  <a:ext cx="19744" cy="12580"/>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0"/>
                        <a:pt x="0" y="0"/>
                        <a:pt x="1" y="0"/>
                      </a:cubicBezTo>
                      <a:cubicBezTo>
                        <a:pt x="1" y="0"/>
                        <a:pt x="2" y="0"/>
                        <a:pt x="2" y="1"/>
                      </a:cubicBezTo>
                      <a:cubicBezTo>
                        <a:pt x="2" y="1"/>
                        <a:pt x="1" y="1"/>
                        <a:pt x="1"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7" name="Freeform 612"/>
                <p:cNvSpPr>
                  <a:spLocks/>
                </p:cNvSpPr>
                <p:nvPr>
                  <p:custDataLst>
                    <p:tags r:id="rId593"/>
                  </p:custDataLst>
                </p:nvPr>
              </p:nvSpPr>
              <p:spPr bwMode="gray">
                <a:xfrm>
                  <a:off x="5685059" y="4634136"/>
                  <a:ext cx="19744" cy="22015"/>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2" y="0"/>
                        <a:pt x="2" y="1"/>
                        <a:pt x="2" y="1"/>
                      </a:cubicBezTo>
                      <a:cubicBezTo>
                        <a:pt x="2" y="2"/>
                        <a:pt x="2"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8" name="Freeform 613"/>
                <p:cNvSpPr>
                  <a:spLocks/>
                </p:cNvSpPr>
                <p:nvPr>
                  <p:custDataLst>
                    <p:tags r:id="rId594"/>
                  </p:custDataLst>
                </p:nvPr>
              </p:nvSpPr>
              <p:spPr bwMode="gray">
                <a:xfrm>
                  <a:off x="5714674" y="4645142"/>
                  <a:ext cx="21155" cy="11009"/>
                </a:xfrm>
                <a:custGeom>
                  <a:avLst/>
                  <a:gdLst>
                    <a:gd name="T0" fmla="*/ 0 w 2"/>
                    <a:gd name="T1" fmla="*/ 1 h 1"/>
                    <a:gd name="T2" fmla="*/ 1 w 2"/>
                    <a:gd name="T3" fmla="*/ 0 h 1"/>
                    <a:gd name="T4" fmla="*/ 2 w 2"/>
                    <a:gd name="T5" fmla="*/ 1 h 1"/>
                    <a:gd name="T6" fmla="*/ 1 w 2"/>
                    <a:gd name="T7" fmla="*/ 1 h 1"/>
                    <a:gd name="T8" fmla="*/ 0 w 2"/>
                    <a:gd name="T9" fmla="*/ 1 h 1"/>
                    <a:gd name="T10" fmla="*/ 0 w 2"/>
                    <a:gd name="T11" fmla="*/ 1 h 1"/>
                    <a:gd name="T12" fmla="*/ 0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1"/>
                      </a:moveTo>
                      <a:cubicBezTo>
                        <a:pt x="0" y="1"/>
                        <a:pt x="1" y="0"/>
                        <a:pt x="1" y="0"/>
                      </a:cubicBezTo>
                      <a:cubicBezTo>
                        <a:pt x="2" y="0"/>
                        <a:pt x="2" y="1"/>
                        <a:pt x="2" y="1"/>
                      </a:cubicBezTo>
                      <a:cubicBezTo>
                        <a:pt x="2" y="1"/>
                        <a:pt x="2" y="1"/>
                        <a:pt x="1" y="1"/>
                      </a:cubicBezTo>
                      <a:cubicBezTo>
                        <a:pt x="1"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79" name="Freeform 614"/>
                <p:cNvSpPr>
                  <a:spLocks/>
                </p:cNvSpPr>
                <p:nvPr>
                  <p:custDataLst>
                    <p:tags r:id="rId595"/>
                  </p:custDataLst>
                </p:nvPr>
              </p:nvSpPr>
              <p:spPr bwMode="gray">
                <a:xfrm>
                  <a:off x="5714674" y="4656150"/>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0" name="Freeform 615"/>
                <p:cNvSpPr>
                  <a:spLocks/>
                </p:cNvSpPr>
                <p:nvPr>
                  <p:custDataLst>
                    <p:tags r:id="rId596"/>
                  </p:custDataLst>
                </p:nvPr>
              </p:nvSpPr>
              <p:spPr bwMode="gray">
                <a:xfrm>
                  <a:off x="5714674" y="4656150"/>
                  <a:ext cx="9872" cy="1571"/>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1" name="Freeform 616"/>
                <p:cNvSpPr>
                  <a:spLocks/>
                </p:cNvSpPr>
                <p:nvPr>
                  <p:custDataLst>
                    <p:tags r:id="rId597"/>
                  </p:custDataLst>
                </p:nvPr>
              </p:nvSpPr>
              <p:spPr bwMode="gray">
                <a:xfrm>
                  <a:off x="3754397" y="4308624"/>
                  <a:ext cx="50769" cy="34595"/>
                </a:xfrm>
                <a:custGeom>
                  <a:avLst/>
                  <a:gdLst>
                    <a:gd name="T0" fmla="*/ 0 w 5"/>
                    <a:gd name="T1" fmla="*/ 0 h 3"/>
                    <a:gd name="T2" fmla="*/ 2 w 5"/>
                    <a:gd name="T3" fmla="*/ 2 h 3"/>
                    <a:gd name="T4" fmla="*/ 3 w 5"/>
                    <a:gd name="T5" fmla="*/ 3 h 3"/>
                    <a:gd name="T6" fmla="*/ 5 w 5"/>
                    <a:gd name="T7" fmla="*/ 2 h 3"/>
                    <a:gd name="T8" fmla="*/ 5 w 5"/>
                    <a:gd name="T9" fmla="*/ 1 h 3"/>
                    <a:gd name="T10" fmla="*/ 0 w 5"/>
                    <a:gd name="T11" fmla="*/ 0 h 3"/>
                    <a:gd name="T12" fmla="*/ 0 w 5"/>
                    <a:gd name="T13" fmla="*/ 0 h 3"/>
                    <a:gd name="T14" fmla="*/ 0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0" y="0"/>
                      </a:moveTo>
                      <a:cubicBezTo>
                        <a:pt x="0" y="1"/>
                        <a:pt x="1" y="2"/>
                        <a:pt x="2" y="2"/>
                      </a:cubicBezTo>
                      <a:cubicBezTo>
                        <a:pt x="2" y="3"/>
                        <a:pt x="3" y="3"/>
                        <a:pt x="3" y="3"/>
                      </a:cubicBezTo>
                      <a:cubicBezTo>
                        <a:pt x="4" y="3"/>
                        <a:pt x="4" y="2"/>
                        <a:pt x="5" y="2"/>
                      </a:cubicBezTo>
                      <a:cubicBezTo>
                        <a:pt x="4" y="2"/>
                        <a:pt x="4" y="1"/>
                        <a:pt x="5" y="1"/>
                      </a:cubicBezTo>
                      <a:cubicBezTo>
                        <a:pt x="3" y="1"/>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2" name="Freeform 617"/>
                <p:cNvSpPr>
                  <a:spLocks/>
                </p:cNvSpPr>
                <p:nvPr>
                  <p:custDataLst>
                    <p:tags r:id="rId598"/>
                  </p:custDataLst>
                </p:nvPr>
              </p:nvSpPr>
              <p:spPr bwMode="gray">
                <a:xfrm>
                  <a:off x="3944784" y="3099362"/>
                  <a:ext cx="21154" cy="20442"/>
                </a:xfrm>
                <a:custGeom>
                  <a:avLst/>
                  <a:gdLst>
                    <a:gd name="T0" fmla="*/ 0 w 2"/>
                    <a:gd name="T1" fmla="*/ 1 h 2"/>
                    <a:gd name="T2" fmla="*/ 1 w 2"/>
                    <a:gd name="T3" fmla="*/ 1 h 2"/>
                    <a:gd name="T4" fmla="*/ 2 w 2"/>
                    <a:gd name="T5" fmla="*/ 1 h 2"/>
                    <a:gd name="T6" fmla="*/ 2 w 2"/>
                    <a:gd name="T7" fmla="*/ 1 h 2"/>
                    <a:gd name="T8" fmla="*/ 1 w 2"/>
                    <a:gd name="T9" fmla="*/ 0 h 2"/>
                    <a:gd name="T10" fmla="*/ 1 w 2"/>
                    <a:gd name="T11" fmla="*/ 0 h 2"/>
                    <a:gd name="T12" fmla="*/ 0 w 2"/>
                    <a:gd name="T13" fmla="*/ 1 h 2"/>
                    <a:gd name="T14" fmla="*/ 0 w 2"/>
                    <a:gd name="T15" fmla="*/ 1 h 2"/>
                    <a:gd name="T16" fmla="*/ 0 w 2"/>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0" y="1"/>
                      </a:moveTo>
                      <a:cubicBezTo>
                        <a:pt x="0" y="2"/>
                        <a:pt x="0" y="1"/>
                        <a:pt x="1" y="1"/>
                      </a:cubicBezTo>
                      <a:cubicBezTo>
                        <a:pt x="1" y="1"/>
                        <a:pt x="2" y="1"/>
                        <a:pt x="2" y="1"/>
                      </a:cubicBezTo>
                      <a:lnTo>
                        <a:pt x="2" y="1"/>
                      </a:lnTo>
                      <a:lnTo>
                        <a:pt x="1" y="0"/>
                      </a:lnTo>
                      <a:lnTo>
                        <a:pt x="1" y="0"/>
                      </a:lnTo>
                      <a:cubicBezTo>
                        <a:pt x="0" y="0"/>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3" name="Freeform 618"/>
                <p:cNvSpPr>
                  <a:spLocks/>
                </p:cNvSpPr>
                <p:nvPr>
                  <p:custDataLst>
                    <p:tags r:id="rId599"/>
                  </p:custDataLst>
                </p:nvPr>
              </p:nvSpPr>
              <p:spPr bwMode="gray">
                <a:xfrm>
                  <a:off x="3944785" y="3143392"/>
                  <a:ext cx="31026" cy="45602"/>
                </a:xfrm>
                <a:custGeom>
                  <a:avLst/>
                  <a:gdLst>
                    <a:gd name="T0" fmla="*/ 0 w 3"/>
                    <a:gd name="T1" fmla="*/ 0 h 4"/>
                    <a:gd name="T2" fmla="*/ 3 w 3"/>
                    <a:gd name="T3" fmla="*/ 4 h 4"/>
                    <a:gd name="T4" fmla="*/ 3 w 3"/>
                    <a:gd name="T5" fmla="*/ 4 h 4"/>
                    <a:gd name="T6" fmla="*/ 3 w 3"/>
                    <a:gd name="T7" fmla="*/ 1 h 4"/>
                    <a:gd name="T8" fmla="*/ 3 w 3"/>
                    <a:gd name="T9" fmla="*/ 1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cubicBezTo>
                        <a:pt x="0" y="2"/>
                        <a:pt x="1" y="4"/>
                        <a:pt x="3" y="4"/>
                      </a:cubicBezTo>
                      <a:lnTo>
                        <a:pt x="3" y="4"/>
                      </a:lnTo>
                      <a:lnTo>
                        <a:pt x="3" y="1"/>
                      </a:lnTo>
                      <a:lnTo>
                        <a:pt x="3" y="1"/>
                      </a:lnTo>
                      <a:cubicBezTo>
                        <a:pt x="2" y="0"/>
                        <a:pt x="1" y="0"/>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4" name="Freeform 619"/>
                <p:cNvSpPr>
                  <a:spLocks/>
                </p:cNvSpPr>
                <p:nvPr>
                  <p:custDataLst>
                    <p:tags r:id="rId600"/>
                  </p:custDataLst>
                </p:nvPr>
              </p:nvSpPr>
              <p:spPr bwMode="gray">
                <a:xfrm>
                  <a:off x="3965938" y="3188994"/>
                  <a:ext cx="9872" cy="1573"/>
                </a:xfrm>
                <a:custGeom>
                  <a:avLst/>
                  <a:gdLst>
                    <a:gd name="T0" fmla="*/ 0 w 7"/>
                    <a:gd name="T1" fmla="*/ 7 w 7"/>
                    <a:gd name="T2" fmla="*/ 7 w 7"/>
                    <a:gd name="T3" fmla="*/ 7 w 7"/>
                    <a:gd name="T4" fmla="*/ 7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7" y="0"/>
                      </a:lnTo>
                      <a:lnTo>
                        <a:pt x="7" y="0"/>
                      </a:lnTo>
                      <a:lnTo>
                        <a:pt x="7" y="0"/>
                      </a:lnTo>
                      <a:lnTo>
                        <a:pt x="7"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5" name="Freeform 620"/>
                <p:cNvSpPr>
                  <a:spLocks/>
                </p:cNvSpPr>
                <p:nvPr>
                  <p:custDataLst>
                    <p:tags r:id="rId601"/>
                  </p:custDataLst>
                </p:nvPr>
              </p:nvSpPr>
              <p:spPr bwMode="gray">
                <a:xfrm>
                  <a:off x="3944784" y="3143392"/>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6" name="Freeform 621"/>
                <p:cNvSpPr>
                  <a:spLocks/>
                </p:cNvSpPr>
                <p:nvPr>
                  <p:custDataLst>
                    <p:tags r:id="rId602"/>
                  </p:custDataLst>
                </p:nvPr>
              </p:nvSpPr>
              <p:spPr bwMode="gray">
                <a:xfrm>
                  <a:off x="3944784" y="3143392"/>
                  <a:ext cx="9871" cy="1571"/>
                </a:xfrm>
                <a:custGeom>
                  <a:avLst/>
                  <a:gdLst>
                    <a:gd name="T0" fmla="*/ 7 w 7"/>
                    <a:gd name="T1" fmla="*/ 0 w 7"/>
                    <a:gd name="T2" fmla="*/ 0 w 7"/>
                    <a:gd name="T3" fmla="*/ 0 w 7"/>
                    <a:gd name="T4" fmla="*/ 0 w 7"/>
                    <a:gd name="T5" fmla="*/ 0 w 7"/>
                    <a:gd name="T6" fmla="*/ 7 w 7"/>
                  </a:gdLst>
                  <a:ahLst/>
                  <a:cxnLst>
                    <a:cxn ang="0">
                      <a:pos x="T0" y="0"/>
                    </a:cxn>
                    <a:cxn ang="0">
                      <a:pos x="T1" y="0"/>
                    </a:cxn>
                    <a:cxn ang="0">
                      <a:pos x="T2" y="0"/>
                    </a:cxn>
                    <a:cxn ang="0">
                      <a:pos x="T3" y="0"/>
                    </a:cxn>
                    <a:cxn ang="0">
                      <a:pos x="T4" y="0"/>
                    </a:cxn>
                    <a:cxn ang="0">
                      <a:pos x="T5" y="0"/>
                    </a:cxn>
                    <a:cxn ang="0">
                      <a:pos x="T6" y="0"/>
                    </a:cxn>
                  </a:cxnLst>
                  <a:rect l="0" t="0" r="r" b="b"/>
                  <a:pathLst>
                    <a:path w="7">
                      <a:moveTo>
                        <a:pt x="7" y="0"/>
                      </a:moveTo>
                      <a:lnTo>
                        <a:pt x="0" y="0"/>
                      </a:lnTo>
                      <a:lnTo>
                        <a:pt x="0" y="0"/>
                      </a:lnTo>
                      <a:lnTo>
                        <a:pt x="0" y="0"/>
                      </a:lnTo>
                      <a:lnTo>
                        <a:pt x="0" y="0"/>
                      </a:lnTo>
                      <a:lnTo>
                        <a:pt x="0" y="0"/>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7" name="Freeform 622"/>
                <p:cNvSpPr>
                  <a:spLocks/>
                </p:cNvSpPr>
                <p:nvPr>
                  <p:custDataLst>
                    <p:tags r:id="rId603"/>
                  </p:custDataLst>
                </p:nvPr>
              </p:nvSpPr>
              <p:spPr bwMode="gray">
                <a:xfrm>
                  <a:off x="4115426" y="3299070"/>
                  <a:ext cx="91668" cy="69191"/>
                </a:xfrm>
                <a:custGeom>
                  <a:avLst/>
                  <a:gdLst>
                    <a:gd name="T0" fmla="*/ 0 w 9"/>
                    <a:gd name="T1" fmla="*/ 4 h 6"/>
                    <a:gd name="T2" fmla="*/ 3 w 9"/>
                    <a:gd name="T3" fmla="*/ 0 h 6"/>
                    <a:gd name="T4" fmla="*/ 4 w 9"/>
                    <a:gd name="T5" fmla="*/ 1 h 6"/>
                    <a:gd name="T6" fmla="*/ 9 w 9"/>
                    <a:gd name="T7" fmla="*/ 5 h 6"/>
                    <a:gd name="T8" fmla="*/ 8 w 9"/>
                    <a:gd name="T9" fmla="*/ 6 h 6"/>
                    <a:gd name="T10" fmla="*/ 4 w 9"/>
                    <a:gd name="T11" fmla="*/ 4 h 6"/>
                    <a:gd name="T12" fmla="*/ 0 w 9"/>
                    <a:gd name="T13" fmla="*/ 6 h 6"/>
                    <a:gd name="T14" fmla="*/ 1 w 9"/>
                    <a:gd name="T15" fmla="*/ 4 h 6"/>
                    <a:gd name="T16" fmla="*/ 1 w 9"/>
                    <a:gd name="T17" fmla="*/ 4 h 6"/>
                    <a:gd name="T18" fmla="*/ 0 w 9"/>
                    <a:gd name="T19" fmla="*/ 4 h 6"/>
                    <a:gd name="T20" fmla="*/ 0 w 9"/>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2" y="3"/>
                        <a:pt x="1" y="0"/>
                        <a:pt x="3" y="0"/>
                      </a:cubicBezTo>
                      <a:cubicBezTo>
                        <a:pt x="3" y="0"/>
                        <a:pt x="4" y="1"/>
                        <a:pt x="4" y="1"/>
                      </a:cubicBezTo>
                      <a:cubicBezTo>
                        <a:pt x="5" y="2"/>
                        <a:pt x="9" y="4"/>
                        <a:pt x="9" y="5"/>
                      </a:cubicBezTo>
                      <a:cubicBezTo>
                        <a:pt x="9" y="6"/>
                        <a:pt x="8" y="6"/>
                        <a:pt x="8" y="6"/>
                      </a:cubicBezTo>
                      <a:cubicBezTo>
                        <a:pt x="6" y="6"/>
                        <a:pt x="5" y="4"/>
                        <a:pt x="4" y="4"/>
                      </a:cubicBezTo>
                      <a:cubicBezTo>
                        <a:pt x="2" y="4"/>
                        <a:pt x="2" y="6"/>
                        <a:pt x="0" y="6"/>
                      </a:cubicBezTo>
                      <a:cubicBezTo>
                        <a:pt x="0" y="5"/>
                        <a:pt x="1" y="5"/>
                        <a:pt x="1" y="4"/>
                      </a:cubicBezTo>
                      <a:lnTo>
                        <a:pt x="1" y="4"/>
                      </a:ln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8" name="Freeform 623"/>
                <p:cNvSpPr>
                  <a:spLocks/>
                </p:cNvSpPr>
                <p:nvPr>
                  <p:custDataLst>
                    <p:tags r:id="rId604"/>
                  </p:custDataLst>
                </p:nvPr>
              </p:nvSpPr>
              <p:spPr bwMode="gray">
                <a:xfrm>
                  <a:off x="4105555" y="3244033"/>
                  <a:ext cx="9871" cy="12580"/>
                </a:xfrm>
                <a:custGeom>
                  <a:avLst/>
                  <a:gdLst>
                    <a:gd name="T0" fmla="*/ 0 w 1"/>
                    <a:gd name="T1" fmla="*/ 0 h 1"/>
                    <a:gd name="T2" fmla="*/ 0 w 1"/>
                    <a:gd name="T3" fmla="*/ 0 h 1"/>
                    <a:gd name="T4" fmla="*/ 1 w 1"/>
                    <a:gd name="T5" fmla="*/ 0 h 1"/>
                    <a:gd name="T6" fmla="*/ 0 w 1"/>
                    <a:gd name="T7" fmla="*/ 1 h 1"/>
                    <a:gd name="T8" fmla="*/ 0 w 1"/>
                    <a:gd name="T9" fmla="*/ 0 h 1"/>
                    <a:gd name="T10" fmla="*/ 0 w 1"/>
                    <a:gd name="T11" fmla="*/ 0 h 1"/>
                    <a:gd name="T12" fmla="*/ 0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0"/>
                      </a:moveTo>
                      <a:cubicBezTo>
                        <a:pt x="0" y="0"/>
                        <a:pt x="0" y="0"/>
                        <a:pt x="0" y="0"/>
                      </a:cubicBezTo>
                      <a:cubicBezTo>
                        <a:pt x="1" y="0"/>
                        <a:pt x="1" y="0"/>
                        <a:pt x="1" y="0"/>
                      </a:cubicBezTo>
                      <a:cubicBezTo>
                        <a:pt x="1" y="1"/>
                        <a:pt x="1" y="1"/>
                        <a:pt x="0" y="1"/>
                      </a:cubicBezTo>
                      <a:cubicBezTo>
                        <a:pt x="0" y="1"/>
                        <a:pt x="0" y="1"/>
                        <a:pt x="0" y="0"/>
                      </a:cubicBezTo>
                      <a:lnTo>
                        <a:pt x="0" y="0"/>
                      </a:lnTo>
                      <a:lnTo>
                        <a:pt x="0"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89" name="Freeform 624"/>
                <p:cNvSpPr>
                  <a:spLocks/>
                </p:cNvSpPr>
                <p:nvPr>
                  <p:custDataLst>
                    <p:tags r:id="rId605"/>
                  </p:custDataLst>
                </p:nvPr>
              </p:nvSpPr>
              <p:spPr bwMode="gray">
                <a:xfrm>
                  <a:off x="4166196" y="3154400"/>
                  <a:ext cx="11282" cy="22015"/>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1"/>
                        <a:pt x="1"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0" name="Freeform 625"/>
                <p:cNvSpPr>
                  <a:spLocks/>
                </p:cNvSpPr>
                <p:nvPr>
                  <p:custDataLst>
                    <p:tags r:id="rId606"/>
                  </p:custDataLst>
                </p:nvPr>
              </p:nvSpPr>
              <p:spPr bwMode="gray">
                <a:xfrm>
                  <a:off x="4085811" y="3200003"/>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1" name="Freeform 626"/>
                <p:cNvSpPr>
                  <a:spLocks/>
                </p:cNvSpPr>
                <p:nvPr>
                  <p:custDataLst>
                    <p:tags r:id="rId607"/>
                  </p:custDataLst>
                </p:nvPr>
              </p:nvSpPr>
              <p:spPr bwMode="gray">
                <a:xfrm>
                  <a:off x="4115426" y="3267620"/>
                  <a:ext cx="11282" cy="20443"/>
                </a:xfrm>
                <a:custGeom>
                  <a:avLst/>
                  <a:gdLst>
                    <a:gd name="T0" fmla="*/ 0 w 1"/>
                    <a:gd name="T1" fmla="*/ 1 h 2"/>
                    <a:gd name="T2" fmla="*/ 1 w 1"/>
                    <a:gd name="T3" fmla="*/ 0 h 2"/>
                    <a:gd name="T4" fmla="*/ 1 w 1"/>
                    <a:gd name="T5" fmla="*/ 1 h 2"/>
                    <a:gd name="T6" fmla="*/ 1 w 1"/>
                    <a:gd name="T7" fmla="*/ 2 h 2"/>
                    <a:gd name="T8" fmla="*/ 0 w 1"/>
                    <a:gd name="T9" fmla="*/ 1 h 2"/>
                    <a:gd name="T10" fmla="*/ 0 w 1"/>
                    <a:gd name="T11" fmla="*/ 1 h 2"/>
                    <a:gd name="T12" fmla="*/ 0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1"/>
                      </a:moveTo>
                      <a:cubicBezTo>
                        <a:pt x="0" y="1"/>
                        <a:pt x="0" y="0"/>
                        <a:pt x="1" y="0"/>
                      </a:cubicBezTo>
                      <a:cubicBezTo>
                        <a:pt x="1" y="0"/>
                        <a:pt x="1" y="1"/>
                        <a:pt x="1" y="1"/>
                      </a:cubicBezTo>
                      <a:cubicBezTo>
                        <a:pt x="1" y="2"/>
                        <a:pt x="1" y="2"/>
                        <a:pt x="1" y="2"/>
                      </a:cubicBezTo>
                      <a:cubicBezTo>
                        <a:pt x="0"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2" name="Freeform 627"/>
                <p:cNvSpPr>
                  <a:spLocks/>
                </p:cNvSpPr>
                <p:nvPr>
                  <p:custDataLst>
                    <p:tags r:id="rId608"/>
                  </p:custDataLst>
                </p:nvPr>
              </p:nvSpPr>
              <p:spPr bwMode="gray">
                <a:xfrm>
                  <a:off x="3916578" y="3176415"/>
                  <a:ext cx="28206" cy="34595"/>
                </a:xfrm>
                <a:custGeom>
                  <a:avLst/>
                  <a:gdLst>
                    <a:gd name="T0" fmla="*/ 0 w 3"/>
                    <a:gd name="T1" fmla="*/ 2 h 3"/>
                    <a:gd name="T2" fmla="*/ 1 w 3"/>
                    <a:gd name="T3" fmla="*/ 3 h 3"/>
                    <a:gd name="T4" fmla="*/ 3 w 3"/>
                    <a:gd name="T5" fmla="*/ 3 h 3"/>
                    <a:gd name="T6" fmla="*/ 3 w 3"/>
                    <a:gd name="T7" fmla="*/ 3 h 3"/>
                    <a:gd name="T8" fmla="*/ 3 w 3"/>
                    <a:gd name="T9" fmla="*/ 2 h 3"/>
                    <a:gd name="T10" fmla="*/ 2 w 3"/>
                    <a:gd name="T11" fmla="*/ 0 h 3"/>
                    <a:gd name="T12" fmla="*/ 0 w 3"/>
                    <a:gd name="T13" fmla="*/ 2 h 3"/>
                    <a:gd name="T14" fmla="*/ 0 w 3"/>
                    <a:gd name="T15" fmla="*/ 2 h 3"/>
                    <a:gd name="T16" fmla="*/ 0 w 3"/>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2"/>
                      </a:moveTo>
                      <a:lnTo>
                        <a:pt x="1" y="3"/>
                      </a:lnTo>
                      <a:lnTo>
                        <a:pt x="3" y="3"/>
                      </a:lnTo>
                      <a:lnTo>
                        <a:pt x="3" y="3"/>
                      </a:lnTo>
                      <a:cubicBezTo>
                        <a:pt x="3" y="2"/>
                        <a:pt x="3" y="2"/>
                        <a:pt x="3" y="2"/>
                      </a:cubicBezTo>
                      <a:cubicBezTo>
                        <a:pt x="3" y="1"/>
                        <a:pt x="2" y="0"/>
                        <a:pt x="2" y="0"/>
                      </a:cubicBezTo>
                      <a:cubicBezTo>
                        <a:pt x="1" y="0"/>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3" name="Freeform 628"/>
                <p:cNvSpPr>
                  <a:spLocks/>
                </p:cNvSpPr>
                <p:nvPr>
                  <p:custDataLst>
                    <p:tags r:id="rId609"/>
                  </p:custDataLst>
                </p:nvPr>
              </p:nvSpPr>
              <p:spPr bwMode="gray">
                <a:xfrm>
                  <a:off x="3934912" y="3211010"/>
                  <a:ext cx="19744" cy="1573"/>
                </a:xfrm>
                <a:custGeom>
                  <a:avLst/>
                  <a:gdLst>
                    <a:gd name="T0" fmla="*/ 0 w 14"/>
                    <a:gd name="T1" fmla="*/ 7 w 14"/>
                    <a:gd name="T2" fmla="*/ 7 w 14"/>
                    <a:gd name="T3" fmla="*/ 7 w 14"/>
                    <a:gd name="T4" fmla="*/ 7 w 14"/>
                    <a:gd name="T5" fmla="*/ 14 w 14"/>
                    <a:gd name="T6" fmla="*/ 0 w 14"/>
                  </a:gdLst>
                  <a:ahLst/>
                  <a:cxnLst>
                    <a:cxn ang="0">
                      <a:pos x="T0" y="0"/>
                    </a:cxn>
                    <a:cxn ang="0">
                      <a:pos x="T1" y="0"/>
                    </a:cxn>
                    <a:cxn ang="0">
                      <a:pos x="T2" y="0"/>
                    </a:cxn>
                    <a:cxn ang="0">
                      <a:pos x="T3" y="0"/>
                    </a:cxn>
                    <a:cxn ang="0">
                      <a:pos x="T4" y="0"/>
                    </a:cxn>
                    <a:cxn ang="0">
                      <a:pos x="T5" y="0"/>
                    </a:cxn>
                    <a:cxn ang="0">
                      <a:pos x="T6" y="0"/>
                    </a:cxn>
                  </a:cxnLst>
                  <a:rect l="0" t="0" r="r" b="b"/>
                  <a:pathLst>
                    <a:path w="14">
                      <a:moveTo>
                        <a:pt x="0" y="0"/>
                      </a:moveTo>
                      <a:lnTo>
                        <a:pt x="7" y="0"/>
                      </a:lnTo>
                      <a:lnTo>
                        <a:pt x="7" y="0"/>
                      </a:lnTo>
                      <a:lnTo>
                        <a:pt x="7" y="0"/>
                      </a:lnTo>
                      <a:lnTo>
                        <a:pt x="7" y="0"/>
                      </a:lnTo>
                      <a:lnTo>
                        <a:pt x="14"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4" name="Freeform 629"/>
                <p:cNvSpPr>
                  <a:spLocks/>
                </p:cNvSpPr>
                <p:nvPr>
                  <p:custDataLst>
                    <p:tags r:id="rId610"/>
                  </p:custDataLst>
                </p:nvPr>
              </p:nvSpPr>
              <p:spPr bwMode="gray">
                <a:xfrm>
                  <a:off x="3916578" y="3188996"/>
                  <a:ext cx="0" cy="22015"/>
                </a:xfrm>
                <a:custGeom>
                  <a:avLst/>
                  <a:gdLst>
                    <a:gd name="T0" fmla="*/ 0 h 14"/>
                    <a:gd name="T1" fmla="*/ 7 h 14"/>
                    <a:gd name="T2" fmla="*/ 7 h 14"/>
                    <a:gd name="T3" fmla="*/ 7 h 14"/>
                    <a:gd name="T4" fmla="*/ 7 h 14"/>
                    <a:gd name="T5" fmla="*/ 14 h 14"/>
                    <a:gd name="T6" fmla="*/ 0 h 14"/>
                  </a:gdLst>
                  <a:ahLst/>
                  <a:cxnLst>
                    <a:cxn ang="0">
                      <a:pos x="0" y="T0"/>
                    </a:cxn>
                    <a:cxn ang="0">
                      <a:pos x="0" y="T1"/>
                    </a:cxn>
                    <a:cxn ang="0">
                      <a:pos x="0" y="T2"/>
                    </a:cxn>
                    <a:cxn ang="0">
                      <a:pos x="0" y="T3"/>
                    </a:cxn>
                    <a:cxn ang="0">
                      <a:pos x="0" y="T4"/>
                    </a:cxn>
                    <a:cxn ang="0">
                      <a:pos x="0" y="T5"/>
                    </a:cxn>
                    <a:cxn ang="0">
                      <a:pos x="0" y="T6"/>
                    </a:cxn>
                  </a:cxnLst>
                  <a:rect l="0" t="0" r="r" b="b"/>
                  <a:pathLst>
                    <a:path h="14">
                      <a:moveTo>
                        <a:pt x="0" y="0"/>
                      </a:moveTo>
                      <a:lnTo>
                        <a:pt x="0" y="7"/>
                      </a:lnTo>
                      <a:lnTo>
                        <a:pt x="0" y="7"/>
                      </a:lnTo>
                      <a:lnTo>
                        <a:pt x="0" y="7"/>
                      </a:lnTo>
                      <a:lnTo>
                        <a:pt x="0" y="7"/>
                      </a:lnTo>
                      <a:lnTo>
                        <a:pt x="0" y="14"/>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5" name="Freeform 630"/>
                <p:cNvSpPr>
                  <a:spLocks/>
                </p:cNvSpPr>
                <p:nvPr>
                  <p:custDataLst>
                    <p:tags r:id="rId611"/>
                  </p:custDataLst>
                </p:nvPr>
              </p:nvSpPr>
              <p:spPr bwMode="gray">
                <a:xfrm>
                  <a:off x="3916578" y="3188996"/>
                  <a:ext cx="0" cy="22015"/>
                </a:xfrm>
                <a:custGeom>
                  <a:avLst/>
                  <a:gdLst>
                    <a:gd name="T0" fmla="*/ 0 h 14"/>
                    <a:gd name="T1" fmla="*/ 7 h 14"/>
                    <a:gd name="T2" fmla="*/ 7 h 14"/>
                    <a:gd name="T3" fmla="*/ 7 h 14"/>
                    <a:gd name="T4" fmla="*/ 7 h 14"/>
                    <a:gd name="T5" fmla="*/ 14 h 14"/>
                    <a:gd name="T6" fmla="*/ 0 h 14"/>
                  </a:gdLst>
                  <a:ahLst/>
                  <a:cxnLst>
                    <a:cxn ang="0">
                      <a:pos x="0" y="T0"/>
                    </a:cxn>
                    <a:cxn ang="0">
                      <a:pos x="0" y="T1"/>
                    </a:cxn>
                    <a:cxn ang="0">
                      <a:pos x="0" y="T2"/>
                    </a:cxn>
                    <a:cxn ang="0">
                      <a:pos x="0" y="T3"/>
                    </a:cxn>
                    <a:cxn ang="0">
                      <a:pos x="0" y="T4"/>
                    </a:cxn>
                    <a:cxn ang="0">
                      <a:pos x="0" y="T5"/>
                    </a:cxn>
                    <a:cxn ang="0">
                      <a:pos x="0" y="T6"/>
                    </a:cxn>
                  </a:cxnLst>
                  <a:rect l="0" t="0" r="r" b="b"/>
                  <a:pathLst>
                    <a:path h="14">
                      <a:moveTo>
                        <a:pt x="0" y="0"/>
                      </a:moveTo>
                      <a:lnTo>
                        <a:pt x="0" y="7"/>
                      </a:lnTo>
                      <a:lnTo>
                        <a:pt x="0" y="7"/>
                      </a:lnTo>
                      <a:lnTo>
                        <a:pt x="0" y="7"/>
                      </a:lnTo>
                      <a:lnTo>
                        <a:pt x="0" y="7"/>
                      </a:lnTo>
                      <a:lnTo>
                        <a:pt x="0" y="14"/>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6" name="Freeform 631"/>
                <p:cNvSpPr>
                  <a:spLocks/>
                </p:cNvSpPr>
                <p:nvPr>
                  <p:custDataLst>
                    <p:tags r:id="rId612"/>
                  </p:custDataLst>
                </p:nvPr>
              </p:nvSpPr>
              <p:spPr bwMode="gray">
                <a:xfrm>
                  <a:off x="4077349" y="3088354"/>
                  <a:ext cx="88846" cy="55039"/>
                </a:xfrm>
                <a:custGeom>
                  <a:avLst/>
                  <a:gdLst>
                    <a:gd name="T0" fmla="*/ 2 w 9"/>
                    <a:gd name="T1" fmla="*/ 0 h 5"/>
                    <a:gd name="T2" fmla="*/ 4 w 9"/>
                    <a:gd name="T3" fmla="*/ 2 h 5"/>
                    <a:gd name="T4" fmla="*/ 7 w 9"/>
                    <a:gd name="T5" fmla="*/ 5 h 5"/>
                    <a:gd name="T6" fmla="*/ 9 w 9"/>
                    <a:gd name="T7" fmla="*/ 3 h 5"/>
                    <a:gd name="T8" fmla="*/ 6 w 9"/>
                    <a:gd name="T9" fmla="*/ 0 h 5"/>
                    <a:gd name="T10" fmla="*/ 2 w 9"/>
                    <a:gd name="T11" fmla="*/ 0 h 5"/>
                    <a:gd name="T12" fmla="*/ 2 w 9"/>
                    <a:gd name="T13" fmla="*/ 0 h 5"/>
                    <a:gd name="T14" fmla="*/ 2 w 9"/>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2" y="0"/>
                      </a:moveTo>
                      <a:cubicBezTo>
                        <a:pt x="0" y="4"/>
                        <a:pt x="4" y="1"/>
                        <a:pt x="4" y="2"/>
                      </a:cubicBezTo>
                      <a:cubicBezTo>
                        <a:pt x="4" y="3"/>
                        <a:pt x="5" y="5"/>
                        <a:pt x="7" y="5"/>
                      </a:cubicBezTo>
                      <a:cubicBezTo>
                        <a:pt x="7" y="5"/>
                        <a:pt x="9" y="3"/>
                        <a:pt x="9" y="3"/>
                      </a:cubicBezTo>
                      <a:cubicBezTo>
                        <a:pt x="8" y="2"/>
                        <a:pt x="6" y="1"/>
                        <a:pt x="6" y="0"/>
                      </a:cubicBezTo>
                      <a:cubicBezTo>
                        <a:pt x="6" y="0"/>
                        <a:pt x="2"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7" name="Freeform 632"/>
                <p:cNvSpPr>
                  <a:spLocks/>
                </p:cNvSpPr>
                <p:nvPr>
                  <p:custDataLst>
                    <p:tags r:id="rId613"/>
                  </p:custDataLst>
                </p:nvPr>
              </p:nvSpPr>
              <p:spPr bwMode="gray">
                <a:xfrm>
                  <a:off x="4126710" y="3154400"/>
                  <a:ext cx="9872" cy="22015"/>
                </a:xfrm>
                <a:custGeom>
                  <a:avLst/>
                  <a:gdLst>
                    <a:gd name="T0" fmla="*/ 7 w 7"/>
                    <a:gd name="T1" fmla="*/ 0 h 14"/>
                    <a:gd name="T2" fmla="*/ 7 w 7"/>
                    <a:gd name="T3" fmla="*/ 7 h 14"/>
                    <a:gd name="T4" fmla="*/ 7 w 7"/>
                    <a:gd name="T5" fmla="*/ 7 h 14"/>
                    <a:gd name="T6" fmla="*/ 7 w 7"/>
                    <a:gd name="T7" fmla="*/ 7 h 14"/>
                    <a:gd name="T8" fmla="*/ 7 w 7"/>
                    <a:gd name="T9" fmla="*/ 7 h 14"/>
                    <a:gd name="T10" fmla="*/ 0 w 7"/>
                    <a:gd name="T11" fmla="*/ 14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lnTo>
                        <a:pt x="7" y="7"/>
                      </a:lnTo>
                      <a:lnTo>
                        <a:pt x="7" y="7"/>
                      </a:lnTo>
                      <a:lnTo>
                        <a:pt x="7" y="7"/>
                      </a:lnTo>
                      <a:lnTo>
                        <a:pt x="7" y="7"/>
                      </a:lnTo>
                      <a:lnTo>
                        <a:pt x="0" y="14"/>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8" name="Freeform 633"/>
                <p:cNvSpPr>
                  <a:spLocks/>
                </p:cNvSpPr>
                <p:nvPr>
                  <p:custDataLst>
                    <p:tags r:id="rId614"/>
                  </p:custDataLst>
                </p:nvPr>
              </p:nvSpPr>
              <p:spPr bwMode="gray">
                <a:xfrm>
                  <a:off x="4126710" y="3154400"/>
                  <a:ext cx="9872" cy="22015"/>
                </a:xfrm>
                <a:custGeom>
                  <a:avLst/>
                  <a:gdLst>
                    <a:gd name="T0" fmla="*/ 7 w 7"/>
                    <a:gd name="T1" fmla="*/ 0 h 14"/>
                    <a:gd name="T2" fmla="*/ 7 w 7"/>
                    <a:gd name="T3" fmla="*/ 7 h 14"/>
                    <a:gd name="T4" fmla="*/ 7 w 7"/>
                    <a:gd name="T5" fmla="*/ 7 h 14"/>
                    <a:gd name="T6" fmla="*/ 7 w 7"/>
                    <a:gd name="T7" fmla="*/ 7 h 14"/>
                    <a:gd name="T8" fmla="*/ 7 w 7"/>
                    <a:gd name="T9" fmla="*/ 7 h 14"/>
                    <a:gd name="T10" fmla="*/ 0 w 7"/>
                    <a:gd name="T11" fmla="*/ 14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lnTo>
                        <a:pt x="7" y="7"/>
                      </a:lnTo>
                      <a:lnTo>
                        <a:pt x="7" y="7"/>
                      </a:lnTo>
                      <a:lnTo>
                        <a:pt x="7" y="7"/>
                      </a:lnTo>
                      <a:lnTo>
                        <a:pt x="7" y="7"/>
                      </a:lnTo>
                      <a:lnTo>
                        <a:pt x="0" y="14"/>
                      </a:lnTo>
                      <a:lnTo>
                        <a:pt x="7"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499" name="Freeform 634"/>
                <p:cNvSpPr>
                  <a:spLocks/>
                </p:cNvSpPr>
                <p:nvPr>
                  <p:custDataLst>
                    <p:tags r:id="rId615"/>
                  </p:custDataLst>
                </p:nvPr>
              </p:nvSpPr>
              <p:spPr bwMode="gray">
                <a:xfrm>
                  <a:off x="4046324" y="3088353"/>
                  <a:ext cx="31026" cy="20443"/>
                </a:xfrm>
                <a:custGeom>
                  <a:avLst/>
                  <a:gdLst>
                    <a:gd name="T0" fmla="*/ 0 w 3"/>
                    <a:gd name="T1" fmla="*/ 1 h 2"/>
                    <a:gd name="T2" fmla="*/ 1 w 3"/>
                    <a:gd name="T3" fmla="*/ 0 h 2"/>
                    <a:gd name="T4" fmla="*/ 1 w 3"/>
                    <a:gd name="T5" fmla="*/ 0 h 2"/>
                    <a:gd name="T6" fmla="*/ 3 w 3"/>
                    <a:gd name="T7" fmla="*/ 0 h 2"/>
                    <a:gd name="T8" fmla="*/ 3 w 3"/>
                    <a:gd name="T9" fmla="*/ 1 h 2"/>
                    <a:gd name="T10" fmla="*/ 3 w 3"/>
                    <a:gd name="T11" fmla="*/ 1 h 2"/>
                    <a:gd name="T12" fmla="*/ 1 w 3"/>
                    <a:gd name="T13" fmla="*/ 2 h 2"/>
                    <a:gd name="T14" fmla="*/ 0 w 3"/>
                    <a:gd name="T15" fmla="*/ 1 h 2"/>
                    <a:gd name="T16" fmla="*/ 0 w 3"/>
                    <a:gd name="T17" fmla="*/ 1 h 2"/>
                    <a:gd name="T18" fmla="*/ 0 w 3"/>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1"/>
                      </a:moveTo>
                      <a:cubicBezTo>
                        <a:pt x="0" y="1"/>
                        <a:pt x="1" y="0"/>
                        <a:pt x="1" y="0"/>
                      </a:cubicBezTo>
                      <a:lnTo>
                        <a:pt x="1" y="0"/>
                      </a:lnTo>
                      <a:lnTo>
                        <a:pt x="3" y="0"/>
                      </a:lnTo>
                      <a:lnTo>
                        <a:pt x="3" y="1"/>
                      </a:lnTo>
                      <a:lnTo>
                        <a:pt x="3" y="1"/>
                      </a:lnTo>
                      <a:cubicBezTo>
                        <a:pt x="2" y="2"/>
                        <a:pt x="2" y="2"/>
                        <a:pt x="1" y="2"/>
                      </a:cubicBezTo>
                      <a:cubicBezTo>
                        <a:pt x="0" y="2"/>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0" name="Freeform 635"/>
                <p:cNvSpPr>
                  <a:spLocks/>
                </p:cNvSpPr>
                <p:nvPr>
                  <p:custDataLst>
                    <p:tags r:id="rId616"/>
                  </p:custDataLst>
                </p:nvPr>
              </p:nvSpPr>
              <p:spPr bwMode="gray">
                <a:xfrm>
                  <a:off x="4056195" y="3077348"/>
                  <a:ext cx="1410" cy="22015"/>
                </a:xfrm>
                <a:custGeom>
                  <a:avLst/>
                  <a:gdLst>
                    <a:gd name="T0" fmla="*/ 0 h 14"/>
                    <a:gd name="T1" fmla="*/ 7 h 14"/>
                    <a:gd name="T2" fmla="*/ 7 h 14"/>
                    <a:gd name="T3" fmla="*/ 7 h 14"/>
                    <a:gd name="T4" fmla="*/ 7 h 14"/>
                    <a:gd name="T5" fmla="*/ 14 h 14"/>
                    <a:gd name="T6" fmla="*/ 0 h 14"/>
                  </a:gdLst>
                  <a:ahLst/>
                  <a:cxnLst>
                    <a:cxn ang="0">
                      <a:pos x="0" y="T0"/>
                    </a:cxn>
                    <a:cxn ang="0">
                      <a:pos x="0" y="T1"/>
                    </a:cxn>
                    <a:cxn ang="0">
                      <a:pos x="0" y="T2"/>
                    </a:cxn>
                    <a:cxn ang="0">
                      <a:pos x="0" y="T3"/>
                    </a:cxn>
                    <a:cxn ang="0">
                      <a:pos x="0" y="T4"/>
                    </a:cxn>
                    <a:cxn ang="0">
                      <a:pos x="0" y="T5"/>
                    </a:cxn>
                    <a:cxn ang="0">
                      <a:pos x="0" y="T6"/>
                    </a:cxn>
                  </a:cxnLst>
                  <a:rect l="0" t="0" r="r" b="b"/>
                  <a:pathLst>
                    <a:path h="14">
                      <a:moveTo>
                        <a:pt x="0" y="0"/>
                      </a:moveTo>
                      <a:lnTo>
                        <a:pt x="0" y="7"/>
                      </a:lnTo>
                      <a:lnTo>
                        <a:pt x="0" y="7"/>
                      </a:lnTo>
                      <a:lnTo>
                        <a:pt x="0" y="7"/>
                      </a:lnTo>
                      <a:lnTo>
                        <a:pt x="0" y="7"/>
                      </a:lnTo>
                      <a:lnTo>
                        <a:pt x="0" y="14"/>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1" name="Freeform 636"/>
                <p:cNvSpPr>
                  <a:spLocks/>
                </p:cNvSpPr>
                <p:nvPr>
                  <p:custDataLst>
                    <p:tags r:id="rId617"/>
                  </p:custDataLst>
                </p:nvPr>
              </p:nvSpPr>
              <p:spPr bwMode="gray">
                <a:xfrm>
                  <a:off x="4066068" y="3132385"/>
                  <a:ext cx="19744" cy="11009"/>
                </a:xfrm>
                <a:custGeom>
                  <a:avLst/>
                  <a:gdLst>
                    <a:gd name="T0" fmla="*/ 2 w 2"/>
                    <a:gd name="T1" fmla="*/ 1 h 1"/>
                    <a:gd name="T2" fmla="*/ 2 w 2"/>
                    <a:gd name="T3" fmla="*/ 1 h 1"/>
                    <a:gd name="T4" fmla="*/ 0 w 2"/>
                    <a:gd name="T5" fmla="*/ 0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2" y="1"/>
                      </a:cubicBezTo>
                      <a:cubicBezTo>
                        <a:pt x="1" y="1"/>
                        <a:pt x="1" y="1"/>
                        <a:pt x="0" y="0"/>
                      </a:cubicBezTo>
                      <a:cubicBezTo>
                        <a:pt x="0" y="0"/>
                        <a:pt x="1" y="0"/>
                        <a:pt x="1" y="0"/>
                      </a:cubicBezTo>
                      <a:cubicBezTo>
                        <a:pt x="1" y="0"/>
                        <a:pt x="2" y="1"/>
                        <a:pt x="2" y="1"/>
                      </a:cubicBezTo>
                      <a:lnTo>
                        <a:pt x="2" y="1"/>
                      </a:lnTo>
                      <a:lnTo>
                        <a:pt x="2"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2" name="Freeform 637"/>
                <p:cNvSpPr>
                  <a:spLocks/>
                </p:cNvSpPr>
                <p:nvPr>
                  <p:custDataLst>
                    <p:tags r:id="rId618"/>
                  </p:custDataLst>
                </p:nvPr>
              </p:nvSpPr>
              <p:spPr bwMode="gray">
                <a:xfrm>
                  <a:off x="4026580" y="3108796"/>
                  <a:ext cx="9871" cy="11008"/>
                </a:xfrm>
                <a:custGeom>
                  <a:avLst/>
                  <a:gdLst>
                    <a:gd name="T0" fmla="*/ 1 w 1"/>
                    <a:gd name="T1" fmla="*/ 0 h 1"/>
                    <a:gd name="T2" fmla="*/ 0 w 1"/>
                    <a:gd name="T3" fmla="*/ 1 h 1"/>
                    <a:gd name="T4" fmla="*/ 0 w 1"/>
                    <a:gd name="T5" fmla="*/ 1 h 1"/>
                    <a:gd name="T6" fmla="*/ 1 w 1"/>
                    <a:gd name="T7" fmla="*/ 1 h 1"/>
                    <a:gd name="T8" fmla="*/ 1 w 1"/>
                    <a:gd name="T9" fmla="*/ 1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lnTo>
                        <a:pt x="0" y="1"/>
                      </a:lnTo>
                      <a:lnTo>
                        <a:pt x="0" y="1"/>
                      </a:lnTo>
                      <a:lnTo>
                        <a:pt x="1" y="1"/>
                      </a:lnTo>
                      <a:lnTo>
                        <a:pt x="1" y="1"/>
                      </a:lnTo>
                      <a:cubicBezTo>
                        <a:pt x="1" y="1"/>
                        <a:pt x="1" y="1"/>
                        <a:pt x="1" y="0"/>
                      </a:cubicBez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3" name="Freeform 638"/>
                <p:cNvSpPr>
                  <a:spLocks/>
                </p:cNvSpPr>
                <p:nvPr>
                  <p:custDataLst>
                    <p:tags r:id="rId619"/>
                  </p:custDataLst>
                </p:nvPr>
              </p:nvSpPr>
              <p:spPr bwMode="gray">
                <a:xfrm>
                  <a:off x="4910820" y="3478337"/>
                  <a:ext cx="59231" cy="69191"/>
                </a:xfrm>
                <a:custGeom>
                  <a:avLst/>
                  <a:gdLst>
                    <a:gd name="T0" fmla="*/ 2 w 6"/>
                    <a:gd name="T1" fmla="*/ 0 h 6"/>
                    <a:gd name="T2" fmla="*/ 1 w 6"/>
                    <a:gd name="T3" fmla="*/ 4 h 6"/>
                    <a:gd name="T4" fmla="*/ 0 w 6"/>
                    <a:gd name="T5" fmla="*/ 4 h 6"/>
                    <a:gd name="T6" fmla="*/ 0 w 6"/>
                    <a:gd name="T7" fmla="*/ 4 h 6"/>
                    <a:gd name="T8" fmla="*/ 0 w 6"/>
                    <a:gd name="T9" fmla="*/ 5 h 6"/>
                    <a:gd name="T10" fmla="*/ 0 w 6"/>
                    <a:gd name="T11" fmla="*/ 5 h 6"/>
                    <a:gd name="T12" fmla="*/ 3 w 6"/>
                    <a:gd name="T13" fmla="*/ 6 h 6"/>
                    <a:gd name="T14" fmla="*/ 6 w 6"/>
                    <a:gd name="T15" fmla="*/ 3 h 6"/>
                    <a:gd name="T16" fmla="*/ 2 w 6"/>
                    <a:gd name="T17" fmla="*/ 0 h 6"/>
                    <a:gd name="T18" fmla="*/ 2 w 6"/>
                    <a:gd name="T19" fmla="*/ 0 h 6"/>
                    <a:gd name="T20" fmla="*/ 2 w 6"/>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2" y="0"/>
                      </a:moveTo>
                      <a:cubicBezTo>
                        <a:pt x="1" y="1"/>
                        <a:pt x="1" y="2"/>
                        <a:pt x="1" y="4"/>
                      </a:cubicBezTo>
                      <a:cubicBezTo>
                        <a:pt x="0" y="4"/>
                        <a:pt x="0" y="4"/>
                        <a:pt x="0" y="4"/>
                      </a:cubicBezTo>
                      <a:lnTo>
                        <a:pt x="0" y="4"/>
                      </a:lnTo>
                      <a:lnTo>
                        <a:pt x="0" y="5"/>
                      </a:lnTo>
                      <a:lnTo>
                        <a:pt x="0" y="5"/>
                      </a:lnTo>
                      <a:cubicBezTo>
                        <a:pt x="1" y="5"/>
                        <a:pt x="2" y="6"/>
                        <a:pt x="3" y="6"/>
                      </a:cubicBezTo>
                      <a:cubicBezTo>
                        <a:pt x="4" y="6"/>
                        <a:pt x="6" y="4"/>
                        <a:pt x="6" y="3"/>
                      </a:cubicBezTo>
                      <a:cubicBezTo>
                        <a:pt x="6" y="1"/>
                        <a:pt x="4" y="1"/>
                        <a:pt x="2" y="0"/>
                      </a:cubicBezTo>
                      <a:lnTo>
                        <a:pt x="2" y="0"/>
                      </a:lnTo>
                      <a:lnTo>
                        <a:pt x="2"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4" name="Freeform 639"/>
                <p:cNvSpPr>
                  <a:spLocks/>
                </p:cNvSpPr>
                <p:nvPr>
                  <p:custDataLst>
                    <p:tags r:id="rId620"/>
                  </p:custDataLst>
                </p:nvPr>
              </p:nvSpPr>
              <p:spPr bwMode="gray">
                <a:xfrm>
                  <a:off x="6237885" y="2627609"/>
                  <a:ext cx="19744" cy="34595"/>
                </a:xfrm>
                <a:custGeom>
                  <a:avLst/>
                  <a:gdLst>
                    <a:gd name="T0" fmla="*/ 0 w 2"/>
                    <a:gd name="T1" fmla="*/ 2 h 3"/>
                    <a:gd name="T2" fmla="*/ 1 w 2"/>
                    <a:gd name="T3" fmla="*/ 0 h 3"/>
                    <a:gd name="T4" fmla="*/ 2 w 2"/>
                    <a:gd name="T5" fmla="*/ 2 h 3"/>
                    <a:gd name="T6" fmla="*/ 1 w 2"/>
                    <a:gd name="T7" fmla="*/ 3 h 3"/>
                    <a:gd name="T8" fmla="*/ 0 w 2"/>
                    <a:gd name="T9" fmla="*/ 2 h 3"/>
                    <a:gd name="T10" fmla="*/ 0 w 2"/>
                    <a:gd name="T11" fmla="*/ 2 h 3"/>
                    <a:gd name="T12" fmla="*/ 0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0" y="2"/>
                      </a:moveTo>
                      <a:cubicBezTo>
                        <a:pt x="0" y="1"/>
                        <a:pt x="0" y="0"/>
                        <a:pt x="1" y="0"/>
                      </a:cubicBezTo>
                      <a:cubicBezTo>
                        <a:pt x="1" y="0"/>
                        <a:pt x="2" y="1"/>
                        <a:pt x="2" y="2"/>
                      </a:cubicBezTo>
                      <a:cubicBezTo>
                        <a:pt x="2" y="2"/>
                        <a:pt x="1" y="3"/>
                        <a:pt x="1" y="3"/>
                      </a:cubicBezTo>
                      <a:cubicBezTo>
                        <a:pt x="0" y="3"/>
                        <a:pt x="0" y="2"/>
                        <a:pt x="0" y="2"/>
                      </a:cubicBez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5" name="Freeform 640"/>
                <p:cNvSpPr>
                  <a:spLocks/>
                </p:cNvSpPr>
                <p:nvPr>
                  <p:custDataLst>
                    <p:tags r:id="rId621"/>
                  </p:custDataLst>
                </p:nvPr>
              </p:nvSpPr>
              <p:spPr bwMode="gray">
                <a:xfrm>
                  <a:off x="6146217" y="2638614"/>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6" name="Freeform 641"/>
                <p:cNvSpPr>
                  <a:spLocks/>
                </p:cNvSpPr>
                <p:nvPr>
                  <p:custDataLst>
                    <p:tags r:id="rId622"/>
                  </p:custDataLst>
                </p:nvPr>
              </p:nvSpPr>
              <p:spPr bwMode="gray">
                <a:xfrm>
                  <a:off x="6146217" y="2638614"/>
                  <a:ext cx="9872" cy="1573"/>
                </a:xfrm>
                <a:custGeom>
                  <a:avLst/>
                  <a:gdLst>
                    <a:gd name="T0" fmla="*/ 0 w 7"/>
                    <a:gd name="T1" fmla="*/ 0 w 7"/>
                    <a:gd name="T2" fmla="*/ 0 w 7"/>
                    <a:gd name="T3" fmla="*/ 0 w 7"/>
                    <a:gd name="T4" fmla="*/ 0 w 7"/>
                    <a:gd name="T5" fmla="*/ 7 w 7"/>
                    <a:gd name="T6" fmla="*/ 0 w 7"/>
                  </a:gdLst>
                  <a:ahLst/>
                  <a:cxnLst>
                    <a:cxn ang="0">
                      <a:pos x="T0" y="0"/>
                    </a:cxn>
                    <a:cxn ang="0">
                      <a:pos x="T1" y="0"/>
                    </a:cxn>
                    <a:cxn ang="0">
                      <a:pos x="T2" y="0"/>
                    </a:cxn>
                    <a:cxn ang="0">
                      <a:pos x="T3" y="0"/>
                    </a:cxn>
                    <a:cxn ang="0">
                      <a:pos x="T4" y="0"/>
                    </a:cxn>
                    <a:cxn ang="0">
                      <a:pos x="T5" y="0"/>
                    </a:cxn>
                    <a:cxn ang="0">
                      <a:pos x="T6" y="0"/>
                    </a:cxn>
                  </a:cxnLst>
                  <a:rect l="0" t="0" r="r" b="b"/>
                  <a:pathLst>
                    <a:path w="7">
                      <a:moveTo>
                        <a:pt x="0" y="0"/>
                      </a:moveTo>
                      <a:lnTo>
                        <a:pt x="0" y="0"/>
                      </a:lnTo>
                      <a:lnTo>
                        <a:pt x="0" y="0"/>
                      </a:lnTo>
                      <a:lnTo>
                        <a:pt x="0" y="0"/>
                      </a:lnTo>
                      <a:lnTo>
                        <a:pt x="0" y="0"/>
                      </a:lnTo>
                      <a:lnTo>
                        <a:pt x="7"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7" name="Freeform 642"/>
                <p:cNvSpPr>
                  <a:spLocks/>
                </p:cNvSpPr>
                <p:nvPr>
                  <p:custDataLst>
                    <p:tags r:id="rId623"/>
                  </p:custDataLst>
                </p:nvPr>
              </p:nvSpPr>
              <p:spPr bwMode="gray">
                <a:xfrm>
                  <a:off x="6218141" y="2493944"/>
                  <a:ext cx="39488" cy="56611"/>
                </a:xfrm>
                <a:custGeom>
                  <a:avLst/>
                  <a:gdLst>
                    <a:gd name="T0" fmla="*/ 1 w 4"/>
                    <a:gd name="T1" fmla="*/ 0 h 5"/>
                    <a:gd name="T2" fmla="*/ 4 w 4"/>
                    <a:gd name="T3" fmla="*/ 2 h 5"/>
                    <a:gd name="T4" fmla="*/ 4 w 4"/>
                    <a:gd name="T5" fmla="*/ 2 h 5"/>
                    <a:gd name="T6" fmla="*/ 4 w 4"/>
                    <a:gd name="T7" fmla="*/ 5 h 5"/>
                    <a:gd name="T8" fmla="*/ 4 w 4"/>
                    <a:gd name="T9" fmla="*/ 5 h 5"/>
                    <a:gd name="T10" fmla="*/ 3 w 4"/>
                    <a:gd name="T11" fmla="*/ 5 h 5"/>
                    <a:gd name="T12" fmla="*/ 3 w 4"/>
                    <a:gd name="T13" fmla="*/ 5 h 5"/>
                    <a:gd name="T14" fmla="*/ 0 w 4"/>
                    <a:gd name="T15" fmla="*/ 1 h 5"/>
                    <a:gd name="T16" fmla="*/ 0 w 4"/>
                    <a:gd name="T17" fmla="*/ 1 h 5"/>
                    <a:gd name="T18" fmla="*/ 1 w 4"/>
                    <a:gd name="T19" fmla="*/ 0 h 5"/>
                    <a:gd name="T20" fmla="*/ 1 w 4"/>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1" y="0"/>
                      </a:moveTo>
                      <a:cubicBezTo>
                        <a:pt x="2" y="1"/>
                        <a:pt x="2" y="2"/>
                        <a:pt x="4" y="2"/>
                      </a:cubicBezTo>
                      <a:lnTo>
                        <a:pt x="4" y="2"/>
                      </a:lnTo>
                      <a:lnTo>
                        <a:pt x="4" y="5"/>
                      </a:lnTo>
                      <a:lnTo>
                        <a:pt x="4" y="5"/>
                      </a:lnTo>
                      <a:lnTo>
                        <a:pt x="3" y="5"/>
                      </a:lnTo>
                      <a:lnTo>
                        <a:pt x="3" y="5"/>
                      </a:lnTo>
                      <a:cubicBezTo>
                        <a:pt x="2" y="4"/>
                        <a:pt x="1" y="2"/>
                        <a:pt x="0" y="1"/>
                      </a:cubicBezTo>
                      <a:lnTo>
                        <a:pt x="0" y="1"/>
                      </a:lnTo>
                      <a:lnTo>
                        <a:pt x="1" y="0"/>
                      </a:lnTo>
                      <a:lnTo>
                        <a:pt x="1"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8" name="Freeform 643"/>
                <p:cNvSpPr>
                  <a:spLocks/>
                </p:cNvSpPr>
                <p:nvPr>
                  <p:custDataLst>
                    <p:tags r:id="rId624"/>
                  </p:custDataLst>
                </p:nvPr>
              </p:nvSpPr>
              <p:spPr bwMode="gray">
                <a:xfrm>
                  <a:off x="5955831" y="3939084"/>
                  <a:ext cx="50769" cy="122656"/>
                </a:xfrm>
                <a:custGeom>
                  <a:avLst/>
                  <a:gdLst>
                    <a:gd name="T0" fmla="*/ 1 w 5"/>
                    <a:gd name="T1" fmla="*/ 11 h 11"/>
                    <a:gd name="T2" fmla="*/ 0 w 5"/>
                    <a:gd name="T3" fmla="*/ 6 h 11"/>
                    <a:gd name="T4" fmla="*/ 3 w 5"/>
                    <a:gd name="T5" fmla="*/ 0 h 11"/>
                    <a:gd name="T6" fmla="*/ 5 w 5"/>
                    <a:gd name="T7" fmla="*/ 3 h 11"/>
                    <a:gd name="T8" fmla="*/ 4 w 5"/>
                    <a:gd name="T9" fmla="*/ 6 h 11"/>
                    <a:gd name="T10" fmla="*/ 4 w 5"/>
                    <a:gd name="T11" fmla="*/ 8 h 11"/>
                    <a:gd name="T12" fmla="*/ 1 w 5"/>
                    <a:gd name="T13" fmla="*/ 11 h 11"/>
                    <a:gd name="T14" fmla="*/ 1 w 5"/>
                    <a:gd name="T15" fmla="*/ 11 h 11"/>
                    <a:gd name="T16" fmla="*/ 1 w 5"/>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1" y="11"/>
                      </a:moveTo>
                      <a:cubicBezTo>
                        <a:pt x="1" y="11"/>
                        <a:pt x="0" y="6"/>
                        <a:pt x="0" y="6"/>
                      </a:cubicBezTo>
                      <a:cubicBezTo>
                        <a:pt x="0" y="4"/>
                        <a:pt x="1" y="0"/>
                        <a:pt x="3" y="0"/>
                      </a:cubicBezTo>
                      <a:cubicBezTo>
                        <a:pt x="3" y="0"/>
                        <a:pt x="5" y="1"/>
                        <a:pt x="5" y="3"/>
                      </a:cubicBezTo>
                      <a:cubicBezTo>
                        <a:pt x="5" y="4"/>
                        <a:pt x="4" y="6"/>
                        <a:pt x="4" y="6"/>
                      </a:cubicBezTo>
                      <a:cubicBezTo>
                        <a:pt x="4" y="7"/>
                        <a:pt x="4" y="7"/>
                        <a:pt x="4" y="8"/>
                      </a:cubicBezTo>
                      <a:cubicBezTo>
                        <a:pt x="4" y="10"/>
                        <a:pt x="3" y="11"/>
                        <a:pt x="1" y="11"/>
                      </a:cubicBezTo>
                      <a:lnTo>
                        <a:pt x="1" y="11"/>
                      </a:lnTo>
                      <a:lnTo>
                        <a:pt x="1"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09" name="Freeform 644"/>
                <p:cNvSpPr>
                  <a:spLocks/>
                </p:cNvSpPr>
                <p:nvPr>
                  <p:custDataLst>
                    <p:tags r:id="rId625"/>
                  </p:custDataLst>
                </p:nvPr>
              </p:nvSpPr>
              <p:spPr bwMode="gray">
                <a:xfrm>
                  <a:off x="3805167" y="3099362"/>
                  <a:ext cx="90258" cy="66046"/>
                </a:xfrm>
                <a:custGeom>
                  <a:avLst/>
                  <a:gdLst>
                    <a:gd name="T0" fmla="*/ 0 w 9"/>
                    <a:gd name="T1" fmla="*/ 4 h 6"/>
                    <a:gd name="T2" fmla="*/ 4 w 9"/>
                    <a:gd name="T3" fmla="*/ 5 h 6"/>
                    <a:gd name="T4" fmla="*/ 7 w 9"/>
                    <a:gd name="T5" fmla="*/ 5 h 6"/>
                    <a:gd name="T6" fmla="*/ 9 w 9"/>
                    <a:gd name="T7" fmla="*/ 6 h 6"/>
                    <a:gd name="T8" fmla="*/ 9 w 9"/>
                    <a:gd name="T9" fmla="*/ 6 h 6"/>
                    <a:gd name="T10" fmla="*/ 9 w 9"/>
                    <a:gd name="T11" fmla="*/ 4 h 6"/>
                    <a:gd name="T12" fmla="*/ 6 w 9"/>
                    <a:gd name="T13" fmla="*/ 2 h 6"/>
                    <a:gd name="T14" fmla="*/ 3 w 9"/>
                    <a:gd name="T15" fmla="*/ 2 h 6"/>
                    <a:gd name="T16" fmla="*/ 1 w 9"/>
                    <a:gd name="T17" fmla="*/ 0 h 6"/>
                    <a:gd name="T18" fmla="*/ 0 w 9"/>
                    <a:gd name="T19" fmla="*/ 4 h 6"/>
                    <a:gd name="T20" fmla="*/ 0 w 9"/>
                    <a:gd name="T21" fmla="*/ 4 h 6"/>
                    <a:gd name="T22" fmla="*/ 0 w 9"/>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0" y="4"/>
                      </a:moveTo>
                      <a:cubicBezTo>
                        <a:pt x="0" y="5"/>
                        <a:pt x="2" y="5"/>
                        <a:pt x="4" y="5"/>
                      </a:cubicBezTo>
                      <a:cubicBezTo>
                        <a:pt x="5" y="5"/>
                        <a:pt x="6" y="5"/>
                        <a:pt x="7" y="5"/>
                      </a:cubicBezTo>
                      <a:cubicBezTo>
                        <a:pt x="8" y="5"/>
                        <a:pt x="8" y="6"/>
                        <a:pt x="9" y="6"/>
                      </a:cubicBezTo>
                      <a:cubicBezTo>
                        <a:pt x="9" y="6"/>
                        <a:pt x="9" y="6"/>
                        <a:pt x="9" y="6"/>
                      </a:cubicBezTo>
                      <a:cubicBezTo>
                        <a:pt x="9" y="5"/>
                        <a:pt x="9" y="4"/>
                        <a:pt x="9" y="4"/>
                      </a:cubicBezTo>
                      <a:cubicBezTo>
                        <a:pt x="7" y="3"/>
                        <a:pt x="8" y="3"/>
                        <a:pt x="6" y="2"/>
                      </a:cubicBezTo>
                      <a:cubicBezTo>
                        <a:pt x="5" y="2"/>
                        <a:pt x="4" y="3"/>
                        <a:pt x="3" y="2"/>
                      </a:cubicBezTo>
                      <a:cubicBezTo>
                        <a:pt x="2" y="2"/>
                        <a:pt x="2" y="0"/>
                        <a:pt x="1" y="0"/>
                      </a:cubicBezTo>
                      <a:cubicBezTo>
                        <a:pt x="1" y="1"/>
                        <a:pt x="0" y="2"/>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0" name="Freeform 645"/>
                <p:cNvSpPr>
                  <a:spLocks/>
                </p:cNvSpPr>
                <p:nvPr>
                  <p:custDataLst>
                    <p:tags r:id="rId626"/>
                  </p:custDataLst>
                </p:nvPr>
              </p:nvSpPr>
              <p:spPr bwMode="gray">
                <a:xfrm>
                  <a:off x="3452598" y="3827434"/>
                  <a:ext cx="40898" cy="100641"/>
                </a:xfrm>
                <a:custGeom>
                  <a:avLst/>
                  <a:gdLst>
                    <a:gd name="T0" fmla="*/ 0 w 4"/>
                    <a:gd name="T1" fmla="*/ 3 h 9"/>
                    <a:gd name="T2" fmla="*/ 4 w 4"/>
                    <a:gd name="T3" fmla="*/ 9 h 9"/>
                    <a:gd name="T4" fmla="*/ 4 w 4"/>
                    <a:gd name="T5" fmla="*/ 7 h 9"/>
                    <a:gd name="T6" fmla="*/ 4 w 4"/>
                    <a:gd name="T7" fmla="*/ 6 h 9"/>
                    <a:gd name="T8" fmla="*/ 0 w 4"/>
                    <a:gd name="T9" fmla="*/ 0 h 9"/>
                    <a:gd name="T10" fmla="*/ 0 w 4"/>
                    <a:gd name="T11" fmla="*/ 3 h 9"/>
                    <a:gd name="T12" fmla="*/ 0 w 4"/>
                    <a:gd name="T13" fmla="*/ 3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cubicBezTo>
                        <a:pt x="0" y="4"/>
                        <a:pt x="2" y="9"/>
                        <a:pt x="4" y="9"/>
                      </a:cubicBezTo>
                      <a:cubicBezTo>
                        <a:pt x="3" y="8"/>
                        <a:pt x="4" y="8"/>
                        <a:pt x="4" y="7"/>
                      </a:cubicBezTo>
                      <a:cubicBezTo>
                        <a:pt x="4" y="7"/>
                        <a:pt x="4" y="6"/>
                        <a:pt x="4" y="6"/>
                      </a:cubicBezTo>
                      <a:cubicBezTo>
                        <a:pt x="3" y="3"/>
                        <a:pt x="2" y="2"/>
                        <a:pt x="0" y="0"/>
                      </a:cubicBezTo>
                      <a:cubicBezTo>
                        <a:pt x="0" y="2"/>
                        <a:pt x="0" y="2"/>
                        <a:pt x="0" y="3"/>
                      </a:cubicBezTo>
                      <a:lnTo>
                        <a:pt x="0" y="3"/>
                      </a:lnTo>
                      <a:lnTo>
                        <a:pt x="0"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1" name="Freeform 646"/>
                <p:cNvSpPr>
                  <a:spLocks/>
                </p:cNvSpPr>
                <p:nvPr>
                  <p:custDataLst>
                    <p:tags r:id="rId627"/>
                  </p:custDataLst>
                </p:nvPr>
              </p:nvSpPr>
              <p:spPr bwMode="gray">
                <a:xfrm>
                  <a:off x="3411702" y="3781832"/>
                  <a:ext cx="40897" cy="55038"/>
                </a:xfrm>
                <a:custGeom>
                  <a:avLst/>
                  <a:gdLst>
                    <a:gd name="T0" fmla="*/ 1 w 4"/>
                    <a:gd name="T1" fmla="*/ 2 h 5"/>
                    <a:gd name="T2" fmla="*/ 1 w 4"/>
                    <a:gd name="T3" fmla="*/ 5 h 5"/>
                    <a:gd name="T4" fmla="*/ 4 w 4"/>
                    <a:gd name="T5" fmla="*/ 3 h 5"/>
                    <a:gd name="T6" fmla="*/ 1 w 4"/>
                    <a:gd name="T7" fmla="*/ 0 h 5"/>
                    <a:gd name="T8" fmla="*/ 1 w 4"/>
                    <a:gd name="T9" fmla="*/ 2 h 5"/>
                    <a:gd name="T10" fmla="*/ 1 w 4"/>
                    <a:gd name="T11" fmla="*/ 2 h 5"/>
                    <a:gd name="T12" fmla="*/ 1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1" y="2"/>
                      </a:moveTo>
                      <a:cubicBezTo>
                        <a:pt x="1" y="2"/>
                        <a:pt x="1" y="5"/>
                        <a:pt x="1" y="5"/>
                      </a:cubicBezTo>
                      <a:cubicBezTo>
                        <a:pt x="2" y="5"/>
                        <a:pt x="4" y="4"/>
                        <a:pt x="4" y="3"/>
                      </a:cubicBezTo>
                      <a:cubicBezTo>
                        <a:pt x="4" y="1"/>
                        <a:pt x="2" y="1"/>
                        <a:pt x="1" y="0"/>
                      </a:cubicBezTo>
                      <a:cubicBezTo>
                        <a:pt x="0" y="1"/>
                        <a:pt x="1" y="1"/>
                        <a:pt x="1" y="2"/>
                      </a:cubicBezTo>
                      <a:lnTo>
                        <a:pt x="1" y="2"/>
                      </a:lnTo>
                      <a:lnTo>
                        <a:pt x="1"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2" name="Freeform 647"/>
                <p:cNvSpPr>
                  <a:spLocks/>
                </p:cNvSpPr>
                <p:nvPr>
                  <p:custDataLst>
                    <p:tags r:id="rId628"/>
                  </p:custDataLst>
                </p:nvPr>
              </p:nvSpPr>
              <p:spPr bwMode="gray">
                <a:xfrm>
                  <a:off x="3342598" y="3681191"/>
                  <a:ext cx="60642" cy="67618"/>
                </a:xfrm>
                <a:custGeom>
                  <a:avLst/>
                  <a:gdLst>
                    <a:gd name="T0" fmla="*/ 0 w 6"/>
                    <a:gd name="T1" fmla="*/ 2 h 6"/>
                    <a:gd name="T2" fmla="*/ 5 w 6"/>
                    <a:gd name="T3" fmla="*/ 6 h 6"/>
                    <a:gd name="T4" fmla="*/ 5 w 6"/>
                    <a:gd name="T5" fmla="*/ 6 h 6"/>
                    <a:gd name="T6" fmla="*/ 6 w 6"/>
                    <a:gd name="T7" fmla="*/ 6 h 6"/>
                    <a:gd name="T8" fmla="*/ 6 w 6"/>
                    <a:gd name="T9" fmla="*/ 6 h 6"/>
                    <a:gd name="T10" fmla="*/ 2 w 6"/>
                    <a:gd name="T11" fmla="*/ 0 h 6"/>
                    <a:gd name="T12" fmla="*/ 1 w 6"/>
                    <a:gd name="T13" fmla="*/ 1 h 6"/>
                    <a:gd name="T14" fmla="*/ 1 w 6"/>
                    <a:gd name="T15" fmla="*/ 1 h 6"/>
                    <a:gd name="T16" fmla="*/ 0 w 6"/>
                    <a:gd name="T17" fmla="*/ 2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cubicBezTo>
                        <a:pt x="1" y="4"/>
                        <a:pt x="3" y="6"/>
                        <a:pt x="5" y="6"/>
                      </a:cubicBezTo>
                      <a:lnTo>
                        <a:pt x="5" y="6"/>
                      </a:lnTo>
                      <a:lnTo>
                        <a:pt x="6" y="6"/>
                      </a:lnTo>
                      <a:lnTo>
                        <a:pt x="6" y="6"/>
                      </a:lnTo>
                      <a:cubicBezTo>
                        <a:pt x="4" y="5"/>
                        <a:pt x="4" y="0"/>
                        <a:pt x="2" y="0"/>
                      </a:cubicBezTo>
                      <a:cubicBezTo>
                        <a:pt x="1" y="0"/>
                        <a:pt x="1" y="1"/>
                        <a:pt x="1" y="1"/>
                      </a:cubicBezTo>
                      <a:lnTo>
                        <a:pt x="1" y="1"/>
                      </a:lnTo>
                      <a:lnTo>
                        <a:pt x="0" y="2"/>
                      </a:lnTo>
                      <a:lnTo>
                        <a:pt x="0"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3" name="Freeform 648"/>
                <p:cNvSpPr>
                  <a:spLocks/>
                </p:cNvSpPr>
                <p:nvPr>
                  <p:custDataLst>
                    <p:tags r:id="rId629"/>
                  </p:custDataLst>
                </p:nvPr>
              </p:nvSpPr>
              <p:spPr bwMode="gray">
                <a:xfrm>
                  <a:off x="3191700" y="3478337"/>
                  <a:ext cx="110001" cy="158825"/>
                </a:xfrm>
                <a:custGeom>
                  <a:avLst/>
                  <a:gdLst>
                    <a:gd name="T0" fmla="*/ 0 w 11"/>
                    <a:gd name="T1" fmla="*/ 4 h 14"/>
                    <a:gd name="T2" fmla="*/ 2 w 11"/>
                    <a:gd name="T3" fmla="*/ 7 h 14"/>
                    <a:gd name="T4" fmla="*/ 9 w 11"/>
                    <a:gd name="T5" fmla="*/ 14 h 14"/>
                    <a:gd name="T6" fmla="*/ 11 w 11"/>
                    <a:gd name="T7" fmla="*/ 12 h 14"/>
                    <a:gd name="T8" fmla="*/ 11 w 11"/>
                    <a:gd name="T9" fmla="*/ 10 h 14"/>
                    <a:gd name="T10" fmla="*/ 9 w 11"/>
                    <a:gd name="T11" fmla="*/ 6 h 14"/>
                    <a:gd name="T12" fmla="*/ 6 w 11"/>
                    <a:gd name="T13" fmla="*/ 1 h 14"/>
                    <a:gd name="T14" fmla="*/ 0 w 11"/>
                    <a:gd name="T15" fmla="*/ 4 h 14"/>
                    <a:gd name="T16" fmla="*/ 0 w 11"/>
                    <a:gd name="T17" fmla="*/ 4 h 14"/>
                    <a:gd name="T18" fmla="*/ 0 w 11"/>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4"/>
                      </a:moveTo>
                      <a:cubicBezTo>
                        <a:pt x="0" y="6"/>
                        <a:pt x="2" y="6"/>
                        <a:pt x="2" y="7"/>
                      </a:cubicBezTo>
                      <a:cubicBezTo>
                        <a:pt x="4" y="10"/>
                        <a:pt x="5" y="14"/>
                        <a:pt x="9" y="14"/>
                      </a:cubicBezTo>
                      <a:cubicBezTo>
                        <a:pt x="9" y="14"/>
                        <a:pt x="11" y="13"/>
                        <a:pt x="11" y="12"/>
                      </a:cubicBezTo>
                      <a:cubicBezTo>
                        <a:pt x="11" y="11"/>
                        <a:pt x="11" y="11"/>
                        <a:pt x="11" y="10"/>
                      </a:cubicBezTo>
                      <a:cubicBezTo>
                        <a:pt x="9" y="10"/>
                        <a:pt x="9" y="8"/>
                        <a:pt x="9" y="6"/>
                      </a:cubicBezTo>
                      <a:cubicBezTo>
                        <a:pt x="8" y="4"/>
                        <a:pt x="6" y="3"/>
                        <a:pt x="6" y="1"/>
                      </a:cubicBezTo>
                      <a:cubicBezTo>
                        <a:pt x="3" y="0"/>
                        <a:pt x="0" y="1"/>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4" name="Freeform 649"/>
                <p:cNvSpPr>
                  <a:spLocks/>
                </p:cNvSpPr>
                <p:nvPr>
                  <p:custDataLst>
                    <p:tags r:id="rId630"/>
                  </p:custDataLst>
                </p:nvPr>
              </p:nvSpPr>
              <p:spPr bwMode="gray">
                <a:xfrm>
                  <a:off x="2970287" y="2887072"/>
                  <a:ext cx="31026" cy="31450"/>
                </a:xfrm>
                <a:custGeom>
                  <a:avLst/>
                  <a:gdLst>
                    <a:gd name="T0" fmla="*/ 3 w 3"/>
                    <a:gd name="T1" fmla="*/ 3 h 3"/>
                    <a:gd name="T2" fmla="*/ 3 w 3"/>
                    <a:gd name="T3" fmla="*/ 1 h 3"/>
                    <a:gd name="T4" fmla="*/ 3 w 3"/>
                    <a:gd name="T5" fmla="*/ 1 h 3"/>
                    <a:gd name="T6" fmla="*/ 0 w 3"/>
                    <a:gd name="T7" fmla="*/ 0 h 3"/>
                    <a:gd name="T8" fmla="*/ 3 w 3"/>
                    <a:gd name="T9" fmla="*/ 3 h 3"/>
                    <a:gd name="T10" fmla="*/ 3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1"/>
                      </a:lnTo>
                      <a:lnTo>
                        <a:pt x="3" y="1"/>
                      </a:lnTo>
                      <a:cubicBezTo>
                        <a:pt x="1" y="1"/>
                        <a:pt x="1" y="0"/>
                        <a:pt x="0" y="0"/>
                      </a:cubicBezTo>
                      <a:cubicBezTo>
                        <a:pt x="1" y="1"/>
                        <a:pt x="1" y="2"/>
                        <a:pt x="3" y="3"/>
                      </a:cubicBezTo>
                      <a:lnTo>
                        <a:pt x="3" y="3"/>
                      </a:lnTo>
                      <a:lnTo>
                        <a:pt x="3"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5" name="Freeform 650"/>
                <p:cNvSpPr>
                  <a:spLocks/>
                </p:cNvSpPr>
                <p:nvPr>
                  <p:custDataLst>
                    <p:tags r:id="rId631"/>
                  </p:custDataLst>
                </p:nvPr>
              </p:nvSpPr>
              <p:spPr bwMode="gray">
                <a:xfrm>
                  <a:off x="2950542" y="2909086"/>
                  <a:ext cx="19744" cy="20443"/>
                </a:xfrm>
                <a:custGeom>
                  <a:avLst/>
                  <a:gdLst>
                    <a:gd name="T0" fmla="*/ 0 w 2"/>
                    <a:gd name="T1" fmla="*/ 1 h 2"/>
                    <a:gd name="T2" fmla="*/ 1 w 2"/>
                    <a:gd name="T3" fmla="*/ 0 h 2"/>
                    <a:gd name="T4" fmla="*/ 2 w 2"/>
                    <a:gd name="T5" fmla="*/ 1 h 2"/>
                    <a:gd name="T6" fmla="*/ 1 w 2"/>
                    <a:gd name="T7" fmla="*/ 2 h 2"/>
                    <a:gd name="T8" fmla="*/ 0 w 2"/>
                    <a:gd name="T9" fmla="*/ 1 h 2"/>
                    <a:gd name="T10" fmla="*/ 0 w 2"/>
                    <a:gd name="T11" fmla="*/ 1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1" y="0"/>
                        <a:pt x="1" y="0"/>
                      </a:cubicBezTo>
                      <a:cubicBezTo>
                        <a:pt x="1" y="0"/>
                        <a:pt x="2" y="1"/>
                        <a:pt x="2" y="1"/>
                      </a:cubicBezTo>
                      <a:cubicBezTo>
                        <a:pt x="2" y="2"/>
                        <a:pt x="1" y="2"/>
                        <a:pt x="1" y="2"/>
                      </a:cubicBezTo>
                      <a:cubicBezTo>
                        <a:pt x="1" y="2"/>
                        <a:pt x="0" y="2"/>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6" name="Freeform 651"/>
                <p:cNvSpPr>
                  <a:spLocks/>
                </p:cNvSpPr>
                <p:nvPr>
                  <p:custDataLst>
                    <p:tags r:id="rId632"/>
                  </p:custDataLst>
                </p:nvPr>
              </p:nvSpPr>
              <p:spPr bwMode="gray">
                <a:xfrm>
                  <a:off x="2739002" y="2750263"/>
                  <a:ext cx="121283" cy="113221"/>
                </a:xfrm>
                <a:custGeom>
                  <a:avLst/>
                  <a:gdLst>
                    <a:gd name="T0" fmla="*/ 12 w 12"/>
                    <a:gd name="T1" fmla="*/ 8 h 10"/>
                    <a:gd name="T2" fmla="*/ 12 w 12"/>
                    <a:gd name="T3" fmla="*/ 9 h 10"/>
                    <a:gd name="T4" fmla="*/ 11 w 12"/>
                    <a:gd name="T5" fmla="*/ 10 h 10"/>
                    <a:gd name="T6" fmla="*/ 5 w 12"/>
                    <a:gd name="T7" fmla="*/ 6 h 10"/>
                    <a:gd name="T8" fmla="*/ 0 w 12"/>
                    <a:gd name="T9" fmla="*/ 2 h 10"/>
                    <a:gd name="T10" fmla="*/ 1 w 12"/>
                    <a:gd name="T11" fmla="*/ 0 h 10"/>
                    <a:gd name="T12" fmla="*/ 4 w 12"/>
                    <a:gd name="T13" fmla="*/ 3 h 10"/>
                    <a:gd name="T14" fmla="*/ 12 w 12"/>
                    <a:gd name="T15" fmla="*/ 8 h 10"/>
                    <a:gd name="T16" fmla="*/ 12 w 12"/>
                    <a:gd name="T17" fmla="*/ 8 h 10"/>
                    <a:gd name="T18" fmla="*/ 12 w 12"/>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2" y="8"/>
                      </a:moveTo>
                      <a:cubicBezTo>
                        <a:pt x="12" y="8"/>
                        <a:pt x="12" y="9"/>
                        <a:pt x="12" y="9"/>
                      </a:cubicBezTo>
                      <a:cubicBezTo>
                        <a:pt x="12" y="10"/>
                        <a:pt x="11" y="10"/>
                        <a:pt x="11" y="10"/>
                      </a:cubicBezTo>
                      <a:cubicBezTo>
                        <a:pt x="9" y="10"/>
                        <a:pt x="6" y="6"/>
                        <a:pt x="5" y="6"/>
                      </a:cubicBezTo>
                      <a:cubicBezTo>
                        <a:pt x="2" y="6"/>
                        <a:pt x="0" y="4"/>
                        <a:pt x="0" y="2"/>
                      </a:cubicBezTo>
                      <a:cubicBezTo>
                        <a:pt x="1" y="2"/>
                        <a:pt x="1" y="1"/>
                        <a:pt x="1" y="0"/>
                      </a:cubicBezTo>
                      <a:cubicBezTo>
                        <a:pt x="3" y="0"/>
                        <a:pt x="4" y="2"/>
                        <a:pt x="4" y="3"/>
                      </a:cubicBezTo>
                      <a:cubicBezTo>
                        <a:pt x="5" y="4"/>
                        <a:pt x="9" y="6"/>
                        <a:pt x="12" y="8"/>
                      </a:cubicBezTo>
                      <a:lnTo>
                        <a:pt x="12" y="8"/>
                      </a:lnTo>
                      <a:lnTo>
                        <a:pt x="12"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7" name="Freeform 653"/>
                <p:cNvSpPr>
                  <a:spLocks/>
                </p:cNvSpPr>
                <p:nvPr>
                  <p:custDataLst>
                    <p:tags r:id="rId633"/>
                  </p:custDataLst>
                </p:nvPr>
              </p:nvSpPr>
              <p:spPr bwMode="gray">
                <a:xfrm>
                  <a:off x="3281957" y="3108798"/>
                  <a:ext cx="442825" cy="662027"/>
                </a:xfrm>
                <a:custGeom>
                  <a:avLst/>
                  <a:gdLst>
                    <a:gd name="T0" fmla="*/ 0 w 44"/>
                    <a:gd name="T1" fmla="*/ 14 h 59"/>
                    <a:gd name="T2" fmla="*/ 2 w 44"/>
                    <a:gd name="T3" fmla="*/ 12 h 59"/>
                    <a:gd name="T4" fmla="*/ 2 w 44"/>
                    <a:gd name="T5" fmla="*/ 12 h 59"/>
                    <a:gd name="T6" fmla="*/ 6 w 44"/>
                    <a:gd name="T7" fmla="*/ 7 h 59"/>
                    <a:gd name="T8" fmla="*/ 13 w 44"/>
                    <a:gd name="T9" fmla="*/ 7 h 59"/>
                    <a:gd name="T10" fmla="*/ 16 w 44"/>
                    <a:gd name="T11" fmla="*/ 3 h 59"/>
                    <a:gd name="T12" fmla="*/ 17 w 44"/>
                    <a:gd name="T13" fmla="*/ 9 h 59"/>
                    <a:gd name="T14" fmla="*/ 20 w 44"/>
                    <a:gd name="T15" fmla="*/ 9 h 59"/>
                    <a:gd name="T16" fmla="*/ 23 w 44"/>
                    <a:gd name="T17" fmla="*/ 9 h 59"/>
                    <a:gd name="T18" fmla="*/ 27 w 44"/>
                    <a:gd name="T19" fmla="*/ 10 h 59"/>
                    <a:gd name="T20" fmla="*/ 34 w 44"/>
                    <a:gd name="T21" fmla="*/ 9 h 59"/>
                    <a:gd name="T22" fmla="*/ 34 w 44"/>
                    <a:gd name="T23" fmla="*/ 14 h 59"/>
                    <a:gd name="T24" fmla="*/ 30 w 44"/>
                    <a:gd name="T25" fmla="*/ 17 h 59"/>
                    <a:gd name="T26" fmla="*/ 26 w 44"/>
                    <a:gd name="T27" fmla="*/ 21 h 59"/>
                    <a:gd name="T28" fmla="*/ 28 w 44"/>
                    <a:gd name="T29" fmla="*/ 24 h 59"/>
                    <a:gd name="T30" fmla="*/ 32 w 44"/>
                    <a:gd name="T31" fmla="*/ 26 h 59"/>
                    <a:gd name="T32" fmla="*/ 38 w 44"/>
                    <a:gd name="T33" fmla="*/ 31 h 59"/>
                    <a:gd name="T34" fmla="*/ 42 w 44"/>
                    <a:gd name="T35" fmla="*/ 31 h 59"/>
                    <a:gd name="T36" fmla="*/ 39 w 44"/>
                    <a:gd name="T37" fmla="*/ 42 h 59"/>
                    <a:gd name="T38" fmla="*/ 34 w 44"/>
                    <a:gd name="T39" fmla="*/ 46 h 59"/>
                    <a:gd name="T40" fmla="*/ 34 w 44"/>
                    <a:gd name="T41" fmla="*/ 54 h 59"/>
                    <a:gd name="T42" fmla="*/ 30 w 44"/>
                    <a:gd name="T43" fmla="*/ 59 h 59"/>
                    <a:gd name="T44" fmla="*/ 27 w 44"/>
                    <a:gd name="T45" fmla="*/ 49 h 59"/>
                    <a:gd name="T46" fmla="*/ 27 w 44"/>
                    <a:gd name="T47" fmla="*/ 49 h 59"/>
                    <a:gd name="T48" fmla="*/ 24 w 44"/>
                    <a:gd name="T49" fmla="*/ 44 h 59"/>
                    <a:gd name="T50" fmla="*/ 24 w 44"/>
                    <a:gd name="T51" fmla="*/ 44 h 59"/>
                    <a:gd name="T52" fmla="*/ 20 w 44"/>
                    <a:gd name="T53" fmla="*/ 36 h 59"/>
                    <a:gd name="T54" fmla="*/ 17 w 44"/>
                    <a:gd name="T55" fmla="*/ 29 h 59"/>
                    <a:gd name="T56" fmla="*/ 17 w 44"/>
                    <a:gd name="T57" fmla="*/ 29 h 59"/>
                    <a:gd name="T58" fmla="*/ 12 w 44"/>
                    <a:gd name="T59" fmla="*/ 24 h 59"/>
                    <a:gd name="T60" fmla="*/ 12 w 44"/>
                    <a:gd name="T61" fmla="*/ 24 h 59"/>
                    <a:gd name="T62" fmla="*/ 10 w 44"/>
                    <a:gd name="T63" fmla="*/ 17 h 59"/>
                    <a:gd name="T64" fmla="*/ 0 w 44"/>
                    <a:gd name="T65" fmla="*/ 14 h 59"/>
                    <a:gd name="T66" fmla="*/ 0 w 44"/>
                    <a:gd name="T67" fmla="*/ 14 h 59"/>
                    <a:gd name="T68" fmla="*/ 0 w 44"/>
                    <a:gd name="T69"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 h="59">
                      <a:moveTo>
                        <a:pt x="0" y="14"/>
                      </a:moveTo>
                      <a:lnTo>
                        <a:pt x="2" y="12"/>
                      </a:lnTo>
                      <a:lnTo>
                        <a:pt x="2" y="12"/>
                      </a:lnTo>
                      <a:cubicBezTo>
                        <a:pt x="3" y="10"/>
                        <a:pt x="6" y="7"/>
                        <a:pt x="6" y="7"/>
                      </a:cubicBezTo>
                      <a:cubicBezTo>
                        <a:pt x="14" y="11"/>
                        <a:pt x="13" y="7"/>
                        <a:pt x="13" y="7"/>
                      </a:cubicBezTo>
                      <a:cubicBezTo>
                        <a:pt x="11" y="0"/>
                        <a:pt x="14" y="4"/>
                        <a:pt x="16" y="3"/>
                      </a:cubicBezTo>
                      <a:cubicBezTo>
                        <a:pt x="16" y="3"/>
                        <a:pt x="17" y="8"/>
                        <a:pt x="17" y="9"/>
                      </a:cubicBezTo>
                      <a:cubicBezTo>
                        <a:pt x="18" y="10"/>
                        <a:pt x="18" y="10"/>
                        <a:pt x="20" y="9"/>
                      </a:cubicBezTo>
                      <a:cubicBezTo>
                        <a:pt x="22" y="8"/>
                        <a:pt x="21" y="7"/>
                        <a:pt x="23" y="9"/>
                      </a:cubicBezTo>
                      <a:cubicBezTo>
                        <a:pt x="25" y="10"/>
                        <a:pt x="25" y="11"/>
                        <a:pt x="27" y="10"/>
                      </a:cubicBezTo>
                      <a:cubicBezTo>
                        <a:pt x="29" y="10"/>
                        <a:pt x="31" y="9"/>
                        <a:pt x="34" y="9"/>
                      </a:cubicBezTo>
                      <a:cubicBezTo>
                        <a:pt x="36" y="9"/>
                        <a:pt x="39" y="12"/>
                        <a:pt x="34" y="14"/>
                      </a:cubicBezTo>
                      <a:cubicBezTo>
                        <a:pt x="31" y="13"/>
                        <a:pt x="34" y="18"/>
                        <a:pt x="30" y="17"/>
                      </a:cubicBezTo>
                      <a:cubicBezTo>
                        <a:pt x="27" y="17"/>
                        <a:pt x="26" y="20"/>
                        <a:pt x="26" y="21"/>
                      </a:cubicBezTo>
                      <a:cubicBezTo>
                        <a:pt x="26" y="23"/>
                        <a:pt x="27" y="23"/>
                        <a:pt x="28" y="24"/>
                      </a:cubicBezTo>
                      <a:cubicBezTo>
                        <a:pt x="30" y="25"/>
                        <a:pt x="30" y="24"/>
                        <a:pt x="32" y="26"/>
                      </a:cubicBezTo>
                      <a:cubicBezTo>
                        <a:pt x="35" y="30"/>
                        <a:pt x="38" y="31"/>
                        <a:pt x="38" y="31"/>
                      </a:cubicBezTo>
                      <a:cubicBezTo>
                        <a:pt x="40" y="32"/>
                        <a:pt x="42" y="31"/>
                        <a:pt x="42" y="31"/>
                      </a:cubicBezTo>
                      <a:cubicBezTo>
                        <a:pt x="44" y="40"/>
                        <a:pt x="39" y="42"/>
                        <a:pt x="39" y="42"/>
                      </a:cubicBezTo>
                      <a:cubicBezTo>
                        <a:pt x="38" y="45"/>
                        <a:pt x="34" y="46"/>
                        <a:pt x="34" y="46"/>
                      </a:cubicBezTo>
                      <a:cubicBezTo>
                        <a:pt x="29" y="50"/>
                        <a:pt x="34" y="54"/>
                        <a:pt x="34" y="54"/>
                      </a:cubicBezTo>
                      <a:cubicBezTo>
                        <a:pt x="34" y="54"/>
                        <a:pt x="33" y="57"/>
                        <a:pt x="30" y="59"/>
                      </a:cubicBezTo>
                      <a:cubicBezTo>
                        <a:pt x="30" y="59"/>
                        <a:pt x="27" y="57"/>
                        <a:pt x="27" y="49"/>
                      </a:cubicBezTo>
                      <a:lnTo>
                        <a:pt x="27" y="49"/>
                      </a:lnTo>
                      <a:lnTo>
                        <a:pt x="24" y="44"/>
                      </a:lnTo>
                      <a:lnTo>
                        <a:pt x="24" y="44"/>
                      </a:lnTo>
                      <a:cubicBezTo>
                        <a:pt x="24" y="44"/>
                        <a:pt x="20" y="40"/>
                        <a:pt x="20" y="36"/>
                      </a:cubicBezTo>
                      <a:cubicBezTo>
                        <a:pt x="20" y="36"/>
                        <a:pt x="20" y="31"/>
                        <a:pt x="17" y="29"/>
                      </a:cubicBezTo>
                      <a:lnTo>
                        <a:pt x="17" y="29"/>
                      </a:lnTo>
                      <a:lnTo>
                        <a:pt x="12" y="24"/>
                      </a:lnTo>
                      <a:lnTo>
                        <a:pt x="12" y="24"/>
                      </a:lnTo>
                      <a:cubicBezTo>
                        <a:pt x="12" y="24"/>
                        <a:pt x="9" y="21"/>
                        <a:pt x="10" y="17"/>
                      </a:cubicBezTo>
                      <a:cubicBezTo>
                        <a:pt x="10" y="17"/>
                        <a:pt x="5" y="14"/>
                        <a:pt x="0" y="14"/>
                      </a:cubicBezTo>
                      <a:lnTo>
                        <a:pt x="0" y="14"/>
                      </a:lnTo>
                      <a:lnTo>
                        <a:pt x="0" y="1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8" name="Freeform 654"/>
                <p:cNvSpPr>
                  <a:spLocks/>
                </p:cNvSpPr>
                <p:nvPr>
                  <p:custDataLst>
                    <p:tags r:id="rId634"/>
                  </p:custDataLst>
                </p:nvPr>
              </p:nvSpPr>
              <p:spPr bwMode="gray">
                <a:xfrm>
                  <a:off x="3411702" y="2841469"/>
                  <a:ext cx="634622" cy="682470"/>
                </a:xfrm>
                <a:custGeom>
                  <a:avLst/>
                  <a:gdLst>
                    <a:gd name="T0" fmla="*/ 6 w 63"/>
                    <a:gd name="T1" fmla="*/ 0 h 61"/>
                    <a:gd name="T2" fmla="*/ 6 w 63"/>
                    <a:gd name="T3" fmla="*/ 6 h 61"/>
                    <a:gd name="T4" fmla="*/ 6 w 63"/>
                    <a:gd name="T5" fmla="*/ 14 h 61"/>
                    <a:gd name="T6" fmla="*/ 4 w 63"/>
                    <a:gd name="T7" fmla="*/ 18 h 61"/>
                    <a:gd name="T8" fmla="*/ 1 w 63"/>
                    <a:gd name="T9" fmla="*/ 20 h 61"/>
                    <a:gd name="T10" fmla="*/ 3 w 63"/>
                    <a:gd name="T11" fmla="*/ 27 h 61"/>
                    <a:gd name="T12" fmla="*/ 4 w 63"/>
                    <a:gd name="T13" fmla="*/ 33 h 61"/>
                    <a:gd name="T14" fmla="*/ 7 w 63"/>
                    <a:gd name="T15" fmla="*/ 33 h 61"/>
                    <a:gd name="T16" fmla="*/ 10 w 63"/>
                    <a:gd name="T17" fmla="*/ 33 h 61"/>
                    <a:gd name="T18" fmla="*/ 14 w 63"/>
                    <a:gd name="T19" fmla="*/ 34 h 61"/>
                    <a:gd name="T20" fmla="*/ 21 w 63"/>
                    <a:gd name="T21" fmla="*/ 33 h 61"/>
                    <a:gd name="T22" fmla="*/ 21 w 63"/>
                    <a:gd name="T23" fmla="*/ 38 h 61"/>
                    <a:gd name="T24" fmla="*/ 17 w 63"/>
                    <a:gd name="T25" fmla="*/ 41 h 61"/>
                    <a:gd name="T26" fmla="*/ 13 w 63"/>
                    <a:gd name="T27" fmla="*/ 45 h 61"/>
                    <a:gd name="T28" fmla="*/ 15 w 63"/>
                    <a:gd name="T29" fmla="*/ 48 h 61"/>
                    <a:gd name="T30" fmla="*/ 19 w 63"/>
                    <a:gd name="T31" fmla="*/ 50 h 61"/>
                    <a:gd name="T32" fmla="*/ 25 w 63"/>
                    <a:gd name="T33" fmla="*/ 55 h 61"/>
                    <a:gd name="T34" fmla="*/ 29 w 63"/>
                    <a:gd name="T35" fmla="*/ 55 h 61"/>
                    <a:gd name="T36" fmla="*/ 34 w 63"/>
                    <a:gd name="T37" fmla="*/ 57 h 61"/>
                    <a:gd name="T38" fmla="*/ 42 w 63"/>
                    <a:gd name="T39" fmla="*/ 61 h 61"/>
                    <a:gd name="T40" fmla="*/ 47 w 63"/>
                    <a:gd name="T41" fmla="*/ 56 h 61"/>
                    <a:gd name="T42" fmla="*/ 55 w 63"/>
                    <a:gd name="T43" fmla="*/ 55 h 61"/>
                    <a:gd name="T44" fmla="*/ 54 w 63"/>
                    <a:gd name="T45" fmla="*/ 49 h 61"/>
                    <a:gd name="T46" fmla="*/ 54 w 63"/>
                    <a:gd name="T47" fmla="*/ 47 h 61"/>
                    <a:gd name="T48" fmla="*/ 54 w 63"/>
                    <a:gd name="T49" fmla="*/ 45 h 61"/>
                    <a:gd name="T50" fmla="*/ 57 w 63"/>
                    <a:gd name="T51" fmla="*/ 42 h 61"/>
                    <a:gd name="T52" fmla="*/ 60 w 63"/>
                    <a:gd name="T53" fmla="*/ 38 h 61"/>
                    <a:gd name="T54" fmla="*/ 57 w 63"/>
                    <a:gd name="T55" fmla="*/ 36 h 61"/>
                    <a:gd name="T56" fmla="*/ 52 w 63"/>
                    <a:gd name="T57" fmla="*/ 33 h 61"/>
                    <a:gd name="T58" fmla="*/ 46 w 63"/>
                    <a:gd name="T59" fmla="*/ 37 h 61"/>
                    <a:gd name="T60" fmla="*/ 39 w 63"/>
                    <a:gd name="T61" fmla="*/ 37 h 61"/>
                    <a:gd name="T62" fmla="*/ 44 w 63"/>
                    <a:gd name="T63" fmla="*/ 37 h 61"/>
                    <a:gd name="T64" fmla="*/ 48 w 63"/>
                    <a:gd name="T65" fmla="*/ 34 h 61"/>
                    <a:gd name="T66" fmla="*/ 47 w 63"/>
                    <a:gd name="T67" fmla="*/ 31 h 61"/>
                    <a:gd name="T68" fmla="*/ 42 w 63"/>
                    <a:gd name="T69" fmla="*/ 29 h 61"/>
                    <a:gd name="T70" fmla="*/ 35 w 63"/>
                    <a:gd name="T71" fmla="*/ 24 h 61"/>
                    <a:gd name="T72" fmla="*/ 32 w 63"/>
                    <a:gd name="T73" fmla="*/ 17 h 61"/>
                    <a:gd name="T74" fmla="*/ 25 w 63"/>
                    <a:gd name="T75" fmla="*/ 14 h 61"/>
                    <a:gd name="T76" fmla="*/ 22 w 63"/>
                    <a:gd name="T77" fmla="*/ 10 h 61"/>
                    <a:gd name="T78" fmla="*/ 20 w 63"/>
                    <a:gd name="T79" fmla="*/ 7 h 61"/>
                    <a:gd name="T80" fmla="*/ 17 w 63"/>
                    <a:gd name="T81" fmla="*/ 3 h 61"/>
                    <a:gd name="T82" fmla="*/ 14 w 63"/>
                    <a:gd name="T83" fmla="*/ 5 h 61"/>
                    <a:gd name="T84" fmla="*/ 16 w 63"/>
                    <a:gd name="T85" fmla="*/ 11 h 61"/>
                    <a:gd name="T86" fmla="*/ 13 w 63"/>
                    <a:gd name="T87" fmla="*/ 7 h 61"/>
                    <a:gd name="T88" fmla="*/ 8 w 63"/>
                    <a:gd name="T89" fmla="*/ 4 h 61"/>
                    <a:gd name="T90" fmla="*/ 6 w 63"/>
                    <a:gd name="T91" fmla="*/ 0 h 61"/>
                    <a:gd name="T92" fmla="*/ 6 w 63"/>
                    <a:gd name="T93" fmla="*/ 0 h 61"/>
                    <a:gd name="T94" fmla="*/ 6 w 63"/>
                    <a:gd name="T9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 h="61">
                      <a:moveTo>
                        <a:pt x="6" y="0"/>
                      </a:moveTo>
                      <a:cubicBezTo>
                        <a:pt x="6" y="0"/>
                        <a:pt x="7" y="4"/>
                        <a:pt x="6" y="6"/>
                      </a:cubicBezTo>
                      <a:cubicBezTo>
                        <a:pt x="5" y="7"/>
                        <a:pt x="6" y="13"/>
                        <a:pt x="6" y="14"/>
                      </a:cubicBezTo>
                      <a:cubicBezTo>
                        <a:pt x="7" y="16"/>
                        <a:pt x="6" y="18"/>
                        <a:pt x="4" y="18"/>
                      </a:cubicBezTo>
                      <a:cubicBezTo>
                        <a:pt x="3" y="18"/>
                        <a:pt x="0" y="17"/>
                        <a:pt x="1" y="20"/>
                      </a:cubicBezTo>
                      <a:cubicBezTo>
                        <a:pt x="3" y="22"/>
                        <a:pt x="3" y="22"/>
                        <a:pt x="3" y="27"/>
                      </a:cubicBezTo>
                      <a:cubicBezTo>
                        <a:pt x="3" y="27"/>
                        <a:pt x="4" y="32"/>
                        <a:pt x="4" y="33"/>
                      </a:cubicBezTo>
                      <a:cubicBezTo>
                        <a:pt x="5" y="34"/>
                        <a:pt x="5" y="34"/>
                        <a:pt x="7" y="33"/>
                      </a:cubicBezTo>
                      <a:cubicBezTo>
                        <a:pt x="9" y="32"/>
                        <a:pt x="8" y="31"/>
                        <a:pt x="10" y="33"/>
                      </a:cubicBezTo>
                      <a:cubicBezTo>
                        <a:pt x="12" y="34"/>
                        <a:pt x="12" y="35"/>
                        <a:pt x="14" y="34"/>
                      </a:cubicBezTo>
                      <a:cubicBezTo>
                        <a:pt x="16" y="34"/>
                        <a:pt x="18" y="33"/>
                        <a:pt x="21" y="33"/>
                      </a:cubicBezTo>
                      <a:cubicBezTo>
                        <a:pt x="23" y="33"/>
                        <a:pt x="26" y="36"/>
                        <a:pt x="21" y="38"/>
                      </a:cubicBezTo>
                      <a:cubicBezTo>
                        <a:pt x="18" y="37"/>
                        <a:pt x="21" y="42"/>
                        <a:pt x="17" y="41"/>
                      </a:cubicBezTo>
                      <a:cubicBezTo>
                        <a:pt x="14" y="41"/>
                        <a:pt x="13" y="44"/>
                        <a:pt x="13" y="45"/>
                      </a:cubicBezTo>
                      <a:cubicBezTo>
                        <a:pt x="13" y="47"/>
                        <a:pt x="14" y="47"/>
                        <a:pt x="15" y="48"/>
                      </a:cubicBezTo>
                      <a:cubicBezTo>
                        <a:pt x="17" y="49"/>
                        <a:pt x="17" y="48"/>
                        <a:pt x="19" y="50"/>
                      </a:cubicBezTo>
                      <a:cubicBezTo>
                        <a:pt x="22" y="54"/>
                        <a:pt x="25" y="55"/>
                        <a:pt x="25" y="55"/>
                      </a:cubicBezTo>
                      <a:cubicBezTo>
                        <a:pt x="27" y="56"/>
                        <a:pt x="29" y="55"/>
                        <a:pt x="29" y="55"/>
                      </a:cubicBezTo>
                      <a:cubicBezTo>
                        <a:pt x="34" y="55"/>
                        <a:pt x="34" y="57"/>
                        <a:pt x="34" y="57"/>
                      </a:cubicBezTo>
                      <a:cubicBezTo>
                        <a:pt x="37" y="61"/>
                        <a:pt x="42" y="61"/>
                        <a:pt x="42" y="61"/>
                      </a:cubicBezTo>
                      <a:cubicBezTo>
                        <a:pt x="44" y="61"/>
                        <a:pt x="47" y="56"/>
                        <a:pt x="47" y="56"/>
                      </a:cubicBezTo>
                      <a:cubicBezTo>
                        <a:pt x="50" y="51"/>
                        <a:pt x="55" y="55"/>
                        <a:pt x="55" y="55"/>
                      </a:cubicBezTo>
                      <a:cubicBezTo>
                        <a:pt x="55" y="51"/>
                        <a:pt x="54" y="49"/>
                        <a:pt x="54" y="49"/>
                      </a:cubicBezTo>
                      <a:cubicBezTo>
                        <a:pt x="61" y="51"/>
                        <a:pt x="54" y="47"/>
                        <a:pt x="54" y="47"/>
                      </a:cubicBezTo>
                      <a:cubicBezTo>
                        <a:pt x="57" y="45"/>
                        <a:pt x="54" y="45"/>
                        <a:pt x="54" y="45"/>
                      </a:cubicBezTo>
                      <a:cubicBezTo>
                        <a:pt x="57" y="44"/>
                        <a:pt x="57" y="42"/>
                        <a:pt x="57" y="42"/>
                      </a:cubicBezTo>
                      <a:cubicBezTo>
                        <a:pt x="63" y="43"/>
                        <a:pt x="60" y="38"/>
                        <a:pt x="60" y="38"/>
                      </a:cubicBezTo>
                      <a:cubicBezTo>
                        <a:pt x="60" y="35"/>
                        <a:pt x="57" y="36"/>
                        <a:pt x="57" y="36"/>
                      </a:cubicBezTo>
                      <a:cubicBezTo>
                        <a:pt x="55" y="31"/>
                        <a:pt x="52" y="33"/>
                        <a:pt x="52" y="33"/>
                      </a:cubicBezTo>
                      <a:cubicBezTo>
                        <a:pt x="51" y="35"/>
                        <a:pt x="46" y="37"/>
                        <a:pt x="46" y="37"/>
                      </a:cubicBezTo>
                      <a:cubicBezTo>
                        <a:pt x="40" y="40"/>
                        <a:pt x="39" y="37"/>
                        <a:pt x="39" y="37"/>
                      </a:cubicBezTo>
                      <a:cubicBezTo>
                        <a:pt x="42" y="38"/>
                        <a:pt x="44" y="37"/>
                        <a:pt x="44" y="37"/>
                      </a:cubicBezTo>
                      <a:cubicBezTo>
                        <a:pt x="46" y="37"/>
                        <a:pt x="48" y="34"/>
                        <a:pt x="48" y="34"/>
                      </a:cubicBezTo>
                      <a:cubicBezTo>
                        <a:pt x="52" y="34"/>
                        <a:pt x="47" y="31"/>
                        <a:pt x="47" y="31"/>
                      </a:cubicBezTo>
                      <a:cubicBezTo>
                        <a:pt x="46" y="28"/>
                        <a:pt x="42" y="29"/>
                        <a:pt x="42" y="29"/>
                      </a:cubicBezTo>
                      <a:cubicBezTo>
                        <a:pt x="38" y="30"/>
                        <a:pt x="35" y="24"/>
                        <a:pt x="35" y="24"/>
                      </a:cubicBezTo>
                      <a:cubicBezTo>
                        <a:pt x="35" y="17"/>
                        <a:pt x="32" y="17"/>
                        <a:pt x="32" y="17"/>
                      </a:cubicBezTo>
                      <a:cubicBezTo>
                        <a:pt x="29" y="12"/>
                        <a:pt x="25" y="14"/>
                        <a:pt x="25" y="14"/>
                      </a:cubicBezTo>
                      <a:cubicBezTo>
                        <a:pt x="22" y="14"/>
                        <a:pt x="22" y="10"/>
                        <a:pt x="22" y="10"/>
                      </a:cubicBezTo>
                      <a:cubicBezTo>
                        <a:pt x="23" y="8"/>
                        <a:pt x="20" y="7"/>
                        <a:pt x="20" y="7"/>
                      </a:cubicBezTo>
                      <a:cubicBezTo>
                        <a:pt x="18" y="6"/>
                        <a:pt x="17" y="3"/>
                        <a:pt x="17" y="3"/>
                      </a:cubicBezTo>
                      <a:cubicBezTo>
                        <a:pt x="13" y="2"/>
                        <a:pt x="14" y="5"/>
                        <a:pt x="14" y="5"/>
                      </a:cubicBezTo>
                      <a:cubicBezTo>
                        <a:pt x="12" y="6"/>
                        <a:pt x="17" y="9"/>
                        <a:pt x="16" y="11"/>
                      </a:cubicBezTo>
                      <a:cubicBezTo>
                        <a:pt x="14" y="11"/>
                        <a:pt x="13" y="7"/>
                        <a:pt x="13" y="7"/>
                      </a:cubicBezTo>
                      <a:cubicBezTo>
                        <a:pt x="10" y="6"/>
                        <a:pt x="8" y="4"/>
                        <a:pt x="8" y="4"/>
                      </a:cubicBezTo>
                      <a:cubicBezTo>
                        <a:pt x="7" y="2"/>
                        <a:pt x="7" y="1"/>
                        <a:pt x="6" y="0"/>
                      </a:cubicBezTo>
                      <a:lnTo>
                        <a:pt x="6" y="0"/>
                      </a:lnTo>
                      <a:lnTo>
                        <a:pt x="6"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19" name="Freeform 655"/>
                <p:cNvSpPr>
                  <a:spLocks/>
                </p:cNvSpPr>
                <p:nvPr>
                  <p:custDataLst>
                    <p:tags r:id="rId635"/>
                  </p:custDataLst>
                </p:nvPr>
              </p:nvSpPr>
              <p:spPr bwMode="gray">
                <a:xfrm>
                  <a:off x="3573883" y="3412292"/>
                  <a:ext cx="562699" cy="404136"/>
                </a:xfrm>
                <a:custGeom>
                  <a:avLst/>
                  <a:gdLst>
                    <a:gd name="T0" fmla="*/ 56 w 56"/>
                    <a:gd name="T1" fmla="*/ 17 h 36"/>
                    <a:gd name="T2" fmla="*/ 55 w 56"/>
                    <a:gd name="T3" fmla="*/ 12 h 36"/>
                    <a:gd name="T4" fmla="*/ 52 w 56"/>
                    <a:gd name="T5" fmla="*/ 8 h 36"/>
                    <a:gd name="T6" fmla="*/ 47 w 56"/>
                    <a:gd name="T7" fmla="*/ 7 h 36"/>
                    <a:gd name="T8" fmla="*/ 42 w 56"/>
                    <a:gd name="T9" fmla="*/ 7 h 36"/>
                    <a:gd name="T10" fmla="*/ 39 w 56"/>
                    <a:gd name="T11" fmla="*/ 4 h 36"/>
                    <a:gd name="T12" fmla="*/ 31 w 56"/>
                    <a:gd name="T13" fmla="*/ 5 h 36"/>
                    <a:gd name="T14" fmla="*/ 26 w 56"/>
                    <a:gd name="T15" fmla="*/ 10 h 36"/>
                    <a:gd name="T16" fmla="*/ 18 w 56"/>
                    <a:gd name="T17" fmla="*/ 6 h 36"/>
                    <a:gd name="T18" fmla="*/ 13 w 56"/>
                    <a:gd name="T19" fmla="*/ 4 h 36"/>
                    <a:gd name="T20" fmla="*/ 10 w 56"/>
                    <a:gd name="T21" fmla="*/ 15 h 36"/>
                    <a:gd name="T22" fmla="*/ 5 w 56"/>
                    <a:gd name="T23" fmla="*/ 19 h 36"/>
                    <a:gd name="T24" fmla="*/ 5 w 56"/>
                    <a:gd name="T25" fmla="*/ 27 h 36"/>
                    <a:gd name="T26" fmla="*/ 12 w 56"/>
                    <a:gd name="T27" fmla="*/ 28 h 36"/>
                    <a:gd name="T28" fmla="*/ 22 w 56"/>
                    <a:gd name="T29" fmla="*/ 36 h 36"/>
                    <a:gd name="T30" fmla="*/ 31 w 56"/>
                    <a:gd name="T31" fmla="*/ 30 h 36"/>
                    <a:gd name="T32" fmla="*/ 35 w 56"/>
                    <a:gd name="T33" fmla="*/ 27 h 36"/>
                    <a:gd name="T34" fmla="*/ 38 w 56"/>
                    <a:gd name="T35" fmla="*/ 28 h 36"/>
                    <a:gd name="T36" fmla="*/ 40 w 56"/>
                    <a:gd name="T37" fmla="*/ 23 h 36"/>
                    <a:gd name="T38" fmla="*/ 45 w 56"/>
                    <a:gd name="T39" fmla="*/ 21 h 36"/>
                    <a:gd name="T40" fmla="*/ 56 w 56"/>
                    <a:gd name="T41" fmla="*/ 17 h 36"/>
                    <a:gd name="T42" fmla="*/ 56 w 56"/>
                    <a:gd name="T43" fmla="*/ 17 h 36"/>
                    <a:gd name="T44" fmla="*/ 56 w 56"/>
                    <a:gd name="T4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36">
                      <a:moveTo>
                        <a:pt x="56" y="17"/>
                      </a:moveTo>
                      <a:cubicBezTo>
                        <a:pt x="55" y="15"/>
                        <a:pt x="55" y="12"/>
                        <a:pt x="55" y="12"/>
                      </a:cubicBezTo>
                      <a:cubicBezTo>
                        <a:pt x="54" y="6"/>
                        <a:pt x="52" y="8"/>
                        <a:pt x="52" y="8"/>
                      </a:cubicBezTo>
                      <a:cubicBezTo>
                        <a:pt x="51" y="9"/>
                        <a:pt x="47" y="7"/>
                        <a:pt x="47" y="7"/>
                      </a:cubicBezTo>
                      <a:cubicBezTo>
                        <a:pt x="45" y="8"/>
                        <a:pt x="42" y="7"/>
                        <a:pt x="42" y="7"/>
                      </a:cubicBezTo>
                      <a:cubicBezTo>
                        <a:pt x="42" y="5"/>
                        <a:pt x="39" y="4"/>
                        <a:pt x="39" y="4"/>
                      </a:cubicBezTo>
                      <a:cubicBezTo>
                        <a:pt x="39" y="4"/>
                        <a:pt x="34" y="0"/>
                        <a:pt x="31" y="5"/>
                      </a:cubicBezTo>
                      <a:cubicBezTo>
                        <a:pt x="31" y="5"/>
                        <a:pt x="28" y="10"/>
                        <a:pt x="26" y="10"/>
                      </a:cubicBezTo>
                      <a:cubicBezTo>
                        <a:pt x="26" y="10"/>
                        <a:pt x="21" y="10"/>
                        <a:pt x="18" y="6"/>
                      </a:cubicBezTo>
                      <a:cubicBezTo>
                        <a:pt x="18" y="6"/>
                        <a:pt x="18" y="4"/>
                        <a:pt x="13" y="4"/>
                      </a:cubicBezTo>
                      <a:cubicBezTo>
                        <a:pt x="15" y="13"/>
                        <a:pt x="10" y="15"/>
                        <a:pt x="10" y="15"/>
                      </a:cubicBezTo>
                      <a:cubicBezTo>
                        <a:pt x="9" y="18"/>
                        <a:pt x="5" y="19"/>
                        <a:pt x="5" y="19"/>
                      </a:cubicBezTo>
                      <a:cubicBezTo>
                        <a:pt x="0" y="23"/>
                        <a:pt x="5" y="27"/>
                        <a:pt x="5" y="27"/>
                      </a:cubicBezTo>
                      <a:cubicBezTo>
                        <a:pt x="9" y="25"/>
                        <a:pt x="12" y="28"/>
                        <a:pt x="12" y="28"/>
                      </a:cubicBezTo>
                      <a:cubicBezTo>
                        <a:pt x="18" y="29"/>
                        <a:pt x="22" y="36"/>
                        <a:pt x="22" y="36"/>
                      </a:cubicBezTo>
                      <a:cubicBezTo>
                        <a:pt x="22" y="36"/>
                        <a:pt x="27" y="35"/>
                        <a:pt x="31" y="30"/>
                      </a:cubicBezTo>
                      <a:cubicBezTo>
                        <a:pt x="34" y="28"/>
                        <a:pt x="34" y="26"/>
                        <a:pt x="35" y="27"/>
                      </a:cubicBezTo>
                      <a:cubicBezTo>
                        <a:pt x="37" y="26"/>
                        <a:pt x="36" y="29"/>
                        <a:pt x="38" y="28"/>
                      </a:cubicBezTo>
                      <a:cubicBezTo>
                        <a:pt x="38" y="28"/>
                        <a:pt x="40" y="30"/>
                        <a:pt x="40" y="23"/>
                      </a:cubicBezTo>
                      <a:cubicBezTo>
                        <a:pt x="40" y="23"/>
                        <a:pt x="41" y="19"/>
                        <a:pt x="45" y="21"/>
                      </a:cubicBezTo>
                      <a:cubicBezTo>
                        <a:pt x="45" y="21"/>
                        <a:pt x="54" y="21"/>
                        <a:pt x="56" y="17"/>
                      </a:cubicBezTo>
                      <a:lnTo>
                        <a:pt x="56" y="17"/>
                      </a:lnTo>
                      <a:lnTo>
                        <a:pt x="56" y="1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0" name="Freeform 656"/>
                <p:cNvSpPr>
                  <a:spLocks/>
                </p:cNvSpPr>
                <p:nvPr>
                  <p:custDataLst>
                    <p:tags r:id="rId636"/>
                  </p:custDataLst>
                </p:nvPr>
              </p:nvSpPr>
              <p:spPr bwMode="gray">
                <a:xfrm>
                  <a:off x="3582344" y="3692199"/>
                  <a:ext cx="423081" cy="537800"/>
                </a:xfrm>
                <a:custGeom>
                  <a:avLst/>
                  <a:gdLst>
                    <a:gd name="T0" fmla="*/ 0 w 42"/>
                    <a:gd name="T1" fmla="*/ 7 h 48"/>
                    <a:gd name="T2" fmla="*/ 5 w 42"/>
                    <a:gd name="T3" fmla="*/ 11 h 48"/>
                    <a:gd name="T4" fmla="*/ 9 w 42"/>
                    <a:gd name="T5" fmla="*/ 21 h 48"/>
                    <a:gd name="T6" fmla="*/ 15 w 42"/>
                    <a:gd name="T7" fmla="*/ 25 h 48"/>
                    <a:gd name="T8" fmla="*/ 20 w 42"/>
                    <a:gd name="T9" fmla="*/ 32 h 48"/>
                    <a:gd name="T10" fmla="*/ 25 w 42"/>
                    <a:gd name="T11" fmla="*/ 37 h 48"/>
                    <a:gd name="T12" fmla="*/ 31 w 42"/>
                    <a:gd name="T13" fmla="*/ 42 h 48"/>
                    <a:gd name="T14" fmla="*/ 38 w 42"/>
                    <a:gd name="T15" fmla="*/ 47 h 48"/>
                    <a:gd name="T16" fmla="*/ 40 w 42"/>
                    <a:gd name="T17" fmla="*/ 48 h 48"/>
                    <a:gd name="T18" fmla="*/ 42 w 42"/>
                    <a:gd name="T19" fmla="*/ 46 h 48"/>
                    <a:gd name="T20" fmla="*/ 37 w 42"/>
                    <a:gd name="T21" fmla="*/ 36 h 48"/>
                    <a:gd name="T22" fmla="*/ 32 w 42"/>
                    <a:gd name="T23" fmla="*/ 34 h 48"/>
                    <a:gd name="T24" fmla="*/ 27 w 42"/>
                    <a:gd name="T25" fmla="*/ 28 h 48"/>
                    <a:gd name="T26" fmla="*/ 27 w 42"/>
                    <a:gd name="T27" fmla="*/ 28 h 48"/>
                    <a:gd name="T28" fmla="*/ 29 w 42"/>
                    <a:gd name="T29" fmla="*/ 26 h 48"/>
                    <a:gd name="T30" fmla="*/ 29 w 42"/>
                    <a:gd name="T31" fmla="*/ 26 h 48"/>
                    <a:gd name="T32" fmla="*/ 32 w 42"/>
                    <a:gd name="T33" fmla="*/ 24 h 48"/>
                    <a:gd name="T34" fmla="*/ 29 w 42"/>
                    <a:gd name="T35" fmla="*/ 21 h 48"/>
                    <a:gd name="T36" fmla="*/ 25 w 42"/>
                    <a:gd name="T37" fmla="*/ 17 h 48"/>
                    <a:gd name="T38" fmla="*/ 25 w 42"/>
                    <a:gd name="T39" fmla="*/ 17 h 48"/>
                    <a:gd name="T40" fmla="*/ 21 w 42"/>
                    <a:gd name="T41" fmla="*/ 11 h 48"/>
                    <a:gd name="T42" fmla="*/ 21 w 42"/>
                    <a:gd name="T43" fmla="*/ 11 h 48"/>
                    <a:gd name="T44" fmla="*/ 11 w 42"/>
                    <a:gd name="T45" fmla="*/ 3 h 48"/>
                    <a:gd name="T46" fmla="*/ 4 w 42"/>
                    <a:gd name="T47" fmla="*/ 2 h 48"/>
                    <a:gd name="T48" fmla="*/ 0 w 42"/>
                    <a:gd name="T49" fmla="*/ 7 h 48"/>
                    <a:gd name="T50" fmla="*/ 0 w 42"/>
                    <a:gd name="T51" fmla="*/ 7 h 48"/>
                    <a:gd name="T52" fmla="*/ 0 w 42"/>
                    <a:gd name="T53" fmla="*/ 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48">
                      <a:moveTo>
                        <a:pt x="0" y="7"/>
                      </a:moveTo>
                      <a:cubicBezTo>
                        <a:pt x="1" y="11"/>
                        <a:pt x="5" y="11"/>
                        <a:pt x="5" y="11"/>
                      </a:cubicBezTo>
                      <a:cubicBezTo>
                        <a:pt x="5" y="14"/>
                        <a:pt x="9" y="21"/>
                        <a:pt x="9" y="21"/>
                      </a:cubicBezTo>
                      <a:cubicBezTo>
                        <a:pt x="10" y="20"/>
                        <a:pt x="15" y="25"/>
                        <a:pt x="15" y="25"/>
                      </a:cubicBezTo>
                      <a:cubicBezTo>
                        <a:pt x="20" y="25"/>
                        <a:pt x="20" y="32"/>
                        <a:pt x="20" y="32"/>
                      </a:cubicBezTo>
                      <a:cubicBezTo>
                        <a:pt x="20" y="33"/>
                        <a:pt x="25" y="37"/>
                        <a:pt x="25" y="37"/>
                      </a:cubicBezTo>
                      <a:cubicBezTo>
                        <a:pt x="28" y="37"/>
                        <a:pt x="31" y="42"/>
                        <a:pt x="31" y="42"/>
                      </a:cubicBezTo>
                      <a:cubicBezTo>
                        <a:pt x="32" y="41"/>
                        <a:pt x="38" y="47"/>
                        <a:pt x="38" y="47"/>
                      </a:cubicBezTo>
                      <a:cubicBezTo>
                        <a:pt x="38" y="47"/>
                        <a:pt x="39" y="48"/>
                        <a:pt x="40" y="48"/>
                      </a:cubicBezTo>
                      <a:cubicBezTo>
                        <a:pt x="40" y="46"/>
                        <a:pt x="42" y="46"/>
                        <a:pt x="42" y="46"/>
                      </a:cubicBezTo>
                      <a:cubicBezTo>
                        <a:pt x="42" y="46"/>
                        <a:pt x="42" y="40"/>
                        <a:pt x="37" y="36"/>
                      </a:cubicBezTo>
                      <a:cubicBezTo>
                        <a:pt x="37" y="36"/>
                        <a:pt x="35" y="33"/>
                        <a:pt x="32" y="34"/>
                      </a:cubicBezTo>
                      <a:cubicBezTo>
                        <a:pt x="32" y="34"/>
                        <a:pt x="32" y="30"/>
                        <a:pt x="27" y="28"/>
                      </a:cubicBezTo>
                      <a:lnTo>
                        <a:pt x="27" y="28"/>
                      </a:lnTo>
                      <a:lnTo>
                        <a:pt x="29" y="26"/>
                      </a:lnTo>
                      <a:lnTo>
                        <a:pt x="29" y="26"/>
                      </a:lnTo>
                      <a:cubicBezTo>
                        <a:pt x="29" y="26"/>
                        <a:pt x="32" y="26"/>
                        <a:pt x="32" y="24"/>
                      </a:cubicBezTo>
                      <a:cubicBezTo>
                        <a:pt x="32" y="24"/>
                        <a:pt x="35" y="20"/>
                        <a:pt x="29" y="21"/>
                      </a:cubicBezTo>
                      <a:cubicBezTo>
                        <a:pt x="27" y="22"/>
                        <a:pt x="25" y="17"/>
                        <a:pt x="25" y="17"/>
                      </a:cubicBezTo>
                      <a:lnTo>
                        <a:pt x="25" y="17"/>
                      </a:lnTo>
                      <a:lnTo>
                        <a:pt x="21" y="11"/>
                      </a:lnTo>
                      <a:lnTo>
                        <a:pt x="21" y="11"/>
                      </a:lnTo>
                      <a:cubicBezTo>
                        <a:pt x="21" y="11"/>
                        <a:pt x="17" y="4"/>
                        <a:pt x="11" y="3"/>
                      </a:cubicBezTo>
                      <a:cubicBezTo>
                        <a:pt x="11" y="3"/>
                        <a:pt x="8" y="0"/>
                        <a:pt x="4" y="2"/>
                      </a:cubicBezTo>
                      <a:cubicBezTo>
                        <a:pt x="4" y="2"/>
                        <a:pt x="3" y="5"/>
                        <a:pt x="0" y="7"/>
                      </a:cubicBezTo>
                      <a:lnTo>
                        <a:pt x="0" y="7"/>
                      </a:lnTo>
                      <a:lnTo>
                        <a:pt x="0" y="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1" name="Freeform 657"/>
                <p:cNvSpPr>
                  <a:spLocks/>
                </p:cNvSpPr>
                <p:nvPr>
                  <p:custDataLst>
                    <p:tags r:id="rId637"/>
                  </p:custDataLst>
                </p:nvPr>
              </p:nvSpPr>
              <p:spPr bwMode="gray">
                <a:xfrm>
                  <a:off x="3985682" y="3961099"/>
                  <a:ext cx="382184" cy="470180"/>
                </a:xfrm>
                <a:custGeom>
                  <a:avLst/>
                  <a:gdLst>
                    <a:gd name="T0" fmla="*/ 0 w 38"/>
                    <a:gd name="T1" fmla="*/ 24 h 42"/>
                    <a:gd name="T2" fmla="*/ 2 w 38"/>
                    <a:gd name="T3" fmla="*/ 22 h 42"/>
                    <a:gd name="T4" fmla="*/ 13 w 38"/>
                    <a:gd name="T5" fmla="*/ 19 h 42"/>
                    <a:gd name="T6" fmla="*/ 21 w 38"/>
                    <a:gd name="T7" fmla="*/ 9 h 42"/>
                    <a:gd name="T8" fmla="*/ 27 w 38"/>
                    <a:gd name="T9" fmla="*/ 4 h 42"/>
                    <a:gd name="T10" fmla="*/ 30 w 38"/>
                    <a:gd name="T11" fmla="*/ 3 h 42"/>
                    <a:gd name="T12" fmla="*/ 37 w 38"/>
                    <a:gd name="T13" fmla="*/ 8 h 42"/>
                    <a:gd name="T14" fmla="*/ 36 w 38"/>
                    <a:gd name="T15" fmla="*/ 16 h 42"/>
                    <a:gd name="T16" fmla="*/ 36 w 38"/>
                    <a:gd name="T17" fmla="*/ 31 h 42"/>
                    <a:gd name="T18" fmla="*/ 35 w 38"/>
                    <a:gd name="T19" fmla="*/ 40 h 42"/>
                    <a:gd name="T20" fmla="*/ 31 w 38"/>
                    <a:gd name="T21" fmla="*/ 37 h 42"/>
                    <a:gd name="T22" fmla="*/ 29 w 38"/>
                    <a:gd name="T23" fmla="*/ 35 h 42"/>
                    <a:gd name="T24" fmla="*/ 25 w 38"/>
                    <a:gd name="T25" fmla="*/ 37 h 42"/>
                    <a:gd name="T26" fmla="*/ 22 w 38"/>
                    <a:gd name="T27" fmla="*/ 37 h 42"/>
                    <a:gd name="T28" fmla="*/ 17 w 38"/>
                    <a:gd name="T29" fmla="*/ 34 h 42"/>
                    <a:gd name="T30" fmla="*/ 15 w 38"/>
                    <a:gd name="T31" fmla="*/ 36 h 42"/>
                    <a:gd name="T32" fmla="*/ 19 w 38"/>
                    <a:gd name="T33" fmla="*/ 42 h 42"/>
                    <a:gd name="T34" fmla="*/ 13 w 38"/>
                    <a:gd name="T35" fmla="*/ 38 h 42"/>
                    <a:gd name="T36" fmla="*/ 9 w 38"/>
                    <a:gd name="T37" fmla="*/ 34 h 42"/>
                    <a:gd name="T38" fmla="*/ 5 w 38"/>
                    <a:gd name="T39" fmla="*/ 28 h 42"/>
                    <a:gd name="T40" fmla="*/ 0 w 38"/>
                    <a:gd name="T41" fmla="*/ 24 h 42"/>
                    <a:gd name="T42" fmla="*/ 0 w 38"/>
                    <a:gd name="T43" fmla="*/ 24 h 42"/>
                    <a:gd name="T44" fmla="*/ 0 w 38"/>
                    <a:gd name="T45" fmla="*/ 2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42">
                      <a:moveTo>
                        <a:pt x="0" y="24"/>
                      </a:moveTo>
                      <a:cubicBezTo>
                        <a:pt x="0" y="22"/>
                        <a:pt x="2" y="22"/>
                        <a:pt x="2" y="22"/>
                      </a:cubicBezTo>
                      <a:cubicBezTo>
                        <a:pt x="11" y="24"/>
                        <a:pt x="13" y="19"/>
                        <a:pt x="13" y="19"/>
                      </a:cubicBezTo>
                      <a:cubicBezTo>
                        <a:pt x="13" y="19"/>
                        <a:pt x="15" y="11"/>
                        <a:pt x="21" y="9"/>
                      </a:cubicBezTo>
                      <a:cubicBezTo>
                        <a:pt x="24" y="6"/>
                        <a:pt x="26" y="7"/>
                        <a:pt x="27" y="4"/>
                      </a:cubicBezTo>
                      <a:cubicBezTo>
                        <a:pt x="26" y="0"/>
                        <a:pt x="30" y="1"/>
                        <a:pt x="30" y="3"/>
                      </a:cubicBezTo>
                      <a:cubicBezTo>
                        <a:pt x="31" y="8"/>
                        <a:pt x="37" y="8"/>
                        <a:pt x="37" y="8"/>
                      </a:cubicBezTo>
                      <a:cubicBezTo>
                        <a:pt x="37" y="8"/>
                        <a:pt x="34" y="13"/>
                        <a:pt x="36" y="16"/>
                      </a:cubicBezTo>
                      <a:cubicBezTo>
                        <a:pt x="36" y="16"/>
                        <a:pt x="38" y="27"/>
                        <a:pt x="36" y="31"/>
                      </a:cubicBezTo>
                      <a:cubicBezTo>
                        <a:pt x="36" y="31"/>
                        <a:pt x="36" y="38"/>
                        <a:pt x="35" y="40"/>
                      </a:cubicBezTo>
                      <a:cubicBezTo>
                        <a:pt x="35" y="40"/>
                        <a:pt x="31" y="40"/>
                        <a:pt x="31" y="37"/>
                      </a:cubicBezTo>
                      <a:cubicBezTo>
                        <a:pt x="31" y="37"/>
                        <a:pt x="29" y="38"/>
                        <a:pt x="29" y="35"/>
                      </a:cubicBezTo>
                      <a:cubicBezTo>
                        <a:pt x="29" y="35"/>
                        <a:pt x="26" y="35"/>
                        <a:pt x="25" y="37"/>
                      </a:cubicBezTo>
                      <a:cubicBezTo>
                        <a:pt x="25" y="37"/>
                        <a:pt x="27" y="40"/>
                        <a:pt x="22" y="37"/>
                      </a:cubicBezTo>
                      <a:cubicBezTo>
                        <a:pt x="22" y="37"/>
                        <a:pt x="18" y="36"/>
                        <a:pt x="17" y="34"/>
                      </a:cubicBezTo>
                      <a:cubicBezTo>
                        <a:pt x="17" y="34"/>
                        <a:pt x="15" y="33"/>
                        <a:pt x="15" y="36"/>
                      </a:cubicBezTo>
                      <a:cubicBezTo>
                        <a:pt x="15" y="36"/>
                        <a:pt x="20" y="41"/>
                        <a:pt x="19" y="42"/>
                      </a:cubicBezTo>
                      <a:cubicBezTo>
                        <a:pt x="19" y="42"/>
                        <a:pt x="15" y="40"/>
                        <a:pt x="13" y="38"/>
                      </a:cubicBezTo>
                      <a:cubicBezTo>
                        <a:pt x="11" y="37"/>
                        <a:pt x="11" y="35"/>
                        <a:pt x="9" y="34"/>
                      </a:cubicBezTo>
                      <a:cubicBezTo>
                        <a:pt x="9" y="34"/>
                        <a:pt x="5" y="31"/>
                        <a:pt x="5" y="28"/>
                      </a:cubicBezTo>
                      <a:cubicBezTo>
                        <a:pt x="5" y="28"/>
                        <a:pt x="2" y="25"/>
                        <a:pt x="0" y="24"/>
                      </a:cubicBezTo>
                      <a:lnTo>
                        <a:pt x="0" y="24"/>
                      </a:lnTo>
                      <a:lnTo>
                        <a:pt x="0" y="2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2" name="Freeform 658"/>
                <p:cNvSpPr>
                  <a:spLocks/>
                </p:cNvSpPr>
                <p:nvPr>
                  <p:custDataLst>
                    <p:tags r:id="rId638"/>
                  </p:custDataLst>
                </p:nvPr>
              </p:nvSpPr>
              <p:spPr bwMode="gray">
                <a:xfrm>
                  <a:off x="4779665" y="4498899"/>
                  <a:ext cx="502056" cy="358533"/>
                </a:xfrm>
                <a:custGeom>
                  <a:avLst/>
                  <a:gdLst>
                    <a:gd name="T0" fmla="*/ 4 w 50"/>
                    <a:gd name="T1" fmla="*/ 24 h 32"/>
                    <a:gd name="T2" fmla="*/ 2 w 50"/>
                    <a:gd name="T3" fmla="*/ 17 h 32"/>
                    <a:gd name="T4" fmla="*/ 2 w 50"/>
                    <a:gd name="T5" fmla="*/ 13 h 32"/>
                    <a:gd name="T6" fmla="*/ 3 w 50"/>
                    <a:gd name="T7" fmla="*/ 8 h 32"/>
                    <a:gd name="T8" fmla="*/ 9 w 50"/>
                    <a:gd name="T9" fmla="*/ 9 h 32"/>
                    <a:gd name="T10" fmla="*/ 16 w 50"/>
                    <a:gd name="T11" fmla="*/ 8 h 32"/>
                    <a:gd name="T12" fmla="*/ 23 w 50"/>
                    <a:gd name="T13" fmla="*/ 10 h 32"/>
                    <a:gd name="T14" fmla="*/ 28 w 50"/>
                    <a:gd name="T15" fmla="*/ 10 h 32"/>
                    <a:gd name="T16" fmla="*/ 33 w 50"/>
                    <a:gd name="T17" fmla="*/ 4 h 32"/>
                    <a:gd name="T18" fmla="*/ 39 w 50"/>
                    <a:gd name="T19" fmla="*/ 3 h 32"/>
                    <a:gd name="T20" fmla="*/ 45 w 50"/>
                    <a:gd name="T21" fmla="*/ 6 h 32"/>
                    <a:gd name="T22" fmla="*/ 50 w 50"/>
                    <a:gd name="T23" fmla="*/ 7 h 32"/>
                    <a:gd name="T24" fmla="*/ 50 w 50"/>
                    <a:gd name="T25" fmla="*/ 7 h 32"/>
                    <a:gd name="T26" fmla="*/ 47 w 50"/>
                    <a:gd name="T27" fmla="*/ 7 h 32"/>
                    <a:gd name="T28" fmla="*/ 47 w 50"/>
                    <a:gd name="T29" fmla="*/ 7 h 32"/>
                    <a:gd name="T30" fmla="*/ 47 w 50"/>
                    <a:gd name="T31" fmla="*/ 12 h 32"/>
                    <a:gd name="T32" fmla="*/ 40 w 50"/>
                    <a:gd name="T33" fmla="*/ 16 h 32"/>
                    <a:gd name="T34" fmla="*/ 42 w 50"/>
                    <a:gd name="T35" fmla="*/ 22 h 32"/>
                    <a:gd name="T36" fmla="*/ 39 w 50"/>
                    <a:gd name="T37" fmla="*/ 27 h 32"/>
                    <a:gd name="T38" fmla="*/ 34 w 50"/>
                    <a:gd name="T39" fmla="*/ 32 h 32"/>
                    <a:gd name="T40" fmla="*/ 34 w 50"/>
                    <a:gd name="T41" fmla="*/ 32 h 32"/>
                    <a:gd name="T42" fmla="*/ 35 w 50"/>
                    <a:gd name="T43" fmla="*/ 28 h 32"/>
                    <a:gd name="T44" fmla="*/ 35 w 50"/>
                    <a:gd name="T45" fmla="*/ 28 h 32"/>
                    <a:gd name="T46" fmla="*/ 33 w 50"/>
                    <a:gd name="T47" fmla="*/ 24 h 32"/>
                    <a:gd name="T48" fmla="*/ 30 w 50"/>
                    <a:gd name="T49" fmla="*/ 22 h 32"/>
                    <a:gd name="T50" fmla="*/ 26 w 50"/>
                    <a:gd name="T51" fmla="*/ 21 h 32"/>
                    <a:gd name="T52" fmla="*/ 23 w 50"/>
                    <a:gd name="T53" fmla="*/ 26 h 32"/>
                    <a:gd name="T54" fmla="*/ 18 w 50"/>
                    <a:gd name="T55" fmla="*/ 25 h 32"/>
                    <a:gd name="T56" fmla="*/ 7 w 50"/>
                    <a:gd name="T57" fmla="*/ 24 h 32"/>
                    <a:gd name="T58" fmla="*/ 4 w 50"/>
                    <a:gd name="T59" fmla="*/ 24 h 32"/>
                    <a:gd name="T60" fmla="*/ 4 w 50"/>
                    <a:gd name="T61" fmla="*/ 24 h 32"/>
                    <a:gd name="T62" fmla="*/ 4 w 50"/>
                    <a:gd name="T6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0" h="32">
                      <a:moveTo>
                        <a:pt x="4" y="24"/>
                      </a:moveTo>
                      <a:cubicBezTo>
                        <a:pt x="4" y="19"/>
                        <a:pt x="2" y="17"/>
                        <a:pt x="2" y="17"/>
                      </a:cubicBezTo>
                      <a:cubicBezTo>
                        <a:pt x="0" y="15"/>
                        <a:pt x="2" y="13"/>
                        <a:pt x="2" y="13"/>
                      </a:cubicBezTo>
                      <a:cubicBezTo>
                        <a:pt x="3" y="11"/>
                        <a:pt x="3" y="8"/>
                        <a:pt x="3" y="8"/>
                      </a:cubicBezTo>
                      <a:cubicBezTo>
                        <a:pt x="4" y="7"/>
                        <a:pt x="9" y="9"/>
                        <a:pt x="9" y="9"/>
                      </a:cubicBezTo>
                      <a:cubicBezTo>
                        <a:pt x="14" y="9"/>
                        <a:pt x="16" y="8"/>
                        <a:pt x="16" y="8"/>
                      </a:cubicBezTo>
                      <a:cubicBezTo>
                        <a:pt x="20" y="8"/>
                        <a:pt x="19" y="10"/>
                        <a:pt x="23" y="10"/>
                      </a:cubicBezTo>
                      <a:cubicBezTo>
                        <a:pt x="26" y="9"/>
                        <a:pt x="28" y="10"/>
                        <a:pt x="28" y="10"/>
                      </a:cubicBezTo>
                      <a:cubicBezTo>
                        <a:pt x="32" y="10"/>
                        <a:pt x="33" y="4"/>
                        <a:pt x="33" y="4"/>
                      </a:cubicBezTo>
                      <a:cubicBezTo>
                        <a:pt x="34" y="0"/>
                        <a:pt x="40" y="1"/>
                        <a:pt x="39" y="3"/>
                      </a:cubicBezTo>
                      <a:cubicBezTo>
                        <a:pt x="40" y="7"/>
                        <a:pt x="45" y="6"/>
                        <a:pt x="45" y="6"/>
                      </a:cubicBezTo>
                      <a:cubicBezTo>
                        <a:pt x="46" y="4"/>
                        <a:pt x="48" y="6"/>
                        <a:pt x="50" y="7"/>
                      </a:cubicBezTo>
                      <a:lnTo>
                        <a:pt x="50" y="7"/>
                      </a:lnTo>
                      <a:lnTo>
                        <a:pt x="47" y="7"/>
                      </a:lnTo>
                      <a:lnTo>
                        <a:pt x="47" y="7"/>
                      </a:lnTo>
                      <a:cubicBezTo>
                        <a:pt x="47" y="7"/>
                        <a:pt x="48" y="11"/>
                        <a:pt x="47" y="12"/>
                      </a:cubicBezTo>
                      <a:cubicBezTo>
                        <a:pt x="46" y="17"/>
                        <a:pt x="41" y="14"/>
                        <a:pt x="40" y="16"/>
                      </a:cubicBezTo>
                      <a:cubicBezTo>
                        <a:pt x="40" y="16"/>
                        <a:pt x="38" y="16"/>
                        <a:pt x="42" y="22"/>
                      </a:cubicBezTo>
                      <a:cubicBezTo>
                        <a:pt x="42" y="22"/>
                        <a:pt x="44" y="27"/>
                        <a:pt x="39" y="27"/>
                      </a:cubicBezTo>
                      <a:cubicBezTo>
                        <a:pt x="39" y="27"/>
                        <a:pt x="37" y="29"/>
                        <a:pt x="34" y="32"/>
                      </a:cubicBezTo>
                      <a:lnTo>
                        <a:pt x="34" y="32"/>
                      </a:lnTo>
                      <a:lnTo>
                        <a:pt x="35" y="28"/>
                      </a:lnTo>
                      <a:lnTo>
                        <a:pt x="35" y="28"/>
                      </a:lnTo>
                      <a:cubicBezTo>
                        <a:pt x="35" y="28"/>
                        <a:pt x="35" y="24"/>
                        <a:pt x="33" y="24"/>
                      </a:cubicBezTo>
                      <a:cubicBezTo>
                        <a:pt x="33" y="24"/>
                        <a:pt x="30" y="25"/>
                        <a:pt x="30" y="22"/>
                      </a:cubicBezTo>
                      <a:cubicBezTo>
                        <a:pt x="30" y="22"/>
                        <a:pt x="31" y="18"/>
                        <a:pt x="26" y="21"/>
                      </a:cubicBezTo>
                      <a:cubicBezTo>
                        <a:pt x="26" y="21"/>
                        <a:pt x="22" y="22"/>
                        <a:pt x="23" y="26"/>
                      </a:cubicBezTo>
                      <a:cubicBezTo>
                        <a:pt x="19" y="25"/>
                        <a:pt x="18" y="25"/>
                        <a:pt x="18" y="25"/>
                      </a:cubicBezTo>
                      <a:cubicBezTo>
                        <a:pt x="13" y="25"/>
                        <a:pt x="10" y="21"/>
                        <a:pt x="7" y="24"/>
                      </a:cubicBezTo>
                      <a:cubicBezTo>
                        <a:pt x="6" y="24"/>
                        <a:pt x="5" y="24"/>
                        <a:pt x="4" y="24"/>
                      </a:cubicBezTo>
                      <a:lnTo>
                        <a:pt x="4" y="24"/>
                      </a:lnTo>
                      <a:lnTo>
                        <a:pt x="4" y="2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3" name="Freeform 659"/>
                <p:cNvSpPr>
                  <a:spLocks/>
                </p:cNvSpPr>
                <p:nvPr>
                  <p:custDataLst>
                    <p:tags r:id="rId639"/>
                  </p:custDataLst>
                </p:nvPr>
              </p:nvSpPr>
              <p:spPr bwMode="gray">
                <a:xfrm>
                  <a:off x="5001077" y="4701753"/>
                  <a:ext cx="129745" cy="155679"/>
                </a:xfrm>
                <a:custGeom>
                  <a:avLst/>
                  <a:gdLst>
                    <a:gd name="T0" fmla="*/ 1 w 13"/>
                    <a:gd name="T1" fmla="*/ 8 h 14"/>
                    <a:gd name="T2" fmla="*/ 4 w 13"/>
                    <a:gd name="T3" fmla="*/ 3 h 14"/>
                    <a:gd name="T4" fmla="*/ 8 w 13"/>
                    <a:gd name="T5" fmla="*/ 4 h 14"/>
                    <a:gd name="T6" fmla="*/ 11 w 13"/>
                    <a:gd name="T7" fmla="*/ 6 h 14"/>
                    <a:gd name="T8" fmla="*/ 13 w 13"/>
                    <a:gd name="T9" fmla="*/ 10 h 14"/>
                    <a:gd name="T10" fmla="*/ 13 w 13"/>
                    <a:gd name="T11" fmla="*/ 10 h 14"/>
                    <a:gd name="T12" fmla="*/ 12 w 13"/>
                    <a:gd name="T13" fmla="*/ 14 h 14"/>
                    <a:gd name="T14" fmla="*/ 12 w 13"/>
                    <a:gd name="T15" fmla="*/ 14 h 14"/>
                    <a:gd name="T16" fmla="*/ 8 w 13"/>
                    <a:gd name="T17" fmla="*/ 13 h 14"/>
                    <a:gd name="T18" fmla="*/ 1 w 13"/>
                    <a:gd name="T19" fmla="*/ 8 h 14"/>
                    <a:gd name="T20" fmla="*/ 1 w 13"/>
                    <a:gd name="T21" fmla="*/ 8 h 14"/>
                    <a:gd name="T22" fmla="*/ 1 w 13"/>
                    <a:gd name="T23"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 y="8"/>
                      </a:moveTo>
                      <a:cubicBezTo>
                        <a:pt x="0" y="4"/>
                        <a:pt x="4" y="3"/>
                        <a:pt x="4" y="3"/>
                      </a:cubicBezTo>
                      <a:cubicBezTo>
                        <a:pt x="9" y="0"/>
                        <a:pt x="8" y="4"/>
                        <a:pt x="8" y="4"/>
                      </a:cubicBezTo>
                      <a:cubicBezTo>
                        <a:pt x="8" y="7"/>
                        <a:pt x="11" y="6"/>
                        <a:pt x="11" y="6"/>
                      </a:cubicBezTo>
                      <a:cubicBezTo>
                        <a:pt x="13" y="6"/>
                        <a:pt x="13" y="10"/>
                        <a:pt x="13" y="10"/>
                      </a:cubicBezTo>
                      <a:lnTo>
                        <a:pt x="13" y="10"/>
                      </a:lnTo>
                      <a:lnTo>
                        <a:pt x="12" y="14"/>
                      </a:lnTo>
                      <a:lnTo>
                        <a:pt x="12" y="14"/>
                      </a:lnTo>
                      <a:cubicBezTo>
                        <a:pt x="10" y="13"/>
                        <a:pt x="8" y="13"/>
                        <a:pt x="8" y="13"/>
                      </a:cubicBezTo>
                      <a:cubicBezTo>
                        <a:pt x="5" y="11"/>
                        <a:pt x="3" y="9"/>
                        <a:pt x="1" y="8"/>
                      </a:cubicBezTo>
                      <a:lnTo>
                        <a:pt x="1" y="8"/>
                      </a:lnTo>
                      <a:lnTo>
                        <a:pt x="1" y="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4" name="Freeform 660"/>
                <p:cNvSpPr>
                  <a:spLocks/>
                </p:cNvSpPr>
                <p:nvPr>
                  <p:custDataLst>
                    <p:tags r:id="rId640"/>
                  </p:custDataLst>
                </p:nvPr>
              </p:nvSpPr>
              <p:spPr bwMode="gray">
                <a:xfrm>
                  <a:off x="5130822" y="3154400"/>
                  <a:ext cx="813726" cy="841295"/>
                </a:xfrm>
                <a:custGeom>
                  <a:avLst/>
                  <a:gdLst>
                    <a:gd name="T0" fmla="*/ 47 w 81"/>
                    <a:gd name="T1" fmla="*/ 2 h 75"/>
                    <a:gd name="T2" fmla="*/ 55 w 81"/>
                    <a:gd name="T3" fmla="*/ 3 h 75"/>
                    <a:gd name="T4" fmla="*/ 55 w 81"/>
                    <a:gd name="T5" fmla="*/ 3 h 75"/>
                    <a:gd name="T6" fmla="*/ 61 w 81"/>
                    <a:gd name="T7" fmla="*/ 2 h 75"/>
                    <a:gd name="T8" fmla="*/ 65 w 81"/>
                    <a:gd name="T9" fmla="*/ 2 h 75"/>
                    <a:gd name="T10" fmla="*/ 65 w 81"/>
                    <a:gd name="T11" fmla="*/ 7 h 75"/>
                    <a:gd name="T12" fmla="*/ 65 w 81"/>
                    <a:gd name="T13" fmla="*/ 14 h 75"/>
                    <a:gd name="T14" fmla="*/ 69 w 81"/>
                    <a:gd name="T15" fmla="*/ 13 h 75"/>
                    <a:gd name="T16" fmla="*/ 69 w 81"/>
                    <a:gd name="T17" fmla="*/ 17 h 75"/>
                    <a:gd name="T18" fmla="*/ 71 w 81"/>
                    <a:gd name="T19" fmla="*/ 25 h 75"/>
                    <a:gd name="T20" fmla="*/ 76 w 81"/>
                    <a:gd name="T21" fmla="*/ 30 h 75"/>
                    <a:gd name="T22" fmla="*/ 75 w 81"/>
                    <a:gd name="T23" fmla="*/ 37 h 75"/>
                    <a:gd name="T24" fmla="*/ 72 w 81"/>
                    <a:gd name="T25" fmla="*/ 44 h 75"/>
                    <a:gd name="T26" fmla="*/ 69 w 81"/>
                    <a:gd name="T27" fmla="*/ 50 h 75"/>
                    <a:gd name="T28" fmla="*/ 66 w 81"/>
                    <a:gd name="T29" fmla="*/ 57 h 75"/>
                    <a:gd name="T30" fmla="*/ 62 w 81"/>
                    <a:gd name="T31" fmla="*/ 62 h 75"/>
                    <a:gd name="T32" fmla="*/ 58 w 81"/>
                    <a:gd name="T33" fmla="*/ 72 h 75"/>
                    <a:gd name="T34" fmla="*/ 56 w 81"/>
                    <a:gd name="T35" fmla="*/ 71 h 75"/>
                    <a:gd name="T36" fmla="*/ 56 w 81"/>
                    <a:gd name="T37" fmla="*/ 68 h 75"/>
                    <a:gd name="T38" fmla="*/ 52 w 81"/>
                    <a:gd name="T39" fmla="*/ 69 h 75"/>
                    <a:gd name="T40" fmla="*/ 45 w 81"/>
                    <a:gd name="T41" fmla="*/ 71 h 75"/>
                    <a:gd name="T42" fmla="*/ 45 w 81"/>
                    <a:gd name="T43" fmla="*/ 71 h 75"/>
                    <a:gd name="T44" fmla="*/ 44 w 81"/>
                    <a:gd name="T45" fmla="*/ 67 h 75"/>
                    <a:gd name="T46" fmla="*/ 44 w 81"/>
                    <a:gd name="T47" fmla="*/ 67 h 75"/>
                    <a:gd name="T48" fmla="*/ 42 w 81"/>
                    <a:gd name="T49" fmla="*/ 67 h 75"/>
                    <a:gd name="T50" fmla="*/ 38 w 81"/>
                    <a:gd name="T51" fmla="*/ 66 h 75"/>
                    <a:gd name="T52" fmla="*/ 38 w 81"/>
                    <a:gd name="T53" fmla="*/ 66 h 75"/>
                    <a:gd name="T54" fmla="*/ 35 w 81"/>
                    <a:gd name="T55" fmla="*/ 63 h 75"/>
                    <a:gd name="T56" fmla="*/ 34 w 81"/>
                    <a:gd name="T57" fmla="*/ 65 h 75"/>
                    <a:gd name="T58" fmla="*/ 34 w 81"/>
                    <a:gd name="T59" fmla="*/ 65 h 75"/>
                    <a:gd name="T60" fmla="*/ 32 w 81"/>
                    <a:gd name="T61" fmla="*/ 69 h 75"/>
                    <a:gd name="T62" fmla="*/ 25 w 81"/>
                    <a:gd name="T63" fmla="*/ 70 h 75"/>
                    <a:gd name="T64" fmla="*/ 21 w 81"/>
                    <a:gd name="T65" fmla="*/ 70 h 75"/>
                    <a:gd name="T66" fmla="*/ 16 w 81"/>
                    <a:gd name="T67" fmla="*/ 73 h 75"/>
                    <a:gd name="T68" fmla="*/ 16 w 81"/>
                    <a:gd name="T69" fmla="*/ 73 h 75"/>
                    <a:gd name="T70" fmla="*/ 16 w 81"/>
                    <a:gd name="T71" fmla="*/ 71 h 75"/>
                    <a:gd name="T72" fmla="*/ 16 w 81"/>
                    <a:gd name="T73" fmla="*/ 71 h 75"/>
                    <a:gd name="T74" fmla="*/ 16 w 81"/>
                    <a:gd name="T75" fmla="*/ 66 h 75"/>
                    <a:gd name="T76" fmla="*/ 15 w 81"/>
                    <a:gd name="T77" fmla="*/ 60 h 75"/>
                    <a:gd name="T78" fmla="*/ 12 w 81"/>
                    <a:gd name="T79" fmla="*/ 63 h 75"/>
                    <a:gd name="T80" fmla="*/ 9 w 81"/>
                    <a:gd name="T81" fmla="*/ 63 h 75"/>
                    <a:gd name="T82" fmla="*/ 5 w 81"/>
                    <a:gd name="T83" fmla="*/ 65 h 75"/>
                    <a:gd name="T84" fmla="*/ 1 w 81"/>
                    <a:gd name="T85" fmla="*/ 63 h 75"/>
                    <a:gd name="T86" fmla="*/ 5 w 81"/>
                    <a:gd name="T87" fmla="*/ 60 h 75"/>
                    <a:gd name="T88" fmla="*/ 5 w 81"/>
                    <a:gd name="T89" fmla="*/ 56 h 75"/>
                    <a:gd name="T90" fmla="*/ 4 w 81"/>
                    <a:gd name="T91" fmla="*/ 51 h 75"/>
                    <a:gd name="T92" fmla="*/ 3 w 81"/>
                    <a:gd name="T93" fmla="*/ 45 h 75"/>
                    <a:gd name="T94" fmla="*/ 3 w 81"/>
                    <a:gd name="T95" fmla="*/ 40 h 75"/>
                    <a:gd name="T96" fmla="*/ 6 w 81"/>
                    <a:gd name="T97" fmla="*/ 38 h 75"/>
                    <a:gd name="T98" fmla="*/ 10 w 81"/>
                    <a:gd name="T99" fmla="*/ 33 h 75"/>
                    <a:gd name="T100" fmla="*/ 17 w 81"/>
                    <a:gd name="T101" fmla="*/ 28 h 75"/>
                    <a:gd name="T102" fmla="*/ 21 w 81"/>
                    <a:gd name="T103" fmla="*/ 25 h 75"/>
                    <a:gd name="T104" fmla="*/ 21 w 81"/>
                    <a:gd name="T105" fmla="*/ 25 h 75"/>
                    <a:gd name="T106" fmla="*/ 29 w 81"/>
                    <a:gd name="T107" fmla="*/ 24 h 75"/>
                    <a:gd name="T108" fmla="*/ 29 w 81"/>
                    <a:gd name="T109" fmla="*/ 24 h 75"/>
                    <a:gd name="T110" fmla="*/ 38 w 81"/>
                    <a:gd name="T111" fmla="*/ 21 h 75"/>
                    <a:gd name="T112" fmla="*/ 39 w 81"/>
                    <a:gd name="T113" fmla="*/ 15 h 75"/>
                    <a:gd name="T114" fmla="*/ 39 w 81"/>
                    <a:gd name="T115" fmla="*/ 9 h 75"/>
                    <a:gd name="T116" fmla="*/ 43 w 81"/>
                    <a:gd name="T117" fmla="*/ 6 h 75"/>
                    <a:gd name="T118" fmla="*/ 47 w 81"/>
                    <a:gd name="T119" fmla="*/ 2 h 75"/>
                    <a:gd name="T120" fmla="*/ 47 w 81"/>
                    <a:gd name="T121" fmla="*/ 2 h 75"/>
                    <a:gd name="T122" fmla="*/ 47 w 81"/>
                    <a:gd name="T123"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75">
                      <a:moveTo>
                        <a:pt x="47" y="2"/>
                      </a:moveTo>
                      <a:lnTo>
                        <a:pt x="55" y="3"/>
                      </a:lnTo>
                      <a:lnTo>
                        <a:pt x="55" y="3"/>
                      </a:lnTo>
                      <a:cubicBezTo>
                        <a:pt x="59" y="4"/>
                        <a:pt x="61" y="2"/>
                        <a:pt x="61" y="2"/>
                      </a:cubicBezTo>
                      <a:cubicBezTo>
                        <a:pt x="63" y="0"/>
                        <a:pt x="65" y="2"/>
                        <a:pt x="65" y="2"/>
                      </a:cubicBezTo>
                      <a:cubicBezTo>
                        <a:pt x="69" y="4"/>
                        <a:pt x="65" y="7"/>
                        <a:pt x="65" y="7"/>
                      </a:cubicBezTo>
                      <a:cubicBezTo>
                        <a:pt x="60" y="14"/>
                        <a:pt x="65" y="14"/>
                        <a:pt x="65" y="14"/>
                      </a:cubicBezTo>
                      <a:cubicBezTo>
                        <a:pt x="67" y="15"/>
                        <a:pt x="69" y="13"/>
                        <a:pt x="69" y="13"/>
                      </a:cubicBezTo>
                      <a:cubicBezTo>
                        <a:pt x="71" y="13"/>
                        <a:pt x="69" y="17"/>
                        <a:pt x="69" y="17"/>
                      </a:cubicBezTo>
                      <a:cubicBezTo>
                        <a:pt x="72" y="21"/>
                        <a:pt x="71" y="25"/>
                        <a:pt x="71" y="25"/>
                      </a:cubicBezTo>
                      <a:cubicBezTo>
                        <a:pt x="72" y="28"/>
                        <a:pt x="73" y="25"/>
                        <a:pt x="76" y="30"/>
                      </a:cubicBezTo>
                      <a:cubicBezTo>
                        <a:pt x="81" y="35"/>
                        <a:pt x="75" y="37"/>
                        <a:pt x="75" y="37"/>
                      </a:cubicBezTo>
                      <a:cubicBezTo>
                        <a:pt x="72" y="38"/>
                        <a:pt x="72" y="44"/>
                        <a:pt x="72" y="44"/>
                      </a:cubicBezTo>
                      <a:cubicBezTo>
                        <a:pt x="72" y="48"/>
                        <a:pt x="69" y="50"/>
                        <a:pt x="69" y="50"/>
                      </a:cubicBezTo>
                      <a:cubicBezTo>
                        <a:pt x="66" y="51"/>
                        <a:pt x="66" y="57"/>
                        <a:pt x="66" y="57"/>
                      </a:cubicBezTo>
                      <a:cubicBezTo>
                        <a:pt x="65" y="58"/>
                        <a:pt x="62" y="62"/>
                        <a:pt x="62" y="62"/>
                      </a:cubicBezTo>
                      <a:cubicBezTo>
                        <a:pt x="58" y="64"/>
                        <a:pt x="58" y="72"/>
                        <a:pt x="58" y="72"/>
                      </a:cubicBezTo>
                      <a:cubicBezTo>
                        <a:pt x="57" y="71"/>
                        <a:pt x="56" y="71"/>
                        <a:pt x="56" y="71"/>
                      </a:cubicBezTo>
                      <a:cubicBezTo>
                        <a:pt x="54" y="71"/>
                        <a:pt x="56" y="68"/>
                        <a:pt x="56" y="68"/>
                      </a:cubicBezTo>
                      <a:cubicBezTo>
                        <a:pt x="53" y="72"/>
                        <a:pt x="52" y="69"/>
                        <a:pt x="52" y="69"/>
                      </a:cubicBezTo>
                      <a:cubicBezTo>
                        <a:pt x="48" y="73"/>
                        <a:pt x="45" y="71"/>
                        <a:pt x="45" y="71"/>
                      </a:cubicBezTo>
                      <a:lnTo>
                        <a:pt x="45" y="71"/>
                      </a:lnTo>
                      <a:lnTo>
                        <a:pt x="44" y="67"/>
                      </a:lnTo>
                      <a:lnTo>
                        <a:pt x="44" y="67"/>
                      </a:lnTo>
                      <a:cubicBezTo>
                        <a:pt x="44" y="65"/>
                        <a:pt x="42" y="67"/>
                        <a:pt x="42" y="67"/>
                      </a:cubicBezTo>
                      <a:cubicBezTo>
                        <a:pt x="40" y="69"/>
                        <a:pt x="38" y="66"/>
                        <a:pt x="38" y="66"/>
                      </a:cubicBezTo>
                      <a:lnTo>
                        <a:pt x="38" y="66"/>
                      </a:lnTo>
                      <a:lnTo>
                        <a:pt x="35" y="63"/>
                      </a:lnTo>
                      <a:lnTo>
                        <a:pt x="34" y="65"/>
                      </a:lnTo>
                      <a:lnTo>
                        <a:pt x="34" y="65"/>
                      </a:lnTo>
                      <a:cubicBezTo>
                        <a:pt x="35" y="68"/>
                        <a:pt x="32" y="69"/>
                        <a:pt x="32" y="69"/>
                      </a:cubicBezTo>
                      <a:cubicBezTo>
                        <a:pt x="28" y="73"/>
                        <a:pt x="25" y="70"/>
                        <a:pt x="25" y="70"/>
                      </a:cubicBezTo>
                      <a:cubicBezTo>
                        <a:pt x="23" y="68"/>
                        <a:pt x="23" y="68"/>
                        <a:pt x="21" y="70"/>
                      </a:cubicBezTo>
                      <a:cubicBezTo>
                        <a:pt x="18" y="75"/>
                        <a:pt x="16" y="73"/>
                        <a:pt x="16" y="73"/>
                      </a:cubicBezTo>
                      <a:lnTo>
                        <a:pt x="16" y="73"/>
                      </a:lnTo>
                      <a:lnTo>
                        <a:pt x="16" y="71"/>
                      </a:lnTo>
                      <a:lnTo>
                        <a:pt x="16" y="71"/>
                      </a:lnTo>
                      <a:cubicBezTo>
                        <a:pt x="15" y="69"/>
                        <a:pt x="16" y="66"/>
                        <a:pt x="16" y="66"/>
                      </a:cubicBezTo>
                      <a:cubicBezTo>
                        <a:pt x="17" y="62"/>
                        <a:pt x="15" y="60"/>
                        <a:pt x="15" y="60"/>
                      </a:cubicBezTo>
                      <a:cubicBezTo>
                        <a:pt x="14" y="65"/>
                        <a:pt x="12" y="63"/>
                        <a:pt x="12" y="63"/>
                      </a:cubicBezTo>
                      <a:cubicBezTo>
                        <a:pt x="11" y="62"/>
                        <a:pt x="9" y="63"/>
                        <a:pt x="9" y="63"/>
                      </a:cubicBezTo>
                      <a:cubicBezTo>
                        <a:pt x="7" y="62"/>
                        <a:pt x="5" y="65"/>
                        <a:pt x="5" y="65"/>
                      </a:cubicBezTo>
                      <a:cubicBezTo>
                        <a:pt x="0" y="66"/>
                        <a:pt x="1" y="63"/>
                        <a:pt x="1" y="63"/>
                      </a:cubicBezTo>
                      <a:cubicBezTo>
                        <a:pt x="1" y="60"/>
                        <a:pt x="5" y="60"/>
                        <a:pt x="5" y="60"/>
                      </a:cubicBezTo>
                      <a:cubicBezTo>
                        <a:pt x="7" y="59"/>
                        <a:pt x="5" y="56"/>
                        <a:pt x="5" y="56"/>
                      </a:cubicBezTo>
                      <a:cubicBezTo>
                        <a:pt x="4" y="55"/>
                        <a:pt x="4" y="51"/>
                        <a:pt x="4" y="51"/>
                      </a:cubicBezTo>
                      <a:cubicBezTo>
                        <a:pt x="5" y="46"/>
                        <a:pt x="3" y="45"/>
                        <a:pt x="3" y="45"/>
                      </a:cubicBezTo>
                      <a:cubicBezTo>
                        <a:pt x="5" y="42"/>
                        <a:pt x="3" y="40"/>
                        <a:pt x="3" y="40"/>
                      </a:cubicBezTo>
                      <a:cubicBezTo>
                        <a:pt x="1" y="38"/>
                        <a:pt x="4" y="40"/>
                        <a:pt x="6" y="38"/>
                      </a:cubicBezTo>
                      <a:cubicBezTo>
                        <a:pt x="9" y="37"/>
                        <a:pt x="10" y="33"/>
                        <a:pt x="10" y="33"/>
                      </a:cubicBezTo>
                      <a:cubicBezTo>
                        <a:pt x="13" y="28"/>
                        <a:pt x="17" y="28"/>
                        <a:pt x="17" y="28"/>
                      </a:cubicBezTo>
                      <a:cubicBezTo>
                        <a:pt x="21" y="27"/>
                        <a:pt x="21" y="25"/>
                        <a:pt x="21" y="25"/>
                      </a:cubicBezTo>
                      <a:lnTo>
                        <a:pt x="21" y="25"/>
                      </a:lnTo>
                      <a:lnTo>
                        <a:pt x="29" y="24"/>
                      </a:lnTo>
                      <a:lnTo>
                        <a:pt x="29" y="24"/>
                      </a:lnTo>
                      <a:cubicBezTo>
                        <a:pt x="31" y="21"/>
                        <a:pt x="38" y="21"/>
                        <a:pt x="38" y="21"/>
                      </a:cubicBezTo>
                      <a:cubicBezTo>
                        <a:pt x="37" y="16"/>
                        <a:pt x="39" y="15"/>
                        <a:pt x="39" y="15"/>
                      </a:cubicBezTo>
                      <a:cubicBezTo>
                        <a:pt x="43" y="12"/>
                        <a:pt x="39" y="9"/>
                        <a:pt x="39" y="9"/>
                      </a:cubicBezTo>
                      <a:cubicBezTo>
                        <a:pt x="39" y="7"/>
                        <a:pt x="43" y="6"/>
                        <a:pt x="43" y="6"/>
                      </a:cubicBezTo>
                      <a:cubicBezTo>
                        <a:pt x="44" y="1"/>
                        <a:pt x="47" y="2"/>
                        <a:pt x="47" y="2"/>
                      </a:cubicBezTo>
                      <a:lnTo>
                        <a:pt x="47" y="2"/>
                      </a:lnTo>
                      <a:lnTo>
                        <a:pt x="47" y="2"/>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5" name="Freeform 661"/>
                <p:cNvSpPr>
                  <a:spLocks/>
                </p:cNvSpPr>
                <p:nvPr>
                  <p:custDataLst>
                    <p:tags r:id="rId641"/>
                  </p:custDataLst>
                </p:nvPr>
              </p:nvSpPr>
              <p:spPr bwMode="gray">
                <a:xfrm>
                  <a:off x="5714674" y="3569543"/>
                  <a:ext cx="321542" cy="526792"/>
                </a:xfrm>
                <a:custGeom>
                  <a:avLst/>
                  <a:gdLst>
                    <a:gd name="T0" fmla="*/ 32 w 32"/>
                    <a:gd name="T1" fmla="*/ 18 h 47"/>
                    <a:gd name="T2" fmla="*/ 32 w 32"/>
                    <a:gd name="T3" fmla="*/ 19 h 47"/>
                    <a:gd name="T4" fmla="*/ 32 w 32"/>
                    <a:gd name="T5" fmla="*/ 19 h 47"/>
                    <a:gd name="T6" fmla="*/ 29 w 32"/>
                    <a:gd name="T7" fmla="*/ 20 h 47"/>
                    <a:gd name="T8" fmla="*/ 29 w 32"/>
                    <a:gd name="T9" fmla="*/ 25 h 47"/>
                    <a:gd name="T10" fmla="*/ 26 w 32"/>
                    <a:gd name="T11" fmla="*/ 25 h 47"/>
                    <a:gd name="T12" fmla="*/ 28 w 32"/>
                    <a:gd name="T13" fmla="*/ 30 h 47"/>
                    <a:gd name="T14" fmla="*/ 25 w 32"/>
                    <a:gd name="T15" fmla="*/ 32 h 47"/>
                    <a:gd name="T16" fmla="*/ 23 w 32"/>
                    <a:gd name="T17" fmla="*/ 37 h 47"/>
                    <a:gd name="T18" fmla="*/ 11 w 32"/>
                    <a:gd name="T19" fmla="*/ 43 h 47"/>
                    <a:gd name="T20" fmla="*/ 3 w 32"/>
                    <a:gd name="T21" fmla="*/ 47 h 47"/>
                    <a:gd name="T22" fmla="*/ 2 w 32"/>
                    <a:gd name="T23" fmla="*/ 42 h 47"/>
                    <a:gd name="T24" fmla="*/ 0 w 32"/>
                    <a:gd name="T25" fmla="*/ 35 h 47"/>
                    <a:gd name="T26" fmla="*/ 4 w 32"/>
                    <a:gd name="T27" fmla="*/ 25 h 47"/>
                    <a:gd name="T28" fmla="*/ 8 w 32"/>
                    <a:gd name="T29" fmla="*/ 20 h 47"/>
                    <a:gd name="T30" fmla="*/ 11 w 32"/>
                    <a:gd name="T31" fmla="*/ 13 h 47"/>
                    <a:gd name="T32" fmla="*/ 14 w 32"/>
                    <a:gd name="T33" fmla="*/ 7 h 47"/>
                    <a:gd name="T34" fmla="*/ 17 w 32"/>
                    <a:gd name="T35" fmla="*/ 0 h 47"/>
                    <a:gd name="T36" fmla="*/ 20 w 32"/>
                    <a:gd name="T37" fmla="*/ 6 h 47"/>
                    <a:gd name="T38" fmla="*/ 24 w 32"/>
                    <a:gd name="T39" fmla="*/ 14 h 47"/>
                    <a:gd name="T40" fmla="*/ 32 w 32"/>
                    <a:gd name="T41" fmla="*/ 18 h 47"/>
                    <a:gd name="T42" fmla="*/ 32 w 32"/>
                    <a:gd name="T43" fmla="*/ 18 h 47"/>
                    <a:gd name="T44" fmla="*/ 32 w 32"/>
                    <a:gd name="T45"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47">
                      <a:moveTo>
                        <a:pt x="32" y="18"/>
                      </a:moveTo>
                      <a:lnTo>
                        <a:pt x="32" y="19"/>
                      </a:lnTo>
                      <a:lnTo>
                        <a:pt x="32" y="19"/>
                      </a:lnTo>
                      <a:cubicBezTo>
                        <a:pt x="30" y="17"/>
                        <a:pt x="29" y="20"/>
                        <a:pt x="29" y="20"/>
                      </a:cubicBezTo>
                      <a:cubicBezTo>
                        <a:pt x="31" y="21"/>
                        <a:pt x="29" y="25"/>
                        <a:pt x="29" y="25"/>
                      </a:cubicBezTo>
                      <a:cubicBezTo>
                        <a:pt x="28" y="28"/>
                        <a:pt x="26" y="25"/>
                        <a:pt x="26" y="25"/>
                      </a:cubicBezTo>
                      <a:cubicBezTo>
                        <a:pt x="25" y="28"/>
                        <a:pt x="28" y="28"/>
                        <a:pt x="28" y="30"/>
                      </a:cubicBezTo>
                      <a:cubicBezTo>
                        <a:pt x="28" y="31"/>
                        <a:pt x="25" y="32"/>
                        <a:pt x="25" y="32"/>
                      </a:cubicBezTo>
                      <a:cubicBezTo>
                        <a:pt x="24" y="34"/>
                        <a:pt x="23" y="37"/>
                        <a:pt x="23" y="37"/>
                      </a:cubicBezTo>
                      <a:cubicBezTo>
                        <a:pt x="17" y="41"/>
                        <a:pt x="11" y="43"/>
                        <a:pt x="11" y="43"/>
                      </a:cubicBezTo>
                      <a:cubicBezTo>
                        <a:pt x="7" y="45"/>
                        <a:pt x="3" y="47"/>
                        <a:pt x="3" y="47"/>
                      </a:cubicBezTo>
                      <a:cubicBezTo>
                        <a:pt x="1" y="46"/>
                        <a:pt x="2" y="42"/>
                        <a:pt x="2" y="42"/>
                      </a:cubicBezTo>
                      <a:cubicBezTo>
                        <a:pt x="2" y="38"/>
                        <a:pt x="1" y="36"/>
                        <a:pt x="0" y="35"/>
                      </a:cubicBezTo>
                      <a:cubicBezTo>
                        <a:pt x="0" y="35"/>
                        <a:pt x="0" y="27"/>
                        <a:pt x="4" y="25"/>
                      </a:cubicBezTo>
                      <a:cubicBezTo>
                        <a:pt x="4" y="25"/>
                        <a:pt x="7" y="21"/>
                        <a:pt x="8" y="20"/>
                      </a:cubicBezTo>
                      <a:cubicBezTo>
                        <a:pt x="8" y="20"/>
                        <a:pt x="8" y="14"/>
                        <a:pt x="11" y="13"/>
                      </a:cubicBezTo>
                      <a:cubicBezTo>
                        <a:pt x="11" y="13"/>
                        <a:pt x="14" y="11"/>
                        <a:pt x="14" y="7"/>
                      </a:cubicBezTo>
                      <a:cubicBezTo>
                        <a:pt x="14" y="7"/>
                        <a:pt x="14" y="1"/>
                        <a:pt x="17" y="0"/>
                      </a:cubicBezTo>
                      <a:cubicBezTo>
                        <a:pt x="19" y="1"/>
                        <a:pt x="20" y="6"/>
                        <a:pt x="20" y="6"/>
                      </a:cubicBezTo>
                      <a:cubicBezTo>
                        <a:pt x="20" y="16"/>
                        <a:pt x="24" y="14"/>
                        <a:pt x="24" y="14"/>
                      </a:cubicBezTo>
                      <a:cubicBezTo>
                        <a:pt x="27" y="17"/>
                        <a:pt x="32" y="18"/>
                        <a:pt x="32" y="18"/>
                      </a:cubicBezTo>
                      <a:lnTo>
                        <a:pt x="32" y="18"/>
                      </a:lnTo>
                      <a:lnTo>
                        <a:pt x="32" y="1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6" name="Freeform 663"/>
                <p:cNvSpPr>
                  <a:spLocks/>
                </p:cNvSpPr>
                <p:nvPr>
                  <p:custDataLst>
                    <p:tags r:id="rId642"/>
                  </p:custDataLst>
                </p:nvPr>
              </p:nvSpPr>
              <p:spPr bwMode="gray">
                <a:xfrm>
                  <a:off x="5120951" y="4577525"/>
                  <a:ext cx="634622" cy="391554"/>
                </a:xfrm>
                <a:custGeom>
                  <a:avLst/>
                  <a:gdLst>
                    <a:gd name="T0" fmla="*/ 16 w 63"/>
                    <a:gd name="T1" fmla="*/ 0 h 35"/>
                    <a:gd name="T2" fmla="*/ 16 w 63"/>
                    <a:gd name="T3" fmla="*/ 0 h 35"/>
                    <a:gd name="T4" fmla="*/ 21 w 63"/>
                    <a:gd name="T5" fmla="*/ 3 h 35"/>
                    <a:gd name="T6" fmla="*/ 28 w 63"/>
                    <a:gd name="T7" fmla="*/ 3 h 35"/>
                    <a:gd name="T8" fmla="*/ 30 w 63"/>
                    <a:gd name="T9" fmla="*/ 6 h 35"/>
                    <a:gd name="T10" fmla="*/ 33 w 63"/>
                    <a:gd name="T11" fmla="*/ 14 h 35"/>
                    <a:gd name="T12" fmla="*/ 43 w 63"/>
                    <a:gd name="T13" fmla="*/ 16 h 35"/>
                    <a:gd name="T14" fmla="*/ 52 w 63"/>
                    <a:gd name="T15" fmla="*/ 15 h 35"/>
                    <a:gd name="T16" fmla="*/ 57 w 63"/>
                    <a:gd name="T17" fmla="*/ 17 h 35"/>
                    <a:gd name="T18" fmla="*/ 58 w 63"/>
                    <a:gd name="T19" fmla="*/ 26 h 35"/>
                    <a:gd name="T20" fmla="*/ 59 w 63"/>
                    <a:gd name="T21" fmla="*/ 32 h 35"/>
                    <a:gd name="T22" fmla="*/ 60 w 63"/>
                    <a:gd name="T23" fmla="*/ 35 h 35"/>
                    <a:gd name="T24" fmla="*/ 57 w 63"/>
                    <a:gd name="T25" fmla="*/ 32 h 35"/>
                    <a:gd name="T26" fmla="*/ 49 w 63"/>
                    <a:gd name="T27" fmla="*/ 30 h 35"/>
                    <a:gd name="T28" fmla="*/ 43 w 63"/>
                    <a:gd name="T29" fmla="*/ 28 h 35"/>
                    <a:gd name="T30" fmla="*/ 36 w 63"/>
                    <a:gd name="T31" fmla="*/ 27 h 35"/>
                    <a:gd name="T32" fmla="*/ 32 w 63"/>
                    <a:gd name="T33" fmla="*/ 28 h 35"/>
                    <a:gd name="T34" fmla="*/ 24 w 63"/>
                    <a:gd name="T35" fmla="*/ 27 h 35"/>
                    <a:gd name="T36" fmla="*/ 17 w 63"/>
                    <a:gd name="T37" fmla="*/ 26 h 35"/>
                    <a:gd name="T38" fmla="*/ 10 w 63"/>
                    <a:gd name="T39" fmla="*/ 26 h 35"/>
                    <a:gd name="T40" fmla="*/ 0 w 63"/>
                    <a:gd name="T41" fmla="*/ 25 h 35"/>
                    <a:gd name="T42" fmla="*/ 5 w 63"/>
                    <a:gd name="T43" fmla="*/ 20 h 35"/>
                    <a:gd name="T44" fmla="*/ 8 w 63"/>
                    <a:gd name="T45" fmla="*/ 15 h 35"/>
                    <a:gd name="T46" fmla="*/ 6 w 63"/>
                    <a:gd name="T47" fmla="*/ 9 h 35"/>
                    <a:gd name="T48" fmla="*/ 13 w 63"/>
                    <a:gd name="T49" fmla="*/ 5 h 35"/>
                    <a:gd name="T50" fmla="*/ 13 w 63"/>
                    <a:gd name="T51" fmla="*/ 0 h 35"/>
                    <a:gd name="T52" fmla="*/ 13 w 63"/>
                    <a:gd name="T53" fmla="*/ 0 h 35"/>
                    <a:gd name="T54" fmla="*/ 16 w 63"/>
                    <a:gd name="T55" fmla="*/ 0 h 35"/>
                    <a:gd name="T56" fmla="*/ 16 w 63"/>
                    <a:gd name="T5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 h="35">
                      <a:moveTo>
                        <a:pt x="16" y="0"/>
                      </a:moveTo>
                      <a:cubicBezTo>
                        <a:pt x="16" y="0"/>
                        <a:pt x="16" y="0"/>
                        <a:pt x="16" y="0"/>
                      </a:cubicBezTo>
                      <a:cubicBezTo>
                        <a:pt x="20" y="0"/>
                        <a:pt x="21" y="3"/>
                        <a:pt x="21" y="3"/>
                      </a:cubicBezTo>
                      <a:cubicBezTo>
                        <a:pt x="23" y="4"/>
                        <a:pt x="24" y="1"/>
                        <a:pt x="28" y="3"/>
                      </a:cubicBezTo>
                      <a:cubicBezTo>
                        <a:pt x="30" y="3"/>
                        <a:pt x="30" y="6"/>
                        <a:pt x="30" y="6"/>
                      </a:cubicBezTo>
                      <a:cubicBezTo>
                        <a:pt x="31" y="14"/>
                        <a:pt x="33" y="14"/>
                        <a:pt x="33" y="14"/>
                      </a:cubicBezTo>
                      <a:cubicBezTo>
                        <a:pt x="39" y="17"/>
                        <a:pt x="39" y="18"/>
                        <a:pt x="43" y="16"/>
                      </a:cubicBezTo>
                      <a:cubicBezTo>
                        <a:pt x="47" y="17"/>
                        <a:pt x="49" y="14"/>
                        <a:pt x="52" y="15"/>
                      </a:cubicBezTo>
                      <a:cubicBezTo>
                        <a:pt x="54" y="15"/>
                        <a:pt x="57" y="17"/>
                        <a:pt x="57" y="17"/>
                      </a:cubicBezTo>
                      <a:cubicBezTo>
                        <a:pt x="61" y="17"/>
                        <a:pt x="58" y="26"/>
                        <a:pt x="58" y="26"/>
                      </a:cubicBezTo>
                      <a:cubicBezTo>
                        <a:pt x="57" y="30"/>
                        <a:pt x="59" y="32"/>
                        <a:pt x="59" y="32"/>
                      </a:cubicBezTo>
                      <a:cubicBezTo>
                        <a:pt x="63" y="33"/>
                        <a:pt x="60" y="35"/>
                        <a:pt x="60" y="35"/>
                      </a:cubicBezTo>
                      <a:cubicBezTo>
                        <a:pt x="58" y="35"/>
                        <a:pt x="57" y="32"/>
                        <a:pt x="57" y="32"/>
                      </a:cubicBezTo>
                      <a:cubicBezTo>
                        <a:pt x="50" y="32"/>
                        <a:pt x="51" y="32"/>
                        <a:pt x="49" y="30"/>
                      </a:cubicBezTo>
                      <a:cubicBezTo>
                        <a:pt x="47" y="31"/>
                        <a:pt x="43" y="28"/>
                        <a:pt x="43" y="28"/>
                      </a:cubicBezTo>
                      <a:cubicBezTo>
                        <a:pt x="40" y="25"/>
                        <a:pt x="36" y="27"/>
                        <a:pt x="36" y="27"/>
                      </a:cubicBezTo>
                      <a:cubicBezTo>
                        <a:pt x="34" y="29"/>
                        <a:pt x="32" y="28"/>
                        <a:pt x="32" y="28"/>
                      </a:cubicBezTo>
                      <a:cubicBezTo>
                        <a:pt x="29" y="30"/>
                        <a:pt x="24" y="27"/>
                        <a:pt x="24" y="27"/>
                      </a:cubicBezTo>
                      <a:cubicBezTo>
                        <a:pt x="20" y="27"/>
                        <a:pt x="17" y="26"/>
                        <a:pt x="17" y="26"/>
                      </a:cubicBezTo>
                      <a:cubicBezTo>
                        <a:pt x="15" y="29"/>
                        <a:pt x="10" y="26"/>
                        <a:pt x="10" y="26"/>
                      </a:cubicBezTo>
                      <a:cubicBezTo>
                        <a:pt x="7" y="26"/>
                        <a:pt x="3" y="25"/>
                        <a:pt x="0" y="25"/>
                      </a:cubicBezTo>
                      <a:cubicBezTo>
                        <a:pt x="3" y="22"/>
                        <a:pt x="5" y="20"/>
                        <a:pt x="5" y="20"/>
                      </a:cubicBezTo>
                      <a:cubicBezTo>
                        <a:pt x="10" y="20"/>
                        <a:pt x="8" y="15"/>
                        <a:pt x="8" y="15"/>
                      </a:cubicBezTo>
                      <a:cubicBezTo>
                        <a:pt x="4" y="9"/>
                        <a:pt x="6" y="9"/>
                        <a:pt x="6" y="9"/>
                      </a:cubicBezTo>
                      <a:cubicBezTo>
                        <a:pt x="7" y="7"/>
                        <a:pt x="12" y="10"/>
                        <a:pt x="13" y="5"/>
                      </a:cubicBezTo>
                      <a:cubicBezTo>
                        <a:pt x="14" y="4"/>
                        <a:pt x="13" y="0"/>
                        <a:pt x="13" y="0"/>
                      </a:cubicBezTo>
                      <a:lnTo>
                        <a:pt x="13" y="0"/>
                      </a:lnTo>
                      <a:lnTo>
                        <a:pt x="16" y="0"/>
                      </a:lnTo>
                      <a:lnTo>
                        <a:pt x="16"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7" name="Freeform 664"/>
                <p:cNvSpPr>
                  <a:spLocks/>
                </p:cNvSpPr>
                <p:nvPr>
                  <p:custDataLst>
                    <p:tags r:id="rId643"/>
                  </p:custDataLst>
                </p:nvPr>
              </p:nvSpPr>
              <p:spPr bwMode="gray">
                <a:xfrm>
                  <a:off x="7353410" y="4870012"/>
                  <a:ext cx="382184" cy="201281"/>
                </a:xfrm>
                <a:custGeom>
                  <a:avLst/>
                  <a:gdLst>
                    <a:gd name="T0" fmla="*/ 6 w 38"/>
                    <a:gd name="T1" fmla="*/ 18 h 18"/>
                    <a:gd name="T2" fmla="*/ 4 w 38"/>
                    <a:gd name="T3" fmla="*/ 14 h 18"/>
                    <a:gd name="T4" fmla="*/ 6 w 38"/>
                    <a:gd name="T5" fmla="*/ 13 h 18"/>
                    <a:gd name="T6" fmla="*/ 8 w 38"/>
                    <a:gd name="T7" fmla="*/ 8 h 18"/>
                    <a:gd name="T8" fmla="*/ 4 w 38"/>
                    <a:gd name="T9" fmla="*/ 10 h 18"/>
                    <a:gd name="T10" fmla="*/ 0 w 38"/>
                    <a:gd name="T11" fmla="*/ 11 h 18"/>
                    <a:gd name="T12" fmla="*/ 1 w 38"/>
                    <a:gd name="T13" fmla="*/ 10 h 18"/>
                    <a:gd name="T14" fmla="*/ 4 w 38"/>
                    <a:gd name="T15" fmla="*/ 6 h 18"/>
                    <a:gd name="T16" fmla="*/ 8 w 38"/>
                    <a:gd name="T17" fmla="*/ 5 h 18"/>
                    <a:gd name="T18" fmla="*/ 13 w 38"/>
                    <a:gd name="T19" fmla="*/ 3 h 18"/>
                    <a:gd name="T20" fmla="*/ 15 w 38"/>
                    <a:gd name="T21" fmla="*/ 4 h 18"/>
                    <a:gd name="T22" fmla="*/ 21 w 38"/>
                    <a:gd name="T23" fmla="*/ 4 h 18"/>
                    <a:gd name="T24" fmla="*/ 25 w 38"/>
                    <a:gd name="T25" fmla="*/ 2 h 18"/>
                    <a:gd name="T26" fmla="*/ 28 w 38"/>
                    <a:gd name="T27" fmla="*/ 2 h 18"/>
                    <a:gd name="T28" fmla="*/ 33 w 38"/>
                    <a:gd name="T29" fmla="*/ 0 h 18"/>
                    <a:gd name="T30" fmla="*/ 35 w 38"/>
                    <a:gd name="T31" fmla="*/ 1 h 18"/>
                    <a:gd name="T32" fmla="*/ 37 w 38"/>
                    <a:gd name="T33" fmla="*/ 1 h 18"/>
                    <a:gd name="T34" fmla="*/ 38 w 38"/>
                    <a:gd name="T35" fmla="*/ 2 h 18"/>
                    <a:gd name="T36" fmla="*/ 36 w 38"/>
                    <a:gd name="T37" fmla="*/ 5 h 18"/>
                    <a:gd name="T38" fmla="*/ 32 w 38"/>
                    <a:gd name="T39" fmla="*/ 8 h 18"/>
                    <a:gd name="T40" fmla="*/ 28 w 38"/>
                    <a:gd name="T41" fmla="*/ 9 h 18"/>
                    <a:gd name="T42" fmla="*/ 26 w 38"/>
                    <a:gd name="T43" fmla="*/ 12 h 18"/>
                    <a:gd name="T44" fmla="*/ 21 w 38"/>
                    <a:gd name="T45" fmla="*/ 12 h 18"/>
                    <a:gd name="T46" fmla="*/ 15 w 38"/>
                    <a:gd name="T47" fmla="*/ 15 h 18"/>
                    <a:gd name="T48" fmla="*/ 9 w 38"/>
                    <a:gd name="T49" fmla="*/ 17 h 18"/>
                    <a:gd name="T50" fmla="*/ 6 w 38"/>
                    <a:gd name="T51" fmla="*/ 18 h 18"/>
                    <a:gd name="T52" fmla="*/ 6 w 38"/>
                    <a:gd name="T53" fmla="*/ 18 h 18"/>
                    <a:gd name="T54" fmla="*/ 6 w 38"/>
                    <a:gd name="T5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18">
                      <a:moveTo>
                        <a:pt x="6" y="18"/>
                      </a:moveTo>
                      <a:cubicBezTo>
                        <a:pt x="2" y="17"/>
                        <a:pt x="4" y="14"/>
                        <a:pt x="4" y="14"/>
                      </a:cubicBezTo>
                      <a:cubicBezTo>
                        <a:pt x="5" y="14"/>
                        <a:pt x="4" y="12"/>
                        <a:pt x="6" y="13"/>
                      </a:cubicBezTo>
                      <a:cubicBezTo>
                        <a:pt x="10" y="9"/>
                        <a:pt x="8" y="8"/>
                        <a:pt x="8" y="8"/>
                      </a:cubicBezTo>
                      <a:cubicBezTo>
                        <a:pt x="7" y="7"/>
                        <a:pt x="4" y="10"/>
                        <a:pt x="4" y="10"/>
                      </a:cubicBezTo>
                      <a:cubicBezTo>
                        <a:pt x="1" y="12"/>
                        <a:pt x="0" y="11"/>
                        <a:pt x="0" y="11"/>
                      </a:cubicBezTo>
                      <a:cubicBezTo>
                        <a:pt x="1" y="11"/>
                        <a:pt x="1" y="11"/>
                        <a:pt x="1" y="10"/>
                      </a:cubicBezTo>
                      <a:cubicBezTo>
                        <a:pt x="3" y="9"/>
                        <a:pt x="3" y="8"/>
                        <a:pt x="4" y="6"/>
                      </a:cubicBezTo>
                      <a:cubicBezTo>
                        <a:pt x="5" y="4"/>
                        <a:pt x="8" y="5"/>
                        <a:pt x="8" y="5"/>
                      </a:cubicBezTo>
                      <a:cubicBezTo>
                        <a:pt x="8" y="4"/>
                        <a:pt x="13" y="3"/>
                        <a:pt x="13" y="3"/>
                      </a:cubicBezTo>
                      <a:cubicBezTo>
                        <a:pt x="15" y="3"/>
                        <a:pt x="14" y="4"/>
                        <a:pt x="15" y="4"/>
                      </a:cubicBezTo>
                      <a:cubicBezTo>
                        <a:pt x="17" y="4"/>
                        <a:pt x="19" y="3"/>
                        <a:pt x="21" y="4"/>
                      </a:cubicBezTo>
                      <a:cubicBezTo>
                        <a:pt x="21" y="4"/>
                        <a:pt x="24" y="1"/>
                        <a:pt x="25" y="2"/>
                      </a:cubicBezTo>
                      <a:cubicBezTo>
                        <a:pt x="27" y="4"/>
                        <a:pt x="28" y="2"/>
                        <a:pt x="28" y="2"/>
                      </a:cubicBezTo>
                      <a:cubicBezTo>
                        <a:pt x="28" y="1"/>
                        <a:pt x="31" y="0"/>
                        <a:pt x="33" y="0"/>
                      </a:cubicBezTo>
                      <a:cubicBezTo>
                        <a:pt x="34" y="0"/>
                        <a:pt x="35" y="1"/>
                        <a:pt x="35" y="1"/>
                      </a:cubicBezTo>
                      <a:cubicBezTo>
                        <a:pt x="36" y="1"/>
                        <a:pt x="36" y="1"/>
                        <a:pt x="37" y="1"/>
                      </a:cubicBezTo>
                      <a:cubicBezTo>
                        <a:pt x="37" y="1"/>
                        <a:pt x="38" y="2"/>
                        <a:pt x="38" y="2"/>
                      </a:cubicBezTo>
                      <a:cubicBezTo>
                        <a:pt x="38" y="3"/>
                        <a:pt x="36" y="4"/>
                        <a:pt x="36" y="5"/>
                      </a:cubicBezTo>
                      <a:cubicBezTo>
                        <a:pt x="34" y="5"/>
                        <a:pt x="34" y="7"/>
                        <a:pt x="32" y="8"/>
                      </a:cubicBezTo>
                      <a:cubicBezTo>
                        <a:pt x="31" y="9"/>
                        <a:pt x="29" y="7"/>
                        <a:pt x="28" y="9"/>
                      </a:cubicBezTo>
                      <a:cubicBezTo>
                        <a:pt x="27" y="10"/>
                        <a:pt x="26" y="11"/>
                        <a:pt x="26" y="12"/>
                      </a:cubicBezTo>
                      <a:cubicBezTo>
                        <a:pt x="24" y="12"/>
                        <a:pt x="23" y="11"/>
                        <a:pt x="21" y="12"/>
                      </a:cubicBezTo>
                      <a:cubicBezTo>
                        <a:pt x="19" y="13"/>
                        <a:pt x="18" y="15"/>
                        <a:pt x="15" y="15"/>
                      </a:cubicBezTo>
                      <a:cubicBezTo>
                        <a:pt x="13" y="16"/>
                        <a:pt x="11" y="16"/>
                        <a:pt x="9" y="17"/>
                      </a:cubicBezTo>
                      <a:cubicBezTo>
                        <a:pt x="7" y="17"/>
                        <a:pt x="6" y="18"/>
                        <a:pt x="6" y="18"/>
                      </a:cubicBezTo>
                      <a:lnTo>
                        <a:pt x="6" y="18"/>
                      </a:lnTo>
                      <a:lnTo>
                        <a:pt x="6" y="18"/>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8" name="Freeform 665"/>
                <p:cNvSpPr>
                  <a:spLocks/>
                </p:cNvSpPr>
                <p:nvPr>
                  <p:custDataLst>
                    <p:tags r:id="rId644"/>
                  </p:custDataLst>
                </p:nvPr>
              </p:nvSpPr>
              <p:spPr bwMode="gray">
                <a:xfrm>
                  <a:off x="6730069" y="3794413"/>
                  <a:ext cx="321542" cy="424579"/>
                </a:xfrm>
                <a:custGeom>
                  <a:avLst/>
                  <a:gdLst>
                    <a:gd name="T0" fmla="*/ 23 w 32"/>
                    <a:gd name="T1" fmla="*/ 11 h 38"/>
                    <a:gd name="T2" fmla="*/ 22 w 32"/>
                    <a:gd name="T3" fmla="*/ 12 h 38"/>
                    <a:gd name="T4" fmla="*/ 21 w 32"/>
                    <a:gd name="T5" fmla="*/ 16 h 38"/>
                    <a:gd name="T6" fmla="*/ 25 w 32"/>
                    <a:gd name="T7" fmla="*/ 21 h 38"/>
                    <a:gd name="T8" fmla="*/ 28 w 32"/>
                    <a:gd name="T9" fmla="*/ 25 h 38"/>
                    <a:gd name="T10" fmla="*/ 31 w 32"/>
                    <a:gd name="T11" fmla="*/ 24 h 38"/>
                    <a:gd name="T12" fmla="*/ 31 w 32"/>
                    <a:gd name="T13" fmla="*/ 24 h 38"/>
                    <a:gd name="T14" fmla="*/ 31 w 32"/>
                    <a:gd name="T15" fmla="*/ 28 h 38"/>
                    <a:gd name="T16" fmla="*/ 31 w 32"/>
                    <a:gd name="T17" fmla="*/ 28 h 38"/>
                    <a:gd name="T18" fmla="*/ 29 w 32"/>
                    <a:gd name="T19" fmla="*/ 31 h 38"/>
                    <a:gd name="T20" fmla="*/ 25 w 32"/>
                    <a:gd name="T21" fmla="*/ 31 h 38"/>
                    <a:gd name="T22" fmla="*/ 18 w 32"/>
                    <a:gd name="T23" fmla="*/ 34 h 38"/>
                    <a:gd name="T24" fmla="*/ 19 w 32"/>
                    <a:gd name="T25" fmla="*/ 36 h 38"/>
                    <a:gd name="T26" fmla="*/ 14 w 32"/>
                    <a:gd name="T27" fmla="*/ 38 h 38"/>
                    <a:gd name="T28" fmla="*/ 9 w 32"/>
                    <a:gd name="T29" fmla="*/ 34 h 38"/>
                    <a:gd name="T30" fmla="*/ 11 w 32"/>
                    <a:gd name="T31" fmla="*/ 28 h 38"/>
                    <a:gd name="T32" fmla="*/ 8 w 32"/>
                    <a:gd name="T33" fmla="*/ 24 h 38"/>
                    <a:gd name="T34" fmla="*/ 2 w 32"/>
                    <a:gd name="T35" fmla="*/ 18 h 38"/>
                    <a:gd name="T36" fmla="*/ 0 w 32"/>
                    <a:gd name="T37" fmla="*/ 15 h 38"/>
                    <a:gd name="T38" fmla="*/ 5 w 32"/>
                    <a:gd name="T39" fmla="*/ 7 h 38"/>
                    <a:gd name="T40" fmla="*/ 13 w 32"/>
                    <a:gd name="T41" fmla="*/ 0 h 38"/>
                    <a:gd name="T42" fmla="*/ 23 w 32"/>
                    <a:gd name="T43" fmla="*/ 11 h 38"/>
                    <a:gd name="T44" fmla="*/ 23 w 32"/>
                    <a:gd name="T45" fmla="*/ 11 h 38"/>
                    <a:gd name="T46" fmla="*/ 23 w 32"/>
                    <a:gd name="T47"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8">
                      <a:moveTo>
                        <a:pt x="23" y="11"/>
                      </a:moveTo>
                      <a:cubicBezTo>
                        <a:pt x="23" y="11"/>
                        <a:pt x="22" y="12"/>
                        <a:pt x="22" y="12"/>
                      </a:cubicBezTo>
                      <a:cubicBezTo>
                        <a:pt x="23" y="18"/>
                        <a:pt x="21" y="16"/>
                        <a:pt x="21" y="16"/>
                      </a:cubicBezTo>
                      <a:cubicBezTo>
                        <a:pt x="21" y="19"/>
                        <a:pt x="25" y="19"/>
                        <a:pt x="25" y="21"/>
                      </a:cubicBezTo>
                      <a:cubicBezTo>
                        <a:pt x="29" y="21"/>
                        <a:pt x="28" y="25"/>
                        <a:pt x="28" y="25"/>
                      </a:cubicBezTo>
                      <a:cubicBezTo>
                        <a:pt x="29" y="27"/>
                        <a:pt x="31" y="24"/>
                        <a:pt x="31" y="24"/>
                      </a:cubicBezTo>
                      <a:lnTo>
                        <a:pt x="31" y="24"/>
                      </a:lnTo>
                      <a:lnTo>
                        <a:pt x="31" y="28"/>
                      </a:lnTo>
                      <a:lnTo>
                        <a:pt x="31" y="28"/>
                      </a:lnTo>
                      <a:cubicBezTo>
                        <a:pt x="32" y="30"/>
                        <a:pt x="29" y="31"/>
                        <a:pt x="29" y="31"/>
                      </a:cubicBezTo>
                      <a:cubicBezTo>
                        <a:pt x="26" y="30"/>
                        <a:pt x="25" y="31"/>
                        <a:pt x="25" y="31"/>
                      </a:cubicBezTo>
                      <a:cubicBezTo>
                        <a:pt x="19" y="31"/>
                        <a:pt x="18" y="34"/>
                        <a:pt x="18" y="34"/>
                      </a:cubicBezTo>
                      <a:cubicBezTo>
                        <a:pt x="17" y="36"/>
                        <a:pt x="19" y="36"/>
                        <a:pt x="19" y="36"/>
                      </a:cubicBezTo>
                      <a:cubicBezTo>
                        <a:pt x="18" y="38"/>
                        <a:pt x="14" y="38"/>
                        <a:pt x="14" y="38"/>
                      </a:cubicBezTo>
                      <a:cubicBezTo>
                        <a:pt x="10" y="37"/>
                        <a:pt x="9" y="34"/>
                        <a:pt x="9" y="34"/>
                      </a:cubicBezTo>
                      <a:cubicBezTo>
                        <a:pt x="9" y="26"/>
                        <a:pt x="11" y="28"/>
                        <a:pt x="11" y="28"/>
                      </a:cubicBezTo>
                      <a:cubicBezTo>
                        <a:pt x="12" y="22"/>
                        <a:pt x="8" y="24"/>
                        <a:pt x="8" y="24"/>
                      </a:cubicBezTo>
                      <a:cubicBezTo>
                        <a:pt x="6" y="22"/>
                        <a:pt x="2" y="18"/>
                        <a:pt x="2" y="18"/>
                      </a:cubicBezTo>
                      <a:cubicBezTo>
                        <a:pt x="1" y="17"/>
                        <a:pt x="0" y="16"/>
                        <a:pt x="0" y="15"/>
                      </a:cubicBezTo>
                      <a:cubicBezTo>
                        <a:pt x="3" y="14"/>
                        <a:pt x="5" y="7"/>
                        <a:pt x="5" y="7"/>
                      </a:cubicBezTo>
                      <a:cubicBezTo>
                        <a:pt x="11" y="4"/>
                        <a:pt x="13" y="0"/>
                        <a:pt x="13" y="0"/>
                      </a:cubicBezTo>
                      <a:cubicBezTo>
                        <a:pt x="16" y="0"/>
                        <a:pt x="23" y="11"/>
                        <a:pt x="23" y="11"/>
                      </a:cubicBezTo>
                      <a:lnTo>
                        <a:pt x="23" y="11"/>
                      </a:lnTo>
                      <a:lnTo>
                        <a:pt x="23"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29" name="Freeform 666"/>
                <p:cNvSpPr>
                  <a:spLocks/>
                </p:cNvSpPr>
                <p:nvPr>
                  <p:custDataLst>
                    <p:tags r:id="rId645"/>
                  </p:custDataLst>
                </p:nvPr>
              </p:nvSpPr>
              <p:spPr bwMode="gray">
                <a:xfrm>
                  <a:off x="6477631" y="3031745"/>
                  <a:ext cx="654366" cy="885325"/>
                </a:xfrm>
                <a:custGeom>
                  <a:avLst/>
                  <a:gdLst>
                    <a:gd name="T0" fmla="*/ 48 w 65"/>
                    <a:gd name="T1" fmla="*/ 79 h 79"/>
                    <a:gd name="T2" fmla="*/ 38 w 65"/>
                    <a:gd name="T3" fmla="*/ 68 h 79"/>
                    <a:gd name="T4" fmla="*/ 27 w 65"/>
                    <a:gd name="T5" fmla="*/ 63 h 79"/>
                    <a:gd name="T6" fmla="*/ 18 w 65"/>
                    <a:gd name="T7" fmla="*/ 58 h 79"/>
                    <a:gd name="T8" fmla="*/ 18 w 65"/>
                    <a:gd name="T9" fmla="*/ 58 h 79"/>
                    <a:gd name="T10" fmla="*/ 16 w 65"/>
                    <a:gd name="T11" fmla="*/ 55 h 79"/>
                    <a:gd name="T12" fmla="*/ 16 w 65"/>
                    <a:gd name="T13" fmla="*/ 55 h 79"/>
                    <a:gd name="T14" fmla="*/ 7 w 65"/>
                    <a:gd name="T15" fmla="*/ 59 h 79"/>
                    <a:gd name="T16" fmla="*/ 6 w 65"/>
                    <a:gd name="T17" fmla="*/ 52 h 79"/>
                    <a:gd name="T18" fmla="*/ 0 w 65"/>
                    <a:gd name="T19" fmla="*/ 45 h 79"/>
                    <a:gd name="T20" fmla="*/ 3 w 65"/>
                    <a:gd name="T21" fmla="*/ 40 h 79"/>
                    <a:gd name="T22" fmla="*/ 8 w 65"/>
                    <a:gd name="T23" fmla="*/ 36 h 79"/>
                    <a:gd name="T24" fmla="*/ 8 w 65"/>
                    <a:gd name="T25" fmla="*/ 29 h 79"/>
                    <a:gd name="T26" fmla="*/ 5 w 65"/>
                    <a:gd name="T27" fmla="*/ 26 h 79"/>
                    <a:gd name="T28" fmla="*/ 8 w 65"/>
                    <a:gd name="T29" fmla="*/ 25 h 79"/>
                    <a:gd name="T30" fmla="*/ 7 w 65"/>
                    <a:gd name="T31" fmla="*/ 21 h 79"/>
                    <a:gd name="T32" fmla="*/ 9 w 65"/>
                    <a:gd name="T33" fmla="*/ 17 h 79"/>
                    <a:gd name="T34" fmla="*/ 11 w 65"/>
                    <a:gd name="T35" fmla="*/ 13 h 79"/>
                    <a:gd name="T36" fmla="*/ 14 w 65"/>
                    <a:gd name="T37" fmla="*/ 11 h 79"/>
                    <a:gd name="T38" fmla="*/ 17 w 65"/>
                    <a:gd name="T39" fmla="*/ 10 h 79"/>
                    <a:gd name="T40" fmla="*/ 21 w 65"/>
                    <a:gd name="T41" fmla="*/ 9 h 79"/>
                    <a:gd name="T42" fmla="*/ 23 w 65"/>
                    <a:gd name="T43" fmla="*/ 7 h 79"/>
                    <a:gd name="T44" fmla="*/ 23 w 65"/>
                    <a:gd name="T45" fmla="*/ 3 h 79"/>
                    <a:gd name="T46" fmla="*/ 29 w 65"/>
                    <a:gd name="T47" fmla="*/ 2 h 79"/>
                    <a:gd name="T48" fmla="*/ 33 w 65"/>
                    <a:gd name="T49" fmla="*/ 3 h 79"/>
                    <a:gd name="T50" fmla="*/ 33 w 65"/>
                    <a:gd name="T51" fmla="*/ 3 h 79"/>
                    <a:gd name="T52" fmla="*/ 29 w 65"/>
                    <a:gd name="T53" fmla="*/ 8 h 79"/>
                    <a:gd name="T54" fmla="*/ 36 w 65"/>
                    <a:gd name="T55" fmla="*/ 16 h 79"/>
                    <a:gd name="T56" fmla="*/ 36 w 65"/>
                    <a:gd name="T57" fmla="*/ 16 h 79"/>
                    <a:gd name="T58" fmla="*/ 27 w 65"/>
                    <a:gd name="T59" fmla="*/ 17 h 79"/>
                    <a:gd name="T60" fmla="*/ 19 w 65"/>
                    <a:gd name="T61" fmla="*/ 16 h 79"/>
                    <a:gd name="T62" fmla="*/ 12 w 65"/>
                    <a:gd name="T63" fmla="*/ 24 h 79"/>
                    <a:gd name="T64" fmla="*/ 12 w 65"/>
                    <a:gd name="T65" fmla="*/ 32 h 79"/>
                    <a:gd name="T66" fmla="*/ 17 w 65"/>
                    <a:gd name="T67" fmla="*/ 39 h 79"/>
                    <a:gd name="T68" fmla="*/ 21 w 65"/>
                    <a:gd name="T69" fmla="*/ 47 h 79"/>
                    <a:gd name="T70" fmla="*/ 28 w 65"/>
                    <a:gd name="T71" fmla="*/ 48 h 79"/>
                    <a:gd name="T72" fmla="*/ 33 w 65"/>
                    <a:gd name="T73" fmla="*/ 41 h 79"/>
                    <a:gd name="T74" fmla="*/ 38 w 65"/>
                    <a:gd name="T75" fmla="*/ 40 h 79"/>
                    <a:gd name="T76" fmla="*/ 44 w 65"/>
                    <a:gd name="T77" fmla="*/ 37 h 79"/>
                    <a:gd name="T78" fmla="*/ 49 w 65"/>
                    <a:gd name="T79" fmla="*/ 37 h 79"/>
                    <a:gd name="T80" fmla="*/ 57 w 65"/>
                    <a:gd name="T81" fmla="*/ 37 h 79"/>
                    <a:gd name="T82" fmla="*/ 54 w 65"/>
                    <a:gd name="T83" fmla="*/ 35 h 79"/>
                    <a:gd name="T84" fmla="*/ 60 w 65"/>
                    <a:gd name="T85" fmla="*/ 34 h 79"/>
                    <a:gd name="T86" fmla="*/ 65 w 65"/>
                    <a:gd name="T87" fmla="*/ 37 h 79"/>
                    <a:gd name="T88" fmla="*/ 61 w 65"/>
                    <a:gd name="T89" fmla="*/ 41 h 79"/>
                    <a:gd name="T90" fmla="*/ 59 w 65"/>
                    <a:gd name="T91" fmla="*/ 39 h 79"/>
                    <a:gd name="T92" fmla="*/ 53 w 65"/>
                    <a:gd name="T93" fmla="*/ 42 h 79"/>
                    <a:gd name="T94" fmla="*/ 44 w 65"/>
                    <a:gd name="T95" fmla="*/ 52 h 79"/>
                    <a:gd name="T96" fmla="*/ 38 w 65"/>
                    <a:gd name="T97" fmla="*/ 55 h 79"/>
                    <a:gd name="T98" fmla="*/ 34 w 65"/>
                    <a:gd name="T99" fmla="*/ 55 h 79"/>
                    <a:gd name="T100" fmla="*/ 32 w 65"/>
                    <a:gd name="T101" fmla="*/ 56 h 79"/>
                    <a:gd name="T102" fmla="*/ 35 w 65"/>
                    <a:gd name="T103" fmla="*/ 60 h 79"/>
                    <a:gd name="T104" fmla="*/ 42 w 65"/>
                    <a:gd name="T105" fmla="*/ 67 h 79"/>
                    <a:gd name="T106" fmla="*/ 44 w 65"/>
                    <a:gd name="T107" fmla="*/ 71 h 79"/>
                    <a:gd name="T108" fmla="*/ 47 w 65"/>
                    <a:gd name="T109" fmla="*/ 75 h 79"/>
                    <a:gd name="T110" fmla="*/ 47 w 65"/>
                    <a:gd name="T111" fmla="*/ 75 h 79"/>
                    <a:gd name="T112" fmla="*/ 49 w 65"/>
                    <a:gd name="T113" fmla="*/ 77 h 79"/>
                    <a:gd name="T114" fmla="*/ 49 w 65"/>
                    <a:gd name="T115" fmla="*/ 77 h 79"/>
                    <a:gd name="T116" fmla="*/ 48 w 65"/>
                    <a:gd name="T117" fmla="*/ 79 h 79"/>
                    <a:gd name="T118" fmla="*/ 48 w 65"/>
                    <a:gd name="T119" fmla="*/ 79 h 79"/>
                    <a:gd name="T120" fmla="*/ 48 w 65"/>
                    <a:gd name="T1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 h="79">
                      <a:moveTo>
                        <a:pt x="48" y="79"/>
                      </a:moveTo>
                      <a:cubicBezTo>
                        <a:pt x="48" y="79"/>
                        <a:pt x="41" y="68"/>
                        <a:pt x="38" y="68"/>
                      </a:cubicBezTo>
                      <a:cubicBezTo>
                        <a:pt x="37" y="66"/>
                        <a:pt x="27" y="63"/>
                        <a:pt x="27" y="63"/>
                      </a:cubicBezTo>
                      <a:cubicBezTo>
                        <a:pt x="21" y="62"/>
                        <a:pt x="18" y="58"/>
                        <a:pt x="18" y="58"/>
                      </a:cubicBezTo>
                      <a:lnTo>
                        <a:pt x="18" y="58"/>
                      </a:lnTo>
                      <a:lnTo>
                        <a:pt x="16" y="55"/>
                      </a:lnTo>
                      <a:lnTo>
                        <a:pt x="16" y="55"/>
                      </a:lnTo>
                      <a:cubicBezTo>
                        <a:pt x="11" y="55"/>
                        <a:pt x="7" y="59"/>
                        <a:pt x="7" y="59"/>
                      </a:cubicBezTo>
                      <a:cubicBezTo>
                        <a:pt x="10" y="54"/>
                        <a:pt x="6" y="52"/>
                        <a:pt x="6" y="52"/>
                      </a:cubicBezTo>
                      <a:cubicBezTo>
                        <a:pt x="5" y="47"/>
                        <a:pt x="0" y="45"/>
                        <a:pt x="0" y="45"/>
                      </a:cubicBezTo>
                      <a:cubicBezTo>
                        <a:pt x="0" y="43"/>
                        <a:pt x="2" y="43"/>
                        <a:pt x="3" y="40"/>
                      </a:cubicBezTo>
                      <a:cubicBezTo>
                        <a:pt x="6" y="34"/>
                        <a:pt x="8" y="36"/>
                        <a:pt x="8" y="36"/>
                      </a:cubicBezTo>
                      <a:cubicBezTo>
                        <a:pt x="6" y="32"/>
                        <a:pt x="8" y="29"/>
                        <a:pt x="8" y="29"/>
                      </a:cubicBezTo>
                      <a:cubicBezTo>
                        <a:pt x="8" y="25"/>
                        <a:pt x="5" y="27"/>
                        <a:pt x="5" y="26"/>
                      </a:cubicBezTo>
                      <a:cubicBezTo>
                        <a:pt x="5" y="22"/>
                        <a:pt x="8" y="25"/>
                        <a:pt x="8" y="25"/>
                      </a:cubicBezTo>
                      <a:cubicBezTo>
                        <a:pt x="11" y="23"/>
                        <a:pt x="7" y="21"/>
                        <a:pt x="7" y="21"/>
                      </a:cubicBezTo>
                      <a:cubicBezTo>
                        <a:pt x="7" y="19"/>
                        <a:pt x="9" y="21"/>
                        <a:pt x="9" y="17"/>
                      </a:cubicBezTo>
                      <a:cubicBezTo>
                        <a:pt x="12" y="15"/>
                        <a:pt x="11" y="13"/>
                        <a:pt x="11" y="13"/>
                      </a:cubicBezTo>
                      <a:cubicBezTo>
                        <a:pt x="11" y="11"/>
                        <a:pt x="14" y="11"/>
                        <a:pt x="14" y="11"/>
                      </a:cubicBezTo>
                      <a:cubicBezTo>
                        <a:pt x="14" y="5"/>
                        <a:pt x="17" y="7"/>
                        <a:pt x="17" y="10"/>
                      </a:cubicBezTo>
                      <a:cubicBezTo>
                        <a:pt x="21" y="12"/>
                        <a:pt x="21" y="9"/>
                        <a:pt x="21" y="9"/>
                      </a:cubicBezTo>
                      <a:cubicBezTo>
                        <a:pt x="20" y="7"/>
                        <a:pt x="23" y="7"/>
                        <a:pt x="23" y="7"/>
                      </a:cubicBezTo>
                      <a:cubicBezTo>
                        <a:pt x="24" y="7"/>
                        <a:pt x="23" y="3"/>
                        <a:pt x="23" y="3"/>
                      </a:cubicBezTo>
                      <a:cubicBezTo>
                        <a:pt x="24" y="0"/>
                        <a:pt x="29" y="2"/>
                        <a:pt x="29" y="2"/>
                      </a:cubicBezTo>
                      <a:cubicBezTo>
                        <a:pt x="29" y="3"/>
                        <a:pt x="31" y="3"/>
                        <a:pt x="33" y="3"/>
                      </a:cubicBezTo>
                      <a:lnTo>
                        <a:pt x="33" y="3"/>
                      </a:lnTo>
                      <a:lnTo>
                        <a:pt x="29" y="8"/>
                      </a:lnTo>
                      <a:lnTo>
                        <a:pt x="36" y="16"/>
                      </a:lnTo>
                      <a:lnTo>
                        <a:pt x="36" y="16"/>
                      </a:lnTo>
                      <a:cubicBezTo>
                        <a:pt x="31" y="16"/>
                        <a:pt x="27" y="17"/>
                        <a:pt x="27" y="17"/>
                      </a:cubicBezTo>
                      <a:cubicBezTo>
                        <a:pt x="22" y="15"/>
                        <a:pt x="19" y="16"/>
                        <a:pt x="19" y="16"/>
                      </a:cubicBezTo>
                      <a:cubicBezTo>
                        <a:pt x="13" y="17"/>
                        <a:pt x="12" y="24"/>
                        <a:pt x="12" y="24"/>
                      </a:cubicBezTo>
                      <a:cubicBezTo>
                        <a:pt x="11" y="25"/>
                        <a:pt x="12" y="32"/>
                        <a:pt x="12" y="32"/>
                      </a:cubicBezTo>
                      <a:cubicBezTo>
                        <a:pt x="12" y="40"/>
                        <a:pt x="17" y="39"/>
                        <a:pt x="17" y="39"/>
                      </a:cubicBezTo>
                      <a:cubicBezTo>
                        <a:pt x="20" y="41"/>
                        <a:pt x="21" y="47"/>
                        <a:pt x="21" y="47"/>
                      </a:cubicBezTo>
                      <a:cubicBezTo>
                        <a:pt x="21" y="48"/>
                        <a:pt x="28" y="48"/>
                        <a:pt x="28" y="48"/>
                      </a:cubicBezTo>
                      <a:cubicBezTo>
                        <a:pt x="30" y="43"/>
                        <a:pt x="33" y="41"/>
                        <a:pt x="33" y="41"/>
                      </a:cubicBezTo>
                      <a:cubicBezTo>
                        <a:pt x="36" y="36"/>
                        <a:pt x="38" y="40"/>
                        <a:pt x="38" y="40"/>
                      </a:cubicBezTo>
                      <a:cubicBezTo>
                        <a:pt x="45" y="41"/>
                        <a:pt x="44" y="37"/>
                        <a:pt x="44" y="37"/>
                      </a:cubicBezTo>
                      <a:cubicBezTo>
                        <a:pt x="46" y="35"/>
                        <a:pt x="49" y="37"/>
                        <a:pt x="49" y="37"/>
                      </a:cubicBezTo>
                      <a:cubicBezTo>
                        <a:pt x="51" y="40"/>
                        <a:pt x="53" y="37"/>
                        <a:pt x="57" y="37"/>
                      </a:cubicBezTo>
                      <a:cubicBezTo>
                        <a:pt x="57" y="35"/>
                        <a:pt x="54" y="35"/>
                        <a:pt x="54" y="35"/>
                      </a:cubicBezTo>
                      <a:cubicBezTo>
                        <a:pt x="54" y="32"/>
                        <a:pt x="56" y="36"/>
                        <a:pt x="60" y="34"/>
                      </a:cubicBezTo>
                      <a:cubicBezTo>
                        <a:pt x="63" y="33"/>
                        <a:pt x="65" y="37"/>
                        <a:pt x="65" y="37"/>
                      </a:cubicBezTo>
                      <a:cubicBezTo>
                        <a:pt x="64" y="45"/>
                        <a:pt x="61" y="41"/>
                        <a:pt x="61" y="41"/>
                      </a:cubicBezTo>
                      <a:cubicBezTo>
                        <a:pt x="60" y="37"/>
                        <a:pt x="59" y="39"/>
                        <a:pt x="59" y="39"/>
                      </a:cubicBezTo>
                      <a:cubicBezTo>
                        <a:pt x="54" y="38"/>
                        <a:pt x="53" y="42"/>
                        <a:pt x="53" y="42"/>
                      </a:cubicBezTo>
                      <a:cubicBezTo>
                        <a:pt x="50" y="49"/>
                        <a:pt x="44" y="52"/>
                        <a:pt x="44" y="52"/>
                      </a:cubicBezTo>
                      <a:cubicBezTo>
                        <a:pt x="38" y="52"/>
                        <a:pt x="38" y="55"/>
                        <a:pt x="38" y="55"/>
                      </a:cubicBezTo>
                      <a:cubicBezTo>
                        <a:pt x="37" y="58"/>
                        <a:pt x="34" y="55"/>
                        <a:pt x="34" y="55"/>
                      </a:cubicBezTo>
                      <a:cubicBezTo>
                        <a:pt x="31" y="52"/>
                        <a:pt x="32" y="56"/>
                        <a:pt x="32" y="56"/>
                      </a:cubicBezTo>
                      <a:cubicBezTo>
                        <a:pt x="34" y="57"/>
                        <a:pt x="35" y="60"/>
                        <a:pt x="35" y="60"/>
                      </a:cubicBezTo>
                      <a:cubicBezTo>
                        <a:pt x="41" y="62"/>
                        <a:pt x="42" y="67"/>
                        <a:pt x="42" y="67"/>
                      </a:cubicBezTo>
                      <a:cubicBezTo>
                        <a:pt x="42" y="70"/>
                        <a:pt x="44" y="71"/>
                        <a:pt x="44" y="71"/>
                      </a:cubicBezTo>
                      <a:cubicBezTo>
                        <a:pt x="48" y="73"/>
                        <a:pt x="47" y="75"/>
                        <a:pt x="47" y="75"/>
                      </a:cubicBezTo>
                      <a:lnTo>
                        <a:pt x="47" y="75"/>
                      </a:lnTo>
                      <a:lnTo>
                        <a:pt x="49" y="77"/>
                      </a:lnTo>
                      <a:lnTo>
                        <a:pt x="49" y="77"/>
                      </a:lnTo>
                      <a:cubicBezTo>
                        <a:pt x="49" y="78"/>
                        <a:pt x="49" y="79"/>
                        <a:pt x="48" y="79"/>
                      </a:cubicBezTo>
                      <a:lnTo>
                        <a:pt x="48" y="79"/>
                      </a:lnTo>
                      <a:lnTo>
                        <a:pt x="48" y="7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0" name="Freeform 667"/>
                <p:cNvSpPr>
                  <a:spLocks/>
                </p:cNvSpPr>
                <p:nvPr>
                  <p:custDataLst>
                    <p:tags r:id="rId646"/>
                  </p:custDataLst>
                </p:nvPr>
              </p:nvSpPr>
              <p:spPr bwMode="gray">
                <a:xfrm>
                  <a:off x="6770967" y="2953118"/>
                  <a:ext cx="652956" cy="314502"/>
                </a:xfrm>
                <a:custGeom>
                  <a:avLst/>
                  <a:gdLst>
                    <a:gd name="T0" fmla="*/ 7 w 65"/>
                    <a:gd name="T1" fmla="*/ 23 h 28"/>
                    <a:gd name="T2" fmla="*/ 0 w 65"/>
                    <a:gd name="T3" fmla="*/ 15 h 28"/>
                    <a:gd name="T4" fmla="*/ 4 w 65"/>
                    <a:gd name="T5" fmla="*/ 10 h 28"/>
                    <a:gd name="T6" fmla="*/ 4 w 65"/>
                    <a:gd name="T7" fmla="*/ 10 h 28"/>
                    <a:gd name="T8" fmla="*/ 4 w 65"/>
                    <a:gd name="T9" fmla="*/ 11 h 28"/>
                    <a:gd name="T10" fmla="*/ 8 w 65"/>
                    <a:gd name="T11" fmla="*/ 13 h 28"/>
                    <a:gd name="T12" fmla="*/ 16 w 65"/>
                    <a:gd name="T13" fmla="*/ 14 h 28"/>
                    <a:gd name="T14" fmla="*/ 24 w 65"/>
                    <a:gd name="T15" fmla="*/ 15 h 28"/>
                    <a:gd name="T16" fmla="*/ 29 w 65"/>
                    <a:gd name="T17" fmla="*/ 15 h 28"/>
                    <a:gd name="T18" fmla="*/ 34 w 65"/>
                    <a:gd name="T19" fmla="*/ 16 h 28"/>
                    <a:gd name="T20" fmla="*/ 38 w 65"/>
                    <a:gd name="T21" fmla="*/ 16 h 28"/>
                    <a:gd name="T22" fmla="*/ 43 w 65"/>
                    <a:gd name="T23" fmla="*/ 17 h 28"/>
                    <a:gd name="T24" fmla="*/ 49 w 65"/>
                    <a:gd name="T25" fmla="*/ 14 h 28"/>
                    <a:gd name="T26" fmla="*/ 54 w 65"/>
                    <a:gd name="T27" fmla="*/ 12 h 28"/>
                    <a:gd name="T28" fmla="*/ 53 w 65"/>
                    <a:gd name="T29" fmla="*/ 10 h 28"/>
                    <a:gd name="T30" fmla="*/ 56 w 65"/>
                    <a:gd name="T31" fmla="*/ 8 h 28"/>
                    <a:gd name="T32" fmla="*/ 59 w 65"/>
                    <a:gd name="T33" fmla="*/ 4 h 28"/>
                    <a:gd name="T34" fmla="*/ 63 w 65"/>
                    <a:gd name="T35" fmla="*/ 1 h 28"/>
                    <a:gd name="T36" fmla="*/ 65 w 65"/>
                    <a:gd name="T37" fmla="*/ 7 h 28"/>
                    <a:gd name="T38" fmla="*/ 62 w 65"/>
                    <a:gd name="T39" fmla="*/ 10 h 28"/>
                    <a:gd name="T40" fmla="*/ 57 w 65"/>
                    <a:gd name="T41" fmla="*/ 17 h 28"/>
                    <a:gd name="T42" fmla="*/ 53 w 65"/>
                    <a:gd name="T43" fmla="*/ 23 h 28"/>
                    <a:gd name="T44" fmla="*/ 39 w 65"/>
                    <a:gd name="T45" fmla="*/ 26 h 28"/>
                    <a:gd name="T46" fmla="*/ 30 w 65"/>
                    <a:gd name="T47" fmla="*/ 23 h 28"/>
                    <a:gd name="T48" fmla="*/ 21 w 65"/>
                    <a:gd name="T49" fmla="*/ 22 h 28"/>
                    <a:gd name="T50" fmla="*/ 9 w 65"/>
                    <a:gd name="T51" fmla="*/ 23 h 28"/>
                    <a:gd name="T52" fmla="*/ 7 w 65"/>
                    <a:gd name="T53" fmla="*/ 23 h 28"/>
                    <a:gd name="T54" fmla="*/ 7 w 65"/>
                    <a:gd name="T55" fmla="*/ 23 h 28"/>
                    <a:gd name="T56" fmla="*/ 7 w 65"/>
                    <a:gd name="T57"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 h="28">
                      <a:moveTo>
                        <a:pt x="7" y="23"/>
                      </a:moveTo>
                      <a:lnTo>
                        <a:pt x="0" y="15"/>
                      </a:lnTo>
                      <a:lnTo>
                        <a:pt x="4" y="10"/>
                      </a:lnTo>
                      <a:lnTo>
                        <a:pt x="4" y="10"/>
                      </a:lnTo>
                      <a:cubicBezTo>
                        <a:pt x="4" y="11"/>
                        <a:pt x="4" y="11"/>
                        <a:pt x="4" y="11"/>
                      </a:cubicBezTo>
                      <a:cubicBezTo>
                        <a:pt x="5" y="13"/>
                        <a:pt x="8" y="13"/>
                        <a:pt x="8" y="13"/>
                      </a:cubicBezTo>
                      <a:cubicBezTo>
                        <a:pt x="12" y="12"/>
                        <a:pt x="13" y="14"/>
                        <a:pt x="16" y="14"/>
                      </a:cubicBezTo>
                      <a:cubicBezTo>
                        <a:pt x="17" y="15"/>
                        <a:pt x="24" y="15"/>
                        <a:pt x="24" y="15"/>
                      </a:cubicBezTo>
                      <a:cubicBezTo>
                        <a:pt x="27" y="17"/>
                        <a:pt x="29" y="15"/>
                        <a:pt x="29" y="15"/>
                      </a:cubicBezTo>
                      <a:cubicBezTo>
                        <a:pt x="31" y="14"/>
                        <a:pt x="34" y="16"/>
                        <a:pt x="34" y="16"/>
                      </a:cubicBezTo>
                      <a:cubicBezTo>
                        <a:pt x="35" y="14"/>
                        <a:pt x="38" y="16"/>
                        <a:pt x="38" y="16"/>
                      </a:cubicBezTo>
                      <a:cubicBezTo>
                        <a:pt x="41" y="16"/>
                        <a:pt x="43" y="17"/>
                        <a:pt x="43" y="17"/>
                      </a:cubicBezTo>
                      <a:cubicBezTo>
                        <a:pt x="44" y="15"/>
                        <a:pt x="49" y="14"/>
                        <a:pt x="49" y="14"/>
                      </a:cubicBezTo>
                      <a:cubicBezTo>
                        <a:pt x="50" y="10"/>
                        <a:pt x="54" y="12"/>
                        <a:pt x="54" y="12"/>
                      </a:cubicBezTo>
                      <a:cubicBezTo>
                        <a:pt x="56" y="11"/>
                        <a:pt x="53" y="10"/>
                        <a:pt x="53" y="10"/>
                      </a:cubicBezTo>
                      <a:cubicBezTo>
                        <a:pt x="52" y="8"/>
                        <a:pt x="56" y="8"/>
                        <a:pt x="56" y="8"/>
                      </a:cubicBezTo>
                      <a:cubicBezTo>
                        <a:pt x="57" y="5"/>
                        <a:pt x="59" y="4"/>
                        <a:pt x="59" y="4"/>
                      </a:cubicBezTo>
                      <a:cubicBezTo>
                        <a:pt x="61" y="0"/>
                        <a:pt x="63" y="1"/>
                        <a:pt x="63" y="1"/>
                      </a:cubicBezTo>
                      <a:cubicBezTo>
                        <a:pt x="62" y="5"/>
                        <a:pt x="65" y="7"/>
                        <a:pt x="65" y="7"/>
                      </a:cubicBezTo>
                      <a:cubicBezTo>
                        <a:pt x="62" y="7"/>
                        <a:pt x="62" y="10"/>
                        <a:pt x="62" y="10"/>
                      </a:cubicBezTo>
                      <a:cubicBezTo>
                        <a:pt x="60" y="14"/>
                        <a:pt x="57" y="17"/>
                        <a:pt x="57" y="17"/>
                      </a:cubicBezTo>
                      <a:cubicBezTo>
                        <a:pt x="54" y="20"/>
                        <a:pt x="53" y="23"/>
                        <a:pt x="53" y="23"/>
                      </a:cubicBezTo>
                      <a:cubicBezTo>
                        <a:pt x="46" y="27"/>
                        <a:pt x="39" y="26"/>
                        <a:pt x="39" y="26"/>
                      </a:cubicBezTo>
                      <a:cubicBezTo>
                        <a:pt x="33" y="28"/>
                        <a:pt x="30" y="23"/>
                        <a:pt x="30" y="23"/>
                      </a:cubicBezTo>
                      <a:cubicBezTo>
                        <a:pt x="26" y="25"/>
                        <a:pt x="21" y="22"/>
                        <a:pt x="21" y="22"/>
                      </a:cubicBezTo>
                      <a:cubicBezTo>
                        <a:pt x="12" y="25"/>
                        <a:pt x="10" y="25"/>
                        <a:pt x="9" y="23"/>
                      </a:cubicBezTo>
                      <a:cubicBezTo>
                        <a:pt x="8" y="23"/>
                        <a:pt x="8" y="23"/>
                        <a:pt x="7" y="23"/>
                      </a:cubicBezTo>
                      <a:lnTo>
                        <a:pt x="7" y="23"/>
                      </a:lnTo>
                      <a:lnTo>
                        <a:pt x="7" y="2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1" name="Freeform 668"/>
                <p:cNvSpPr>
                  <a:spLocks/>
                </p:cNvSpPr>
                <p:nvPr>
                  <p:custDataLst>
                    <p:tags r:id="rId647"/>
                  </p:custDataLst>
                </p:nvPr>
              </p:nvSpPr>
              <p:spPr bwMode="gray">
                <a:xfrm>
                  <a:off x="7543796" y="3871464"/>
                  <a:ext cx="191797" cy="157251"/>
                </a:xfrm>
                <a:custGeom>
                  <a:avLst/>
                  <a:gdLst>
                    <a:gd name="T0" fmla="*/ 2 w 19"/>
                    <a:gd name="T1" fmla="*/ 9 h 14"/>
                    <a:gd name="T2" fmla="*/ 0 w 19"/>
                    <a:gd name="T3" fmla="*/ 3 h 14"/>
                    <a:gd name="T4" fmla="*/ 1 w 19"/>
                    <a:gd name="T5" fmla="*/ 1 h 14"/>
                    <a:gd name="T6" fmla="*/ 2 w 19"/>
                    <a:gd name="T7" fmla="*/ 3 h 14"/>
                    <a:gd name="T8" fmla="*/ 5 w 19"/>
                    <a:gd name="T9" fmla="*/ 2 h 14"/>
                    <a:gd name="T10" fmla="*/ 5 w 19"/>
                    <a:gd name="T11" fmla="*/ 2 h 14"/>
                    <a:gd name="T12" fmla="*/ 8 w 19"/>
                    <a:gd name="T13" fmla="*/ 2 h 14"/>
                    <a:gd name="T14" fmla="*/ 8 w 19"/>
                    <a:gd name="T15" fmla="*/ 2 h 14"/>
                    <a:gd name="T16" fmla="*/ 10 w 19"/>
                    <a:gd name="T17" fmla="*/ 0 h 14"/>
                    <a:gd name="T18" fmla="*/ 17 w 19"/>
                    <a:gd name="T19" fmla="*/ 4 h 14"/>
                    <a:gd name="T20" fmla="*/ 16 w 19"/>
                    <a:gd name="T21" fmla="*/ 5 h 14"/>
                    <a:gd name="T22" fmla="*/ 19 w 19"/>
                    <a:gd name="T23" fmla="*/ 7 h 14"/>
                    <a:gd name="T24" fmla="*/ 19 w 19"/>
                    <a:gd name="T25" fmla="*/ 9 h 14"/>
                    <a:gd name="T26" fmla="*/ 10 w 19"/>
                    <a:gd name="T27" fmla="*/ 14 h 14"/>
                    <a:gd name="T28" fmla="*/ 8 w 19"/>
                    <a:gd name="T29" fmla="*/ 13 h 14"/>
                    <a:gd name="T30" fmla="*/ 2 w 19"/>
                    <a:gd name="T31" fmla="*/ 9 h 14"/>
                    <a:gd name="T32" fmla="*/ 2 w 19"/>
                    <a:gd name="T33" fmla="*/ 9 h 14"/>
                    <a:gd name="T34" fmla="*/ 2 w 19"/>
                    <a:gd name="T3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4">
                      <a:moveTo>
                        <a:pt x="2" y="9"/>
                      </a:moveTo>
                      <a:cubicBezTo>
                        <a:pt x="1" y="7"/>
                        <a:pt x="0" y="6"/>
                        <a:pt x="0" y="3"/>
                      </a:cubicBezTo>
                      <a:cubicBezTo>
                        <a:pt x="0" y="2"/>
                        <a:pt x="0" y="1"/>
                        <a:pt x="1" y="1"/>
                      </a:cubicBezTo>
                      <a:cubicBezTo>
                        <a:pt x="2" y="1"/>
                        <a:pt x="2" y="3"/>
                        <a:pt x="2" y="3"/>
                      </a:cubicBezTo>
                      <a:cubicBezTo>
                        <a:pt x="3" y="3"/>
                        <a:pt x="4" y="2"/>
                        <a:pt x="5" y="2"/>
                      </a:cubicBezTo>
                      <a:lnTo>
                        <a:pt x="5" y="2"/>
                      </a:lnTo>
                      <a:lnTo>
                        <a:pt x="8" y="2"/>
                      </a:lnTo>
                      <a:lnTo>
                        <a:pt x="8" y="2"/>
                      </a:lnTo>
                      <a:cubicBezTo>
                        <a:pt x="9" y="1"/>
                        <a:pt x="9" y="0"/>
                        <a:pt x="10" y="0"/>
                      </a:cubicBezTo>
                      <a:cubicBezTo>
                        <a:pt x="13" y="0"/>
                        <a:pt x="15" y="3"/>
                        <a:pt x="17" y="4"/>
                      </a:cubicBezTo>
                      <a:cubicBezTo>
                        <a:pt x="16" y="4"/>
                        <a:pt x="16" y="5"/>
                        <a:pt x="16" y="5"/>
                      </a:cubicBezTo>
                      <a:cubicBezTo>
                        <a:pt x="16" y="5"/>
                        <a:pt x="18" y="7"/>
                        <a:pt x="19" y="7"/>
                      </a:cubicBezTo>
                      <a:cubicBezTo>
                        <a:pt x="19" y="8"/>
                        <a:pt x="18" y="9"/>
                        <a:pt x="19" y="9"/>
                      </a:cubicBezTo>
                      <a:cubicBezTo>
                        <a:pt x="16" y="11"/>
                        <a:pt x="14" y="14"/>
                        <a:pt x="10" y="14"/>
                      </a:cubicBezTo>
                      <a:cubicBezTo>
                        <a:pt x="9" y="14"/>
                        <a:pt x="8" y="13"/>
                        <a:pt x="8" y="13"/>
                      </a:cubicBezTo>
                      <a:cubicBezTo>
                        <a:pt x="6" y="11"/>
                        <a:pt x="3" y="11"/>
                        <a:pt x="2" y="9"/>
                      </a:cubicBezTo>
                      <a:lnTo>
                        <a:pt x="2" y="9"/>
                      </a:lnTo>
                      <a:lnTo>
                        <a:pt x="2"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2" name="Freeform 669"/>
                <p:cNvSpPr>
                  <a:spLocks/>
                </p:cNvSpPr>
                <p:nvPr>
                  <p:custDataLst>
                    <p:tags r:id="rId648"/>
                  </p:custDataLst>
                </p:nvPr>
              </p:nvSpPr>
              <p:spPr bwMode="gray">
                <a:xfrm>
                  <a:off x="7825851" y="3827435"/>
                  <a:ext cx="483722" cy="201281"/>
                </a:xfrm>
                <a:custGeom>
                  <a:avLst/>
                  <a:gdLst>
                    <a:gd name="T0" fmla="*/ 2 w 48"/>
                    <a:gd name="T1" fmla="*/ 13 h 18"/>
                    <a:gd name="T2" fmla="*/ 2 w 48"/>
                    <a:gd name="T3" fmla="*/ 12 h 18"/>
                    <a:gd name="T4" fmla="*/ 4 w 48"/>
                    <a:gd name="T5" fmla="*/ 8 h 18"/>
                    <a:gd name="T6" fmla="*/ 5 w 48"/>
                    <a:gd name="T7" fmla="*/ 5 h 18"/>
                    <a:gd name="T8" fmla="*/ 8 w 48"/>
                    <a:gd name="T9" fmla="*/ 9 h 18"/>
                    <a:gd name="T10" fmla="*/ 12 w 48"/>
                    <a:gd name="T11" fmla="*/ 11 h 18"/>
                    <a:gd name="T12" fmla="*/ 17 w 48"/>
                    <a:gd name="T13" fmla="*/ 7 h 18"/>
                    <a:gd name="T14" fmla="*/ 26 w 48"/>
                    <a:gd name="T15" fmla="*/ 11 h 18"/>
                    <a:gd name="T16" fmla="*/ 26 w 48"/>
                    <a:gd name="T17" fmla="*/ 11 h 18"/>
                    <a:gd name="T18" fmla="*/ 27 w 48"/>
                    <a:gd name="T19" fmla="*/ 11 h 18"/>
                    <a:gd name="T20" fmla="*/ 27 w 48"/>
                    <a:gd name="T21" fmla="*/ 11 h 18"/>
                    <a:gd name="T22" fmla="*/ 27 w 48"/>
                    <a:gd name="T23" fmla="*/ 9 h 18"/>
                    <a:gd name="T24" fmla="*/ 29 w 48"/>
                    <a:gd name="T25" fmla="*/ 8 h 18"/>
                    <a:gd name="T26" fmla="*/ 36 w 48"/>
                    <a:gd name="T27" fmla="*/ 12 h 18"/>
                    <a:gd name="T28" fmla="*/ 37 w 48"/>
                    <a:gd name="T29" fmla="*/ 13 h 18"/>
                    <a:gd name="T30" fmla="*/ 42 w 48"/>
                    <a:gd name="T31" fmla="*/ 15 h 18"/>
                    <a:gd name="T32" fmla="*/ 47 w 48"/>
                    <a:gd name="T33" fmla="*/ 18 h 18"/>
                    <a:gd name="T34" fmla="*/ 48 w 48"/>
                    <a:gd name="T35" fmla="*/ 16 h 18"/>
                    <a:gd name="T36" fmla="*/ 47 w 48"/>
                    <a:gd name="T37" fmla="*/ 10 h 18"/>
                    <a:gd name="T38" fmla="*/ 43 w 48"/>
                    <a:gd name="T39" fmla="*/ 6 h 18"/>
                    <a:gd name="T40" fmla="*/ 38 w 48"/>
                    <a:gd name="T41" fmla="*/ 4 h 18"/>
                    <a:gd name="T42" fmla="*/ 26 w 48"/>
                    <a:gd name="T43" fmla="*/ 0 h 18"/>
                    <a:gd name="T44" fmla="*/ 20 w 48"/>
                    <a:gd name="T45" fmla="*/ 3 h 18"/>
                    <a:gd name="T46" fmla="*/ 20 w 48"/>
                    <a:gd name="T47" fmla="*/ 1 h 18"/>
                    <a:gd name="T48" fmla="*/ 20 w 48"/>
                    <a:gd name="T49" fmla="*/ 1 h 18"/>
                    <a:gd name="T50" fmla="*/ 5 w 48"/>
                    <a:gd name="T51" fmla="*/ 1 h 18"/>
                    <a:gd name="T52" fmla="*/ 5 w 48"/>
                    <a:gd name="T53" fmla="*/ 1 h 18"/>
                    <a:gd name="T54" fmla="*/ 4 w 48"/>
                    <a:gd name="T55" fmla="*/ 4 h 18"/>
                    <a:gd name="T56" fmla="*/ 4 w 48"/>
                    <a:gd name="T57" fmla="*/ 4 h 18"/>
                    <a:gd name="T58" fmla="*/ 0 w 48"/>
                    <a:gd name="T59" fmla="*/ 7 h 18"/>
                    <a:gd name="T60" fmla="*/ 1 w 48"/>
                    <a:gd name="T61" fmla="*/ 8 h 18"/>
                    <a:gd name="T62" fmla="*/ 2 w 48"/>
                    <a:gd name="T63" fmla="*/ 9 h 18"/>
                    <a:gd name="T64" fmla="*/ 2 w 48"/>
                    <a:gd name="T65" fmla="*/ 11 h 18"/>
                    <a:gd name="T66" fmla="*/ 2 w 48"/>
                    <a:gd name="T67" fmla="*/ 11 h 18"/>
                    <a:gd name="T68" fmla="*/ 2 w 48"/>
                    <a:gd name="T69" fmla="*/ 13 h 18"/>
                    <a:gd name="T70" fmla="*/ 2 w 48"/>
                    <a:gd name="T71"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18">
                      <a:moveTo>
                        <a:pt x="2" y="13"/>
                      </a:moveTo>
                      <a:cubicBezTo>
                        <a:pt x="2" y="12"/>
                        <a:pt x="2" y="12"/>
                        <a:pt x="2" y="12"/>
                      </a:cubicBezTo>
                      <a:cubicBezTo>
                        <a:pt x="2" y="11"/>
                        <a:pt x="4" y="8"/>
                        <a:pt x="4" y="8"/>
                      </a:cubicBezTo>
                      <a:cubicBezTo>
                        <a:pt x="4" y="7"/>
                        <a:pt x="4" y="5"/>
                        <a:pt x="5" y="5"/>
                      </a:cubicBezTo>
                      <a:cubicBezTo>
                        <a:pt x="6" y="5"/>
                        <a:pt x="7" y="9"/>
                        <a:pt x="8" y="9"/>
                      </a:cubicBezTo>
                      <a:cubicBezTo>
                        <a:pt x="9" y="11"/>
                        <a:pt x="11" y="11"/>
                        <a:pt x="12" y="11"/>
                      </a:cubicBezTo>
                      <a:cubicBezTo>
                        <a:pt x="15" y="11"/>
                        <a:pt x="15" y="7"/>
                        <a:pt x="17" y="7"/>
                      </a:cubicBezTo>
                      <a:cubicBezTo>
                        <a:pt x="19" y="10"/>
                        <a:pt x="23" y="10"/>
                        <a:pt x="26" y="11"/>
                      </a:cubicBezTo>
                      <a:lnTo>
                        <a:pt x="26" y="11"/>
                      </a:lnTo>
                      <a:lnTo>
                        <a:pt x="27" y="11"/>
                      </a:lnTo>
                      <a:lnTo>
                        <a:pt x="27" y="11"/>
                      </a:lnTo>
                      <a:cubicBezTo>
                        <a:pt x="27" y="10"/>
                        <a:pt x="27" y="10"/>
                        <a:pt x="27" y="9"/>
                      </a:cubicBezTo>
                      <a:cubicBezTo>
                        <a:pt x="27" y="8"/>
                        <a:pt x="28" y="8"/>
                        <a:pt x="29" y="8"/>
                      </a:cubicBezTo>
                      <a:cubicBezTo>
                        <a:pt x="33" y="8"/>
                        <a:pt x="33" y="12"/>
                        <a:pt x="36" y="12"/>
                      </a:cubicBezTo>
                      <a:cubicBezTo>
                        <a:pt x="36" y="13"/>
                        <a:pt x="36" y="13"/>
                        <a:pt x="37" y="13"/>
                      </a:cubicBezTo>
                      <a:cubicBezTo>
                        <a:pt x="39" y="13"/>
                        <a:pt x="41" y="14"/>
                        <a:pt x="42" y="15"/>
                      </a:cubicBezTo>
                      <a:cubicBezTo>
                        <a:pt x="43" y="16"/>
                        <a:pt x="45" y="18"/>
                        <a:pt x="47" y="18"/>
                      </a:cubicBezTo>
                      <a:cubicBezTo>
                        <a:pt x="47" y="18"/>
                        <a:pt x="48" y="17"/>
                        <a:pt x="48" y="16"/>
                      </a:cubicBezTo>
                      <a:cubicBezTo>
                        <a:pt x="48" y="13"/>
                        <a:pt x="47" y="13"/>
                        <a:pt x="47" y="10"/>
                      </a:cubicBezTo>
                      <a:cubicBezTo>
                        <a:pt x="44" y="10"/>
                        <a:pt x="44" y="8"/>
                        <a:pt x="43" y="6"/>
                      </a:cubicBezTo>
                      <a:cubicBezTo>
                        <a:pt x="42" y="4"/>
                        <a:pt x="40" y="4"/>
                        <a:pt x="38" y="4"/>
                      </a:cubicBezTo>
                      <a:cubicBezTo>
                        <a:pt x="32" y="4"/>
                        <a:pt x="31" y="0"/>
                        <a:pt x="26" y="0"/>
                      </a:cubicBezTo>
                      <a:cubicBezTo>
                        <a:pt x="24" y="0"/>
                        <a:pt x="23" y="3"/>
                        <a:pt x="20" y="3"/>
                      </a:cubicBezTo>
                      <a:cubicBezTo>
                        <a:pt x="20" y="3"/>
                        <a:pt x="20" y="1"/>
                        <a:pt x="20" y="1"/>
                      </a:cubicBezTo>
                      <a:lnTo>
                        <a:pt x="20" y="1"/>
                      </a:lnTo>
                      <a:lnTo>
                        <a:pt x="5" y="1"/>
                      </a:lnTo>
                      <a:lnTo>
                        <a:pt x="5" y="1"/>
                      </a:lnTo>
                      <a:cubicBezTo>
                        <a:pt x="5" y="2"/>
                        <a:pt x="4" y="3"/>
                        <a:pt x="4" y="4"/>
                      </a:cubicBezTo>
                      <a:cubicBezTo>
                        <a:pt x="4" y="4"/>
                        <a:pt x="4" y="4"/>
                        <a:pt x="4" y="4"/>
                      </a:cubicBezTo>
                      <a:cubicBezTo>
                        <a:pt x="3" y="6"/>
                        <a:pt x="0" y="6"/>
                        <a:pt x="0" y="7"/>
                      </a:cubicBezTo>
                      <a:cubicBezTo>
                        <a:pt x="0" y="8"/>
                        <a:pt x="1" y="8"/>
                        <a:pt x="1" y="8"/>
                      </a:cubicBezTo>
                      <a:cubicBezTo>
                        <a:pt x="2" y="9"/>
                        <a:pt x="2" y="9"/>
                        <a:pt x="2" y="9"/>
                      </a:cubicBezTo>
                      <a:cubicBezTo>
                        <a:pt x="1" y="10"/>
                        <a:pt x="2" y="11"/>
                        <a:pt x="2" y="11"/>
                      </a:cubicBezTo>
                      <a:lnTo>
                        <a:pt x="2" y="11"/>
                      </a:lnTo>
                      <a:lnTo>
                        <a:pt x="2" y="13"/>
                      </a:lnTo>
                      <a:lnTo>
                        <a:pt x="2" y="1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3" name="Freeform 670"/>
                <p:cNvSpPr>
                  <a:spLocks/>
                </p:cNvSpPr>
                <p:nvPr>
                  <p:custDataLst>
                    <p:tags r:id="rId649"/>
                  </p:custDataLst>
                </p:nvPr>
              </p:nvSpPr>
              <p:spPr bwMode="gray">
                <a:xfrm>
                  <a:off x="7875210" y="3836870"/>
                  <a:ext cx="11282" cy="1573"/>
                </a:xfrm>
                <a:custGeom>
                  <a:avLst/>
                  <a:gdLst>
                    <a:gd name="T0" fmla="*/ 8 w 8"/>
                    <a:gd name="T1" fmla="*/ 0 w 8"/>
                    <a:gd name="T2" fmla="*/ 0 w 8"/>
                    <a:gd name="T3" fmla="*/ 0 w 8"/>
                    <a:gd name="T4" fmla="*/ 0 w 8"/>
                    <a:gd name="T5" fmla="*/ 0 w 8"/>
                    <a:gd name="T6" fmla="*/ 8 w 8"/>
                  </a:gdLst>
                  <a:ahLst/>
                  <a:cxnLst>
                    <a:cxn ang="0">
                      <a:pos x="T0" y="0"/>
                    </a:cxn>
                    <a:cxn ang="0">
                      <a:pos x="T1" y="0"/>
                    </a:cxn>
                    <a:cxn ang="0">
                      <a:pos x="T2" y="0"/>
                    </a:cxn>
                    <a:cxn ang="0">
                      <a:pos x="T3" y="0"/>
                    </a:cxn>
                    <a:cxn ang="0">
                      <a:pos x="T4" y="0"/>
                    </a:cxn>
                    <a:cxn ang="0">
                      <a:pos x="T5" y="0"/>
                    </a:cxn>
                    <a:cxn ang="0">
                      <a:pos x="T6" y="0"/>
                    </a:cxn>
                  </a:cxnLst>
                  <a:rect l="0" t="0" r="r" b="b"/>
                  <a:pathLst>
                    <a:path w="8">
                      <a:moveTo>
                        <a:pt x="8" y="0"/>
                      </a:moveTo>
                      <a:lnTo>
                        <a:pt x="0" y="0"/>
                      </a:lnTo>
                      <a:lnTo>
                        <a:pt x="0" y="0"/>
                      </a:lnTo>
                      <a:lnTo>
                        <a:pt x="0" y="0"/>
                      </a:lnTo>
                      <a:lnTo>
                        <a:pt x="0" y="0"/>
                      </a:lnTo>
                      <a:lnTo>
                        <a:pt x="0" y="0"/>
                      </a:lnTo>
                      <a:lnTo>
                        <a:pt x="8"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4" name="Freeform 671"/>
                <p:cNvSpPr>
                  <a:spLocks/>
                </p:cNvSpPr>
                <p:nvPr>
                  <p:custDataLst>
                    <p:tags r:id="rId650"/>
                  </p:custDataLst>
                </p:nvPr>
              </p:nvSpPr>
              <p:spPr bwMode="gray">
                <a:xfrm>
                  <a:off x="6549554" y="4835416"/>
                  <a:ext cx="521801" cy="157251"/>
                </a:xfrm>
                <a:custGeom>
                  <a:avLst/>
                  <a:gdLst>
                    <a:gd name="T0" fmla="*/ 11 w 52"/>
                    <a:gd name="T1" fmla="*/ 3 h 14"/>
                    <a:gd name="T2" fmla="*/ 16 w 52"/>
                    <a:gd name="T3" fmla="*/ 3 h 14"/>
                    <a:gd name="T4" fmla="*/ 16 w 52"/>
                    <a:gd name="T5" fmla="*/ 3 h 14"/>
                    <a:gd name="T6" fmla="*/ 19 w 52"/>
                    <a:gd name="T7" fmla="*/ 4 h 14"/>
                    <a:gd name="T8" fmla="*/ 27 w 52"/>
                    <a:gd name="T9" fmla="*/ 8 h 14"/>
                    <a:gd name="T10" fmla="*/ 30 w 52"/>
                    <a:gd name="T11" fmla="*/ 6 h 14"/>
                    <a:gd name="T12" fmla="*/ 30 w 52"/>
                    <a:gd name="T13" fmla="*/ 6 h 14"/>
                    <a:gd name="T14" fmla="*/ 34 w 52"/>
                    <a:gd name="T15" fmla="*/ 6 h 14"/>
                    <a:gd name="T16" fmla="*/ 34 w 52"/>
                    <a:gd name="T17" fmla="*/ 6 h 14"/>
                    <a:gd name="T18" fmla="*/ 35 w 52"/>
                    <a:gd name="T19" fmla="*/ 5 h 14"/>
                    <a:gd name="T20" fmla="*/ 40 w 52"/>
                    <a:gd name="T21" fmla="*/ 8 h 14"/>
                    <a:gd name="T22" fmla="*/ 45 w 52"/>
                    <a:gd name="T23" fmla="*/ 5 h 14"/>
                    <a:gd name="T24" fmla="*/ 49 w 52"/>
                    <a:gd name="T25" fmla="*/ 2 h 14"/>
                    <a:gd name="T26" fmla="*/ 49 w 52"/>
                    <a:gd name="T27" fmla="*/ 2 h 14"/>
                    <a:gd name="T28" fmla="*/ 49 w 52"/>
                    <a:gd name="T29" fmla="*/ 1 h 14"/>
                    <a:gd name="T30" fmla="*/ 49 w 52"/>
                    <a:gd name="T31" fmla="*/ 1 h 14"/>
                    <a:gd name="T32" fmla="*/ 48 w 52"/>
                    <a:gd name="T33" fmla="*/ 1 h 14"/>
                    <a:gd name="T34" fmla="*/ 47 w 52"/>
                    <a:gd name="T35" fmla="*/ 2 h 14"/>
                    <a:gd name="T36" fmla="*/ 47 w 52"/>
                    <a:gd name="T37" fmla="*/ 2 h 14"/>
                    <a:gd name="T38" fmla="*/ 49 w 52"/>
                    <a:gd name="T39" fmla="*/ 0 h 14"/>
                    <a:gd name="T40" fmla="*/ 52 w 52"/>
                    <a:gd name="T41" fmla="*/ 2 h 14"/>
                    <a:gd name="T42" fmla="*/ 48 w 52"/>
                    <a:gd name="T43" fmla="*/ 6 h 14"/>
                    <a:gd name="T44" fmla="*/ 49 w 52"/>
                    <a:gd name="T45" fmla="*/ 7 h 14"/>
                    <a:gd name="T46" fmla="*/ 42 w 52"/>
                    <a:gd name="T47" fmla="*/ 10 h 14"/>
                    <a:gd name="T48" fmla="*/ 42 w 52"/>
                    <a:gd name="T49" fmla="*/ 10 h 14"/>
                    <a:gd name="T50" fmla="*/ 39 w 52"/>
                    <a:gd name="T51" fmla="*/ 10 h 14"/>
                    <a:gd name="T52" fmla="*/ 39 w 52"/>
                    <a:gd name="T53" fmla="*/ 10 h 14"/>
                    <a:gd name="T54" fmla="*/ 32 w 52"/>
                    <a:gd name="T55" fmla="*/ 13 h 14"/>
                    <a:gd name="T56" fmla="*/ 28 w 52"/>
                    <a:gd name="T57" fmla="*/ 12 h 14"/>
                    <a:gd name="T58" fmla="*/ 24 w 52"/>
                    <a:gd name="T59" fmla="*/ 14 h 14"/>
                    <a:gd name="T60" fmla="*/ 20 w 52"/>
                    <a:gd name="T61" fmla="*/ 14 h 14"/>
                    <a:gd name="T62" fmla="*/ 17 w 52"/>
                    <a:gd name="T63" fmla="*/ 12 h 14"/>
                    <a:gd name="T64" fmla="*/ 10 w 52"/>
                    <a:gd name="T65" fmla="*/ 12 h 14"/>
                    <a:gd name="T66" fmla="*/ 6 w 52"/>
                    <a:gd name="T67" fmla="*/ 11 h 14"/>
                    <a:gd name="T68" fmla="*/ 3 w 52"/>
                    <a:gd name="T69" fmla="*/ 12 h 14"/>
                    <a:gd name="T70" fmla="*/ 0 w 52"/>
                    <a:gd name="T71" fmla="*/ 11 h 14"/>
                    <a:gd name="T72" fmla="*/ 5 w 52"/>
                    <a:gd name="T73" fmla="*/ 4 h 14"/>
                    <a:gd name="T74" fmla="*/ 10 w 52"/>
                    <a:gd name="T75" fmla="*/ 3 h 14"/>
                    <a:gd name="T76" fmla="*/ 10 w 52"/>
                    <a:gd name="T77" fmla="*/ 2 h 14"/>
                    <a:gd name="T78" fmla="*/ 11 w 52"/>
                    <a:gd name="T79" fmla="*/ 3 h 14"/>
                    <a:gd name="T80" fmla="*/ 11 w 52"/>
                    <a:gd name="T81" fmla="*/ 3 h 14"/>
                    <a:gd name="T82" fmla="*/ 11 w 52"/>
                    <a:gd name="T8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14">
                      <a:moveTo>
                        <a:pt x="11" y="3"/>
                      </a:moveTo>
                      <a:lnTo>
                        <a:pt x="16" y="3"/>
                      </a:lnTo>
                      <a:lnTo>
                        <a:pt x="16" y="3"/>
                      </a:lnTo>
                      <a:cubicBezTo>
                        <a:pt x="16" y="4"/>
                        <a:pt x="18" y="4"/>
                        <a:pt x="19" y="4"/>
                      </a:cubicBezTo>
                      <a:cubicBezTo>
                        <a:pt x="23" y="4"/>
                        <a:pt x="24" y="8"/>
                        <a:pt x="27" y="8"/>
                      </a:cubicBezTo>
                      <a:cubicBezTo>
                        <a:pt x="28" y="8"/>
                        <a:pt x="29" y="6"/>
                        <a:pt x="30" y="6"/>
                      </a:cubicBezTo>
                      <a:lnTo>
                        <a:pt x="30" y="6"/>
                      </a:lnTo>
                      <a:lnTo>
                        <a:pt x="34" y="6"/>
                      </a:lnTo>
                      <a:lnTo>
                        <a:pt x="34" y="6"/>
                      </a:lnTo>
                      <a:cubicBezTo>
                        <a:pt x="34" y="6"/>
                        <a:pt x="34" y="5"/>
                        <a:pt x="35" y="5"/>
                      </a:cubicBezTo>
                      <a:cubicBezTo>
                        <a:pt x="37" y="5"/>
                        <a:pt x="38" y="8"/>
                        <a:pt x="40" y="8"/>
                      </a:cubicBezTo>
                      <a:cubicBezTo>
                        <a:pt x="43" y="8"/>
                        <a:pt x="43" y="6"/>
                        <a:pt x="45" y="5"/>
                      </a:cubicBezTo>
                      <a:cubicBezTo>
                        <a:pt x="46" y="3"/>
                        <a:pt x="49" y="3"/>
                        <a:pt x="49" y="2"/>
                      </a:cubicBezTo>
                      <a:lnTo>
                        <a:pt x="49" y="2"/>
                      </a:lnTo>
                      <a:lnTo>
                        <a:pt x="49" y="1"/>
                      </a:lnTo>
                      <a:lnTo>
                        <a:pt x="49" y="1"/>
                      </a:lnTo>
                      <a:cubicBezTo>
                        <a:pt x="49" y="1"/>
                        <a:pt x="49" y="1"/>
                        <a:pt x="48" y="1"/>
                      </a:cubicBezTo>
                      <a:cubicBezTo>
                        <a:pt x="48" y="2"/>
                        <a:pt x="48" y="2"/>
                        <a:pt x="47" y="2"/>
                      </a:cubicBezTo>
                      <a:cubicBezTo>
                        <a:pt x="47" y="2"/>
                        <a:pt x="47" y="2"/>
                        <a:pt x="47" y="2"/>
                      </a:cubicBezTo>
                      <a:cubicBezTo>
                        <a:pt x="47" y="0"/>
                        <a:pt x="48" y="0"/>
                        <a:pt x="49" y="0"/>
                      </a:cubicBezTo>
                      <a:cubicBezTo>
                        <a:pt x="51" y="0"/>
                        <a:pt x="52" y="1"/>
                        <a:pt x="52" y="2"/>
                      </a:cubicBezTo>
                      <a:cubicBezTo>
                        <a:pt x="52" y="2"/>
                        <a:pt x="49" y="6"/>
                        <a:pt x="48" y="6"/>
                      </a:cubicBezTo>
                      <a:cubicBezTo>
                        <a:pt x="48" y="6"/>
                        <a:pt x="49" y="7"/>
                        <a:pt x="49" y="7"/>
                      </a:cubicBezTo>
                      <a:cubicBezTo>
                        <a:pt x="49" y="9"/>
                        <a:pt x="43" y="10"/>
                        <a:pt x="42" y="10"/>
                      </a:cubicBezTo>
                      <a:lnTo>
                        <a:pt x="42" y="10"/>
                      </a:lnTo>
                      <a:lnTo>
                        <a:pt x="39" y="10"/>
                      </a:lnTo>
                      <a:lnTo>
                        <a:pt x="39" y="10"/>
                      </a:lnTo>
                      <a:cubicBezTo>
                        <a:pt x="36" y="11"/>
                        <a:pt x="34" y="13"/>
                        <a:pt x="32" y="13"/>
                      </a:cubicBezTo>
                      <a:cubicBezTo>
                        <a:pt x="29" y="13"/>
                        <a:pt x="30" y="12"/>
                        <a:pt x="28" y="12"/>
                      </a:cubicBezTo>
                      <a:cubicBezTo>
                        <a:pt x="26" y="12"/>
                        <a:pt x="26" y="14"/>
                        <a:pt x="24" y="14"/>
                      </a:cubicBezTo>
                      <a:cubicBezTo>
                        <a:pt x="22" y="14"/>
                        <a:pt x="22" y="14"/>
                        <a:pt x="20" y="14"/>
                      </a:cubicBezTo>
                      <a:cubicBezTo>
                        <a:pt x="19" y="14"/>
                        <a:pt x="18" y="13"/>
                        <a:pt x="17" y="12"/>
                      </a:cubicBezTo>
                      <a:cubicBezTo>
                        <a:pt x="14" y="12"/>
                        <a:pt x="12" y="13"/>
                        <a:pt x="10" y="12"/>
                      </a:cubicBezTo>
                      <a:cubicBezTo>
                        <a:pt x="8" y="12"/>
                        <a:pt x="7" y="11"/>
                        <a:pt x="6" y="11"/>
                      </a:cubicBezTo>
                      <a:cubicBezTo>
                        <a:pt x="5" y="11"/>
                        <a:pt x="4" y="12"/>
                        <a:pt x="3" y="12"/>
                      </a:cubicBezTo>
                      <a:cubicBezTo>
                        <a:pt x="3" y="12"/>
                        <a:pt x="0" y="11"/>
                        <a:pt x="0" y="11"/>
                      </a:cubicBezTo>
                      <a:cubicBezTo>
                        <a:pt x="0" y="6"/>
                        <a:pt x="4" y="6"/>
                        <a:pt x="5" y="4"/>
                      </a:cubicBezTo>
                      <a:cubicBezTo>
                        <a:pt x="6" y="3"/>
                        <a:pt x="10" y="3"/>
                        <a:pt x="10" y="3"/>
                      </a:cubicBezTo>
                      <a:cubicBezTo>
                        <a:pt x="10" y="3"/>
                        <a:pt x="10" y="2"/>
                        <a:pt x="10" y="2"/>
                      </a:cubicBezTo>
                      <a:cubicBezTo>
                        <a:pt x="11" y="2"/>
                        <a:pt x="11" y="3"/>
                        <a:pt x="11" y="3"/>
                      </a:cubicBezTo>
                      <a:lnTo>
                        <a:pt x="11" y="3"/>
                      </a:lnTo>
                      <a:lnTo>
                        <a:pt x="11" y="3"/>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5" name="Freeform 672"/>
                <p:cNvSpPr>
                  <a:spLocks/>
                </p:cNvSpPr>
                <p:nvPr>
                  <p:custDataLst>
                    <p:tags r:id="rId651"/>
                  </p:custDataLst>
                </p:nvPr>
              </p:nvSpPr>
              <p:spPr bwMode="gray">
                <a:xfrm>
                  <a:off x="6418400" y="5060285"/>
                  <a:ext cx="301798" cy="190275"/>
                </a:xfrm>
                <a:custGeom>
                  <a:avLst/>
                  <a:gdLst>
                    <a:gd name="T0" fmla="*/ 0 w 30"/>
                    <a:gd name="T1" fmla="*/ 5 h 17"/>
                    <a:gd name="T2" fmla="*/ 0 w 30"/>
                    <a:gd name="T3" fmla="*/ 3 h 17"/>
                    <a:gd name="T4" fmla="*/ 0 w 30"/>
                    <a:gd name="T5" fmla="*/ 3 h 17"/>
                    <a:gd name="T6" fmla="*/ 4 w 30"/>
                    <a:gd name="T7" fmla="*/ 1 h 17"/>
                    <a:gd name="T8" fmla="*/ 4 w 30"/>
                    <a:gd name="T9" fmla="*/ 1 h 17"/>
                    <a:gd name="T10" fmla="*/ 9 w 30"/>
                    <a:gd name="T11" fmla="*/ 1 h 17"/>
                    <a:gd name="T12" fmla="*/ 11 w 30"/>
                    <a:gd name="T13" fmla="*/ 0 h 17"/>
                    <a:gd name="T14" fmla="*/ 11 w 30"/>
                    <a:gd name="T15" fmla="*/ 0 h 17"/>
                    <a:gd name="T16" fmla="*/ 14 w 30"/>
                    <a:gd name="T17" fmla="*/ 1 h 17"/>
                    <a:gd name="T18" fmla="*/ 16 w 30"/>
                    <a:gd name="T19" fmla="*/ 1 h 17"/>
                    <a:gd name="T20" fmla="*/ 23 w 30"/>
                    <a:gd name="T21" fmla="*/ 6 h 17"/>
                    <a:gd name="T22" fmla="*/ 30 w 30"/>
                    <a:gd name="T23" fmla="*/ 13 h 17"/>
                    <a:gd name="T24" fmla="*/ 28 w 30"/>
                    <a:gd name="T25" fmla="*/ 16 h 17"/>
                    <a:gd name="T26" fmla="*/ 23 w 30"/>
                    <a:gd name="T27" fmla="*/ 17 h 17"/>
                    <a:gd name="T28" fmla="*/ 16 w 30"/>
                    <a:gd name="T29" fmla="*/ 12 h 17"/>
                    <a:gd name="T30" fmla="*/ 10 w 30"/>
                    <a:gd name="T31" fmla="*/ 8 h 17"/>
                    <a:gd name="T32" fmla="*/ 10 w 30"/>
                    <a:gd name="T33" fmla="*/ 8 h 17"/>
                    <a:gd name="T34" fmla="*/ 6 w 30"/>
                    <a:gd name="T35" fmla="*/ 8 h 17"/>
                    <a:gd name="T36" fmla="*/ 6 w 30"/>
                    <a:gd name="T37" fmla="*/ 8 h 17"/>
                    <a:gd name="T38" fmla="*/ 2 w 30"/>
                    <a:gd name="T39" fmla="*/ 7 h 17"/>
                    <a:gd name="T40" fmla="*/ 0 w 30"/>
                    <a:gd name="T41" fmla="*/ 5 h 17"/>
                    <a:gd name="T42" fmla="*/ 0 w 30"/>
                    <a:gd name="T43" fmla="*/ 5 h 17"/>
                    <a:gd name="T44" fmla="*/ 0 w 30"/>
                    <a:gd name="T45"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7">
                      <a:moveTo>
                        <a:pt x="0" y="5"/>
                      </a:moveTo>
                      <a:lnTo>
                        <a:pt x="0" y="3"/>
                      </a:lnTo>
                      <a:lnTo>
                        <a:pt x="0" y="3"/>
                      </a:lnTo>
                      <a:cubicBezTo>
                        <a:pt x="1" y="2"/>
                        <a:pt x="2" y="2"/>
                        <a:pt x="4" y="1"/>
                      </a:cubicBezTo>
                      <a:lnTo>
                        <a:pt x="4" y="1"/>
                      </a:lnTo>
                      <a:lnTo>
                        <a:pt x="9" y="1"/>
                      </a:lnTo>
                      <a:lnTo>
                        <a:pt x="11" y="0"/>
                      </a:lnTo>
                      <a:lnTo>
                        <a:pt x="11" y="0"/>
                      </a:lnTo>
                      <a:cubicBezTo>
                        <a:pt x="12" y="1"/>
                        <a:pt x="13" y="1"/>
                        <a:pt x="14" y="1"/>
                      </a:cubicBezTo>
                      <a:cubicBezTo>
                        <a:pt x="14" y="1"/>
                        <a:pt x="15" y="1"/>
                        <a:pt x="16" y="1"/>
                      </a:cubicBezTo>
                      <a:cubicBezTo>
                        <a:pt x="19" y="1"/>
                        <a:pt x="19" y="6"/>
                        <a:pt x="23" y="6"/>
                      </a:cubicBezTo>
                      <a:cubicBezTo>
                        <a:pt x="26" y="6"/>
                        <a:pt x="29" y="10"/>
                        <a:pt x="30" y="13"/>
                      </a:cubicBezTo>
                      <a:cubicBezTo>
                        <a:pt x="29" y="14"/>
                        <a:pt x="29" y="15"/>
                        <a:pt x="28" y="16"/>
                      </a:cubicBezTo>
                      <a:cubicBezTo>
                        <a:pt x="27" y="17"/>
                        <a:pt x="25" y="17"/>
                        <a:pt x="23" y="17"/>
                      </a:cubicBezTo>
                      <a:cubicBezTo>
                        <a:pt x="18" y="17"/>
                        <a:pt x="18" y="14"/>
                        <a:pt x="16" y="12"/>
                      </a:cubicBezTo>
                      <a:cubicBezTo>
                        <a:pt x="15" y="11"/>
                        <a:pt x="11" y="10"/>
                        <a:pt x="10" y="8"/>
                      </a:cubicBezTo>
                      <a:lnTo>
                        <a:pt x="10" y="8"/>
                      </a:lnTo>
                      <a:lnTo>
                        <a:pt x="6" y="8"/>
                      </a:lnTo>
                      <a:lnTo>
                        <a:pt x="6" y="8"/>
                      </a:lnTo>
                      <a:cubicBezTo>
                        <a:pt x="5" y="8"/>
                        <a:pt x="3" y="8"/>
                        <a:pt x="2" y="7"/>
                      </a:cubicBezTo>
                      <a:cubicBezTo>
                        <a:pt x="2" y="7"/>
                        <a:pt x="0" y="5"/>
                        <a:pt x="0" y="5"/>
                      </a:cubicBezTo>
                      <a:lnTo>
                        <a:pt x="0" y="5"/>
                      </a:lnTo>
                      <a:lnTo>
                        <a:pt x="0"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6" name="Freeform 673"/>
                <p:cNvSpPr>
                  <a:spLocks/>
                </p:cNvSpPr>
                <p:nvPr>
                  <p:custDataLst>
                    <p:tags r:id="rId652"/>
                  </p:custDataLst>
                </p:nvPr>
              </p:nvSpPr>
              <p:spPr bwMode="gray">
                <a:xfrm>
                  <a:off x="5926215" y="4846424"/>
                  <a:ext cx="150899" cy="133664"/>
                </a:xfrm>
                <a:custGeom>
                  <a:avLst/>
                  <a:gdLst>
                    <a:gd name="T0" fmla="*/ 4 w 15"/>
                    <a:gd name="T1" fmla="*/ 10 h 12"/>
                    <a:gd name="T2" fmla="*/ 4 w 15"/>
                    <a:gd name="T3" fmla="*/ 8 h 12"/>
                    <a:gd name="T4" fmla="*/ 4 w 15"/>
                    <a:gd name="T5" fmla="*/ 8 h 12"/>
                    <a:gd name="T6" fmla="*/ 3 w 15"/>
                    <a:gd name="T7" fmla="*/ 5 h 12"/>
                    <a:gd name="T8" fmla="*/ 12 w 15"/>
                    <a:gd name="T9" fmla="*/ 0 h 12"/>
                    <a:gd name="T10" fmla="*/ 15 w 15"/>
                    <a:gd name="T11" fmla="*/ 3 h 12"/>
                    <a:gd name="T12" fmla="*/ 12 w 15"/>
                    <a:gd name="T13" fmla="*/ 9 h 12"/>
                    <a:gd name="T14" fmla="*/ 11 w 15"/>
                    <a:gd name="T15" fmla="*/ 12 h 12"/>
                    <a:gd name="T16" fmla="*/ 10 w 15"/>
                    <a:gd name="T17" fmla="*/ 11 h 12"/>
                    <a:gd name="T18" fmla="*/ 10 w 15"/>
                    <a:gd name="T19" fmla="*/ 11 h 12"/>
                    <a:gd name="T20" fmla="*/ 9 w 15"/>
                    <a:gd name="T21" fmla="*/ 11 h 12"/>
                    <a:gd name="T22" fmla="*/ 9 w 15"/>
                    <a:gd name="T23" fmla="*/ 11 h 12"/>
                    <a:gd name="T24" fmla="*/ 9 w 15"/>
                    <a:gd name="T25" fmla="*/ 12 h 12"/>
                    <a:gd name="T26" fmla="*/ 7 w 15"/>
                    <a:gd name="T27" fmla="*/ 12 h 12"/>
                    <a:gd name="T28" fmla="*/ 2 w 15"/>
                    <a:gd name="T29" fmla="*/ 12 h 12"/>
                    <a:gd name="T30" fmla="*/ 0 w 15"/>
                    <a:gd name="T31" fmla="*/ 10 h 12"/>
                    <a:gd name="T32" fmla="*/ 4 w 15"/>
                    <a:gd name="T33" fmla="*/ 10 h 12"/>
                    <a:gd name="T34" fmla="*/ 4 w 15"/>
                    <a:gd name="T35" fmla="*/ 10 h 12"/>
                    <a:gd name="T36" fmla="*/ 4 w 15"/>
                    <a:gd name="T3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2">
                      <a:moveTo>
                        <a:pt x="4" y="10"/>
                      </a:moveTo>
                      <a:lnTo>
                        <a:pt x="4" y="8"/>
                      </a:lnTo>
                      <a:lnTo>
                        <a:pt x="4" y="8"/>
                      </a:lnTo>
                      <a:cubicBezTo>
                        <a:pt x="4" y="7"/>
                        <a:pt x="3" y="7"/>
                        <a:pt x="3" y="5"/>
                      </a:cubicBezTo>
                      <a:cubicBezTo>
                        <a:pt x="3" y="1"/>
                        <a:pt x="9" y="0"/>
                        <a:pt x="12" y="0"/>
                      </a:cubicBezTo>
                      <a:cubicBezTo>
                        <a:pt x="14" y="0"/>
                        <a:pt x="15" y="1"/>
                        <a:pt x="15" y="3"/>
                      </a:cubicBezTo>
                      <a:cubicBezTo>
                        <a:pt x="15" y="6"/>
                        <a:pt x="13" y="7"/>
                        <a:pt x="12" y="9"/>
                      </a:cubicBezTo>
                      <a:cubicBezTo>
                        <a:pt x="11" y="10"/>
                        <a:pt x="12" y="12"/>
                        <a:pt x="11" y="12"/>
                      </a:cubicBezTo>
                      <a:cubicBezTo>
                        <a:pt x="11" y="12"/>
                        <a:pt x="10" y="12"/>
                        <a:pt x="10" y="11"/>
                      </a:cubicBezTo>
                      <a:lnTo>
                        <a:pt x="10" y="11"/>
                      </a:lnTo>
                      <a:lnTo>
                        <a:pt x="9" y="11"/>
                      </a:lnTo>
                      <a:lnTo>
                        <a:pt x="9" y="11"/>
                      </a:lnTo>
                      <a:cubicBezTo>
                        <a:pt x="9" y="12"/>
                        <a:pt x="9" y="12"/>
                        <a:pt x="9" y="12"/>
                      </a:cubicBezTo>
                      <a:cubicBezTo>
                        <a:pt x="9" y="12"/>
                        <a:pt x="8" y="12"/>
                        <a:pt x="7" y="12"/>
                      </a:cubicBezTo>
                      <a:cubicBezTo>
                        <a:pt x="5" y="12"/>
                        <a:pt x="4" y="12"/>
                        <a:pt x="2" y="12"/>
                      </a:cubicBezTo>
                      <a:cubicBezTo>
                        <a:pt x="1" y="12"/>
                        <a:pt x="0" y="11"/>
                        <a:pt x="0" y="10"/>
                      </a:cubicBezTo>
                      <a:cubicBezTo>
                        <a:pt x="2" y="9"/>
                        <a:pt x="3" y="10"/>
                        <a:pt x="4" y="10"/>
                      </a:cubicBezTo>
                      <a:lnTo>
                        <a:pt x="4" y="10"/>
                      </a:lnTo>
                      <a:lnTo>
                        <a:pt x="4" y="1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7" name="Freeform 674"/>
                <p:cNvSpPr>
                  <a:spLocks/>
                </p:cNvSpPr>
                <p:nvPr>
                  <p:custDataLst>
                    <p:tags r:id="rId653"/>
                  </p:custDataLst>
                </p:nvPr>
              </p:nvSpPr>
              <p:spPr bwMode="gray">
                <a:xfrm>
                  <a:off x="6067242" y="4835416"/>
                  <a:ext cx="410389" cy="190274"/>
                </a:xfrm>
                <a:custGeom>
                  <a:avLst/>
                  <a:gdLst>
                    <a:gd name="T0" fmla="*/ 0 w 41"/>
                    <a:gd name="T1" fmla="*/ 15 h 17"/>
                    <a:gd name="T2" fmla="*/ 2 w 41"/>
                    <a:gd name="T3" fmla="*/ 12 h 17"/>
                    <a:gd name="T4" fmla="*/ 1 w 41"/>
                    <a:gd name="T5" fmla="*/ 10 h 17"/>
                    <a:gd name="T6" fmla="*/ 1 w 41"/>
                    <a:gd name="T7" fmla="*/ 8 h 17"/>
                    <a:gd name="T8" fmla="*/ 9 w 41"/>
                    <a:gd name="T9" fmla="*/ 4 h 17"/>
                    <a:gd name="T10" fmla="*/ 15 w 41"/>
                    <a:gd name="T11" fmla="*/ 6 h 17"/>
                    <a:gd name="T12" fmla="*/ 16 w 41"/>
                    <a:gd name="T13" fmla="*/ 6 h 17"/>
                    <a:gd name="T14" fmla="*/ 19 w 41"/>
                    <a:gd name="T15" fmla="*/ 10 h 17"/>
                    <a:gd name="T16" fmla="*/ 21 w 41"/>
                    <a:gd name="T17" fmla="*/ 10 h 17"/>
                    <a:gd name="T18" fmla="*/ 20 w 41"/>
                    <a:gd name="T19" fmla="*/ 9 h 17"/>
                    <a:gd name="T20" fmla="*/ 24 w 41"/>
                    <a:gd name="T21" fmla="*/ 8 h 17"/>
                    <a:gd name="T22" fmla="*/ 20 w 41"/>
                    <a:gd name="T23" fmla="*/ 6 h 17"/>
                    <a:gd name="T24" fmla="*/ 16 w 41"/>
                    <a:gd name="T25" fmla="*/ 2 h 17"/>
                    <a:gd name="T26" fmla="*/ 21 w 41"/>
                    <a:gd name="T27" fmla="*/ 0 h 17"/>
                    <a:gd name="T28" fmla="*/ 25 w 41"/>
                    <a:gd name="T29" fmla="*/ 4 h 17"/>
                    <a:gd name="T30" fmla="*/ 27 w 41"/>
                    <a:gd name="T31" fmla="*/ 2 h 17"/>
                    <a:gd name="T32" fmla="*/ 31 w 41"/>
                    <a:gd name="T33" fmla="*/ 2 h 17"/>
                    <a:gd name="T34" fmla="*/ 31 w 41"/>
                    <a:gd name="T35" fmla="*/ 6 h 17"/>
                    <a:gd name="T36" fmla="*/ 32 w 41"/>
                    <a:gd name="T37" fmla="*/ 4 h 17"/>
                    <a:gd name="T38" fmla="*/ 35 w 41"/>
                    <a:gd name="T39" fmla="*/ 3 h 17"/>
                    <a:gd name="T40" fmla="*/ 38 w 41"/>
                    <a:gd name="T41" fmla="*/ 9 h 17"/>
                    <a:gd name="T42" fmla="*/ 39 w 41"/>
                    <a:gd name="T43" fmla="*/ 8 h 17"/>
                    <a:gd name="T44" fmla="*/ 39 w 41"/>
                    <a:gd name="T45" fmla="*/ 8 h 17"/>
                    <a:gd name="T46" fmla="*/ 41 w 41"/>
                    <a:gd name="T47" fmla="*/ 8 h 17"/>
                    <a:gd name="T48" fmla="*/ 41 w 41"/>
                    <a:gd name="T49" fmla="*/ 8 h 17"/>
                    <a:gd name="T50" fmla="*/ 33 w 41"/>
                    <a:gd name="T51" fmla="*/ 13 h 17"/>
                    <a:gd name="T52" fmla="*/ 33 w 41"/>
                    <a:gd name="T53" fmla="*/ 13 h 17"/>
                    <a:gd name="T54" fmla="*/ 34 w 41"/>
                    <a:gd name="T55" fmla="*/ 11 h 17"/>
                    <a:gd name="T56" fmla="*/ 34 w 41"/>
                    <a:gd name="T57" fmla="*/ 10 h 17"/>
                    <a:gd name="T58" fmla="*/ 34 w 41"/>
                    <a:gd name="T59" fmla="*/ 10 h 17"/>
                    <a:gd name="T60" fmla="*/ 34 w 41"/>
                    <a:gd name="T61" fmla="*/ 10 h 17"/>
                    <a:gd name="T62" fmla="*/ 31 w 41"/>
                    <a:gd name="T63" fmla="*/ 12 h 17"/>
                    <a:gd name="T64" fmla="*/ 28 w 41"/>
                    <a:gd name="T65" fmla="*/ 13 h 17"/>
                    <a:gd name="T66" fmla="*/ 28 w 41"/>
                    <a:gd name="T67" fmla="*/ 13 h 17"/>
                    <a:gd name="T68" fmla="*/ 27 w 41"/>
                    <a:gd name="T69" fmla="*/ 13 h 17"/>
                    <a:gd name="T70" fmla="*/ 27 w 41"/>
                    <a:gd name="T71" fmla="*/ 13 h 17"/>
                    <a:gd name="T72" fmla="*/ 27 w 41"/>
                    <a:gd name="T73" fmla="*/ 12 h 17"/>
                    <a:gd name="T74" fmla="*/ 26 w 41"/>
                    <a:gd name="T75" fmla="*/ 9 h 17"/>
                    <a:gd name="T76" fmla="*/ 21 w 41"/>
                    <a:gd name="T77" fmla="*/ 12 h 17"/>
                    <a:gd name="T78" fmla="*/ 17 w 41"/>
                    <a:gd name="T79" fmla="*/ 15 h 17"/>
                    <a:gd name="T80" fmla="*/ 16 w 41"/>
                    <a:gd name="T81" fmla="*/ 14 h 17"/>
                    <a:gd name="T82" fmla="*/ 13 w 41"/>
                    <a:gd name="T83" fmla="*/ 15 h 17"/>
                    <a:gd name="T84" fmla="*/ 9 w 41"/>
                    <a:gd name="T85" fmla="*/ 15 h 17"/>
                    <a:gd name="T86" fmla="*/ 5 w 41"/>
                    <a:gd name="T87" fmla="*/ 17 h 17"/>
                    <a:gd name="T88" fmla="*/ 0 w 41"/>
                    <a:gd name="T89" fmla="*/ 15 h 17"/>
                    <a:gd name="T90" fmla="*/ 0 w 41"/>
                    <a:gd name="T91" fmla="*/ 15 h 17"/>
                    <a:gd name="T92" fmla="*/ 0 w 41"/>
                    <a:gd name="T93"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 h="17">
                      <a:moveTo>
                        <a:pt x="0" y="15"/>
                      </a:moveTo>
                      <a:cubicBezTo>
                        <a:pt x="0" y="15"/>
                        <a:pt x="2" y="12"/>
                        <a:pt x="2" y="12"/>
                      </a:cubicBezTo>
                      <a:cubicBezTo>
                        <a:pt x="1" y="11"/>
                        <a:pt x="1" y="11"/>
                        <a:pt x="1" y="10"/>
                      </a:cubicBezTo>
                      <a:cubicBezTo>
                        <a:pt x="1" y="9"/>
                        <a:pt x="1" y="9"/>
                        <a:pt x="1" y="8"/>
                      </a:cubicBezTo>
                      <a:cubicBezTo>
                        <a:pt x="4" y="8"/>
                        <a:pt x="5" y="4"/>
                        <a:pt x="9" y="4"/>
                      </a:cubicBezTo>
                      <a:cubicBezTo>
                        <a:pt x="11" y="4"/>
                        <a:pt x="13" y="6"/>
                        <a:pt x="15" y="6"/>
                      </a:cubicBezTo>
                      <a:cubicBezTo>
                        <a:pt x="15" y="6"/>
                        <a:pt x="16" y="6"/>
                        <a:pt x="16" y="6"/>
                      </a:cubicBezTo>
                      <a:cubicBezTo>
                        <a:pt x="17" y="7"/>
                        <a:pt x="16" y="10"/>
                        <a:pt x="19" y="10"/>
                      </a:cubicBezTo>
                      <a:cubicBezTo>
                        <a:pt x="20" y="10"/>
                        <a:pt x="20" y="10"/>
                        <a:pt x="21" y="10"/>
                      </a:cubicBezTo>
                      <a:cubicBezTo>
                        <a:pt x="21" y="10"/>
                        <a:pt x="20" y="9"/>
                        <a:pt x="20" y="9"/>
                      </a:cubicBezTo>
                      <a:cubicBezTo>
                        <a:pt x="21" y="9"/>
                        <a:pt x="23" y="9"/>
                        <a:pt x="24" y="8"/>
                      </a:cubicBezTo>
                      <a:cubicBezTo>
                        <a:pt x="23" y="6"/>
                        <a:pt x="22" y="7"/>
                        <a:pt x="20" y="6"/>
                      </a:cubicBezTo>
                      <a:cubicBezTo>
                        <a:pt x="19" y="6"/>
                        <a:pt x="16" y="2"/>
                        <a:pt x="16" y="2"/>
                      </a:cubicBezTo>
                      <a:cubicBezTo>
                        <a:pt x="17" y="1"/>
                        <a:pt x="19" y="0"/>
                        <a:pt x="21" y="0"/>
                      </a:cubicBezTo>
                      <a:cubicBezTo>
                        <a:pt x="24" y="0"/>
                        <a:pt x="23" y="4"/>
                        <a:pt x="25" y="4"/>
                      </a:cubicBezTo>
                      <a:cubicBezTo>
                        <a:pt x="26" y="4"/>
                        <a:pt x="27" y="3"/>
                        <a:pt x="27" y="2"/>
                      </a:cubicBezTo>
                      <a:cubicBezTo>
                        <a:pt x="28" y="2"/>
                        <a:pt x="30" y="4"/>
                        <a:pt x="31" y="2"/>
                      </a:cubicBezTo>
                      <a:cubicBezTo>
                        <a:pt x="31" y="4"/>
                        <a:pt x="31" y="4"/>
                        <a:pt x="31" y="6"/>
                      </a:cubicBezTo>
                      <a:cubicBezTo>
                        <a:pt x="32" y="6"/>
                        <a:pt x="32" y="5"/>
                        <a:pt x="32" y="4"/>
                      </a:cubicBezTo>
                      <a:cubicBezTo>
                        <a:pt x="33" y="4"/>
                        <a:pt x="34" y="3"/>
                        <a:pt x="35" y="3"/>
                      </a:cubicBezTo>
                      <a:cubicBezTo>
                        <a:pt x="37" y="3"/>
                        <a:pt x="36" y="9"/>
                        <a:pt x="38" y="9"/>
                      </a:cubicBezTo>
                      <a:cubicBezTo>
                        <a:pt x="38" y="9"/>
                        <a:pt x="39" y="8"/>
                        <a:pt x="39" y="8"/>
                      </a:cubicBezTo>
                      <a:lnTo>
                        <a:pt x="39" y="8"/>
                      </a:lnTo>
                      <a:lnTo>
                        <a:pt x="41" y="8"/>
                      </a:lnTo>
                      <a:lnTo>
                        <a:pt x="41" y="8"/>
                      </a:lnTo>
                      <a:cubicBezTo>
                        <a:pt x="40" y="10"/>
                        <a:pt x="36" y="13"/>
                        <a:pt x="33" y="13"/>
                      </a:cubicBezTo>
                      <a:lnTo>
                        <a:pt x="33" y="13"/>
                      </a:lnTo>
                      <a:lnTo>
                        <a:pt x="34" y="11"/>
                      </a:lnTo>
                      <a:lnTo>
                        <a:pt x="34" y="10"/>
                      </a:lnTo>
                      <a:lnTo>
                        <a:pt x="34" y="10"/>
                      </a:lnTo>
                      <a:cubicBezTo>
                        <a:pt x="34" y="10"/>
                        <a:pt x="34" y="10"/>
                        <a:pt x="34" y="10"/>
                      </a:cubicBezTo>
                      <a:cubicBezTo>
                        <a:pt x="33" y="12"/>
                        <a:pt x="31" y="12"/>
                        <a:pt x="31" y="12"/>
                      </a:cubicBezTo>
                      <a:cubicBezTo>
                        <a:pt x="30" y="12"/>
                        <a:pt x="28" y="12"/>
                        <a:pt x="28" y="13"/>
                      </a:cubicBezTo>
                      <a:lnTo>
                        <a:pt x="28" y="13"/>
                      </a:lnTo>
                      <a:lnTo>
                        <a:pt x="27" y="13"/>
                      </a:lnTo>
                      <a:lnTo>
                        <a:pt x="27" y="13"/>
                      </a:lnTo>
                      <a:cubicBezTo>
                        <a:pt x="27" y="12"/>
                        <a:pt x="27" y="12"/>
                        <a:pt x="27" y="12"/>
                      </a:cubicBezTo>
                      <a:cubicBezTo>
                        <a:pt x="27" y="10"/>
                        <a:pt x="26" y="9"/>
                        <a:pt x="26" y="9"/>
                      </a:cubicBezTo>
                      <a:cubicBezTo>
                        <a:pt x="26" y="11"/>
                        <a:pt x="23" y="13"/>
                        <a:pt x="21" y="12"/>
                      </a:cubicBezTo>
                      <a:cubicBezTo>
                        <a:pt x="20" y="12"/>
                        <a:pt x="19" y="15"/>
                        <a:pt x="17" y="15"/>
                      </a:cubicBezTo>
                      <a:cubicBezTo>
                        <a:pt x="17" y="15"/>
                        <a:pt x="17" y="14"/>
                        <a:pt x="16" y="14"/>
                      </a:cubicBezTo>
                      <a:cubicBezTo>
                        <a:pt x="15" y="14"/>
                        <a:pt x="14" y="15"/>
                        <a:pt x="13" y="15"/>
                      </a:cubicBezTo>
                      <a:cubicBezTo>
                        <a:pt x="10" y="17"/>
                        <a:pt x="10" y="15"/>
                        <a:pt x="9" y="15"/>
                      </a:cubicBezTo>
                      <a:cubicBezTo>
                        <a:pt x="8" y="15"/>
                        <a:pt x="7" y="17"/>
                        <a:pt x="5" y="17"/>
                      </a:cubicBezTo>
                      <a:cubicBezTo>
                        <a:pt x="4" y="17"/>
                        <a:pt x="0" y="15"/>
                        <a:pt x="0" y="15"/>
                      </a:cubicBezTo>
                      <a:lnTo>
                        <a:pt x="0" y="15"/>
                      </a:lnTo>
                      <a:lnTo>
                        <a:pt x="0" y="1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8" name="Freeform 675"/>
                <p:cNvSpPr>
                  <a:spLocks/>
                </p:cNvSpPr>
                <p:nvPr>
                  <p:custDataLst>
                    <p:tags r:id="rId654"/>
                  </p:custDataLst>
                </p:nvPr>
              </p:nvSpPr>
              <p:spPr bwMode="gray">
                <a:xfrm>
                  <a:off x="5434031" y="4599538"/>
                  <a:ext cx="210130" cy="67618"/>
                </a:xfrm>
                <a:custGeom>
                  <a:avLst/>
                  <a:gdLst>
                    <a:gd name="T0" fmla="*/ 0 w 21"/>
                    <a:gd name="T1" fmla="*/ 4 h 6"/>
                    <a:gd name="T2" fmla="*/ 4 w 21"/>
                    <a:gd name="T3" fmla="*/ 1 h 6"/>
                    <a:gd name="T4" fmla="*/ 8 w 21"/>
                    <a:gd name="T5" fmla="*/ 0 h 6"/>
                    <a:gd name="T6" fmla="*/ 8 w 21"/>
                    <a:gd name="T7" fmla="*/ 0 h 6"/>
                    <a:gd name="T8" fmla="*/ 17 w 21"/>
                    <a:gd name="T9" fmla="*/ 0 h 6"/>
                    <a:gd name="T10" fmla="*/ 17 w 21"/>
                    <a:gd name="T11" fmla="*/ 0 h 6"/>
                    <a:gd name="T12" fmla="*/ 21 w 21"/>
                    <a:gd name="T13" fmla="*/ 1 h 6"/>
                    <a:gd name="T14" fmla="*/ 18 w 21"/>
                    <a:gd name="T15" fmla="*/ 5 h 6"/>
                    <a:gd name="T16" fmla="*/ 16 w 21"/>
                    <a:gd name="T17" fmla="*/ 4 h 6"/>
                    <a:gd name="T18" fmla="*/ 11 w 21"/>
                    <a:gd name="T19" fmla="*/ 6 h 6"/>
                    <a:gd name="T20" fmla="*/ 4 w 21"/>
                    <a:gd name="T21" fmla="*/ 6 h 6"/>
                    <a:gd name="T22" fmla="*/ 3 w 21"/>
                    <a:gd name="T23" fmla="*/ 5 h 6"/>
                    <a:gd name="T24" fmla="*/ 0 w 21"/>
                    <a:gd name="T25" fmla="*/ 4 h 6"/>
                    <a:gd name="T26" fmla="*/ 0 w 21"/>
                    <a:gd name="T27" fmla="*/ 4 h 6"/>
                    <a:gd name="T28" fmla="*/ 0 w 21"/>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6">
                      <a:moveTo>
                        <a:pt x="0" y="4"/>
                      </a:moveTo>
                      <a:cubicBezTo>
                        <a:pt x="1" y="1"/>
                        <a:pt x="2" y="1"/>
                        <a:pt x="4" y="1"/>
                      </a:cubicBezTo>
                      <a:cubicBezTo>
                        <a:pt x="5" y="0"/>
                        <a:pt x="7" y="0"/>
                        <a:pt x="8" y="0"/>
                      </a:cubicBezTo>
                      <a:lnTo>
                        <a:pt x="8" y="0"/>
                      </a:lnTo>
                      <a:lnTo>
                        <a:pt x="17" y="0"/>
                      </a:lnTo>
                      <a:lnTo>
                        <a:pt x="17" y="0"/>
                      </a:lnTo>
                      <a:cubicBezTo>
                        <a:pt x="19" y="0"/>
                        <a:pt x="20" y="0"/>
                        <a:pt x="21" y="1"/>
                      </a:cubicBezTo>
                      <a:cubicBezTo>
                        <a:pt x="20" y="3"/>
                        <a:pt x="19" y="5"/>
                        <a:pt x="18" y="5"/>
                      </a:cubicBezTo>
                      <a:cubicBezTo>
                        <a:pt x="17" y="5"/>
                        <a:pt x="16" y="4"/>
                        <a:pt x="16" y="4"/>
                      </a:cubicBezTo>
                      <a:cubicBezTo>
                        <a:pt x="14" y="4"/>
                        <a:pt x="13" y="6"/>
                        <a:pt x="11" y="6"/>
                      </a:cubicBezTo>
                      <a:cubicBezTo>
                        <a:pt x="9" y="6"/>
                        <a:pt x="6" y="6"/>
                        <a:pt x="4" y="6"/>
                      </a:cubicBezTo>
                      <a:cubicBezTo>
                        <a:pt x="4" y="6"/>
                        <a:pt x="3" y="6"/>
                        <a:pt x="3" y="5"/>
                      </a:cubicBezTo>
                      <a:cubicBezTo>
                        <a:pt x="0" y="6"/>
                        <a:pt x="0" y="4"/>
                        <a:pt x="0" y="4"/>
                      </a:cubicBezTo>
                      <a:lnTo>
                        <a:pt x="0" y="4"/>
                      </a:lnTo>
                      <a:lnTo>
                        <a:pt x="0"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39" name="Freeform 676"/>
                <p:cNvSpPr>
                  <a:spLocks/>
                </p:cNvSpPr>
                <p:nvPr>
                  <p:custDataLst>
                    <p:tags r:id="rId655"/>
                  </p:custDataLst>
                </p:nvPr>
              </p:nvSpPr>
              <p:spPr bwMode="gray">
                <a:xfrm>
                  <a:off x="5714674" y="4824409"/>
                  <a:ext cx="191797" cy="122656"/>
                </a:xfrm>
                <a:custGeom>
                  <a:avLst/>
                  <a:gdLst>
                    <a:gd name="T0" fmla="*/ 4 w 19"/>
                    <a:gd name="T1" fmla="*/ 6 h 11"/>
                    <a:gd name="T2" fmla="*/ 2 w 19"/>
                    <a:gd name="T3" fmla="*/ 7 h 11"/>
                    <a:gd name="T4" fmla="*/ 2 w 19"/>
                    <a:gd name="T5" fmla="*/ 7 h 11"/>
                    <a:gd name="T6" fmla="*/ 0 w 19"/>
                    <a:gd name="T7" fmla="*/ 4 h 11"/>
                    <a:gd name="T8" fmla="*/ 2 w 19"/>
                    <a:gd name="T9" fmla="*/ 1 h 11"/>
                    <a:gd name="T10" fmla="*/ 7 w 19"/>
                    <a:gd name="T11" fmla="*/ 2 h 11"/>
                    <a:gd name="T12" fmla="*/ 10 w 19"/>
                    <a:gd name="T13" fmla="*/ 0 h 11"/>
                    <a:gd name="T14" fmla="*/ 17 w 19"/>
                    <a:gd name="T15" fmla="*/ 3 h 11"/>
                    <a:gd name="T16" fmla="*/ 19 w 19"/>
                    <a:gd name="T17" fmla="*/ 6 h 11"/>
                    <a:gd name="T18" fmla="*/ 10 w 19"/>
                    <a:gd name="T19" fmla="*/ 11 h 11"/>
                    <a:gd name="T20" fmla="*/ 9 w 19"/>
                    <a:gd name="T21" fmla="*/ 9 h 11"/>
                    <a:gd name="T22" fmla="*/ 4 w 19"/>
                    <a:gd name="T23" fmla="*/ 6 h 11"/>
                    <a:gd name="T24" fmla="*/ 4 w 19"/>
                    <a:gd name="T25" fmla="*/ 6 h 11"/>
                    <a:gd name="T26" fmla="*/ 4 w 19"/>
                    <a:gd name="T2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1">
                      <a:moveTo>
                        <a:pt x="4" y="6"/>
                      </a:moveTo>
                      <a:lnTo>
                        <a:pt x="2" y="7"/>
                      </a:lnTo>
                      <a:lnTo>
                        <a:pt x="2" y="7"/>
                      </a:lnTo>
                      <a:cubicBezTo>
                        <a:pt x="0" y="7"/>
                        <a:pt x="0" y="4"/>
                        <a:pt x="0" y="4"/>
                      </a:cubicBezTo>
                      <a:cubicBezTo>
                        <a:pt x="0" y="2"/>
                        <a:pt x="1" y="1"/>
                        <a:pt x="2" y="1"/>
                      </a:cubicBezTo>
                      <a:cubicBezTo>
                        <a:pt x="4" y="1"/>
                        <a:pt x="5" y="2"/>
                        <a:pt x="7" y="2"/>
                      </a:cubicBezTo>
                      <a:cubicBezTo>
                        <a:pt x="8" y="2"/>
                        <a:pt x="9" y="0"/>
                        <a:pt x="10" y="0"/>
                      </a:cubicBezTo>
                      <a:cubicBezTo>
                        <a:pt x="13" y="0"/>
                        <a:pt x="16" y="2"/>
                        <a:pt x="17" y="3"/>
                      </a:cubicBezTo>
                      <a:cubicBezTo>
                        <a:pt x="17" y="4"/>
                        <a:pt x="19" y="5"/>
                        <a:pt x="19" y="6"/>
                      </a:cubicBezTo>
                      <a:cubicBezTo>
                        <a:pt x="19" y="8"/>
                        <a:pt x="12" y="11"/>
                        <a:pt x="10" y="11"/>
                      </a:cubicBezTo>
                      <a:cubicBezTo>
                        <a:pt x="10" y="11"/>
                        <a:pt x="9" y="10"/>
                        <a:pt x="9" y="9"/>
                      </a:cubicBezTo>
                      <a:cubicBezTo>
                        <a:pt x="8" y="7"/>
                        <a:pt x="6" y="7"/>
                        <a:pt x="4" y="6"/>
                      </a:cubicBezTo>
                      <a:lnTo>
                        <a:pt x="4" y="6"/>
                      </a:lnTo>
                      <a:lnTo>
                        <a:pt x="4" y="6"/>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0" name="Freeform 677"/>
                <p:cNvSpPr>
                  <a:spLocks/>
                </p:cNvSpPr>
                <p:nvPr>
                  <p:custDataLst>
                    <p:tags r:id="rId656"/>
                  </p:custDataLst>
                </p:nvPr>
              </p:nvSpPr>
              <p:spPr bwMode="gray">
                <a:xfrm>
                  <a:off x="4226838" y="3591558"/>
                  <a:ext cx="241156" cy="290915"/>
                </a:xfrm>
                <a:custGeom>
                  <a:avLst/>
                  <a:gdLst>
                    <a:gd name="T0" fmla="*/ 5 w 24"/>
                    <a:gd name="T1" fmla="*/ 11 h 26"/>
                    <a:gd name="T2" fmla="*/ 0 w 24"/>
                    <a:gd name="T3" fmla="*/ 8 h 26"/>
                    <a:gd name="T4" fmla="*/ 2 w 24"/>
                    <a:gd name="T5" fmla="*/ 6 h 26"/>
                    <a:gd name="T6" fmla="*/ 3 w 24"/>
                    <a:gd name="T7" fmla="*/ 3 h 26"/>
                    <a:gd name="T8" fmla="*/ 7 w 24"/>
                    <a:gd name="T9" fmla="*/ 1 h 26"/>
                    <a:gd name="T10" fmla="*/ 10 w 24"/>
                    <a:gd name="T11" fmla="*/ 4 h 26"/>
                    <a:gd name="T12" fmla="*/ 10 w 24"/>
                    <a:gd name="T13" fmla="*/ 4 h 26"/>
                    <a:gd name="T14" fmla="*/ 10 w 24"/>
                    <a:gd name="T15" fmla="*/ 3 h 26"/>
                    <a:gd name="T16" fmla="*/ 10 w 24"/>
                    <a:gd name="T17" fmla="*/ 3 h 26"/>
                    <a:gd name="T18" fmla="*/ 9 w 24"/>
                    <a:gd name="T19" fmla="*/ 2 h 26"/>
                    <a:gd name="T20" fmla="*/ 9 w 24"/>
                    <a:gd name="T21" fmla="*/ 2 h 26"/>
                    <a:gd name="T22" fmla="*/ 9 w 24"/>
                    <a:gd name="T23" fmla="*/ 1 h 26"/>
                    <a:gd name="T24" fmla="*/ 9 w 24"/>
                    <a:gd name="T25" fmla="*/ 1 h 26"/>
                    <a:gd name="T26" fmla="*/ 12 w 24"/>
                    <a:gd name="T27" fmla="*/ 1 h 26"/>
                    <a:gd name="T28" fmla="*/ 14 w 24"/>
                    <a:gd name="T29" fmla="*/ 0 h 26"/>
                    <a:gd name="T30" fmla="*/ 15 w 24"/>
                    <a:gd name="T31" fmla="*/ 2 h 26"/>
                    <a:gd name="T32" fmla="*/ 18 w 24"/>
                    <a:gd name="T33" fmla="*/ 9 h 26"/>
                    <a:gd name="T34" fmla="*/ 18 w 24"/>
                    <a:gd name="T35" fmla="*/ 12 h 26"/>
                    <a:gd name="T36" fmla="*/ 24 w 24"/>
                    <a:gd name="T37" fmla="*/ 19 h 26"/>
                    <a:gd name="T38" fmla="*/ 21 w 24"/>
                    <a:gd name="T39" fmla="*/ 25 h 26"/>
                    <a:gd name="T40" fmla="*/ 17 w 24"/>
                    <a:gd name="T41" fmla="*/ 23 h 26"/>
                    <a:gd name="T42" fmla="*/ 13 w 24"/>
                    <a:gd name="T43" fmla="*/ 21 h 26"/>
                    <a:gd name="T44" fmla="*/ 12 w 24"/>
                    <a:gd name="T45" fmla="*/ 16 h 26"/>
                    <a:gd name="T46" fmla="*/ 12 w 24"/>
                    <a:gd name="T47" fmla="*/ 16 h 26"/>
                    <a:gd name="T48" fmla="*/ 12 w 24"/>
                    <a:gd name="T49" fmla="*/ 12 h 26"/>
                    <a:gd name="T50" fmla="*/ 12 w 24"/>
                    <a:gd name="T51" fmla="*/ 12 h 26"/>
                    <a:gd name="T52" fmla="*/ 5 w 24"/>
                    <a:gd name="T53" fmla="*/ 11 h 26"/>
                    <a:gd name="T54" fmla="*/ 5 w 24"/>
                    <a:gd name="T55" fmla="*/ 11 h 26"/>
                    <a:gd name="T56" fmla="*/ 5 w 24"/>
                    <a:gd name="T5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6">
                      <a:moveTo>
                        <a:pt x="5" y="11"/>
                      </a:moveTo>
                      <a:cubicBezTo>
                        <a:pt x="4" y="11"/>
                        <a:pt x="0" y="10"/>
                        <a:pt x="0" y="8"/>
                      </a:cubicBezTo>
                      <a:cubicBezTo>
                        <a:pt x="0" y="7"/>
                        <a:pt x="2" y="6"/>
                        <a:pt x="2" y="6"/>
                      </a:cubicBezTo>
                      <a:cubicBezTo>
                        <a:pt x="4" y="6"/>
                        <a:pt x="3" y="4"/>
                        <a:pt x="3" y="3"/>
                      </a:cubicBezTo>
                      <a:cubicBezTo>
                        <a:pt x="3" y="1"/>
                        <a:pt x="6" y="1"/>
                        <a:pt x="7" y="1"/>
                      </a:cubicBezTo>
                      <a:cubicBezTo>
                        <a:pt x="10" y="1"/>
                        <a:pt x="9" y="4"/>
                        <a:pt x="10" y="4"/>
                      </a:cubicBezTo>
                      <a:lnTo>
                        <a:pt x="10" y="4"/>
                      </a:lnTo>
                      <a:lnTo>
                        <a:pt x="10" y="3"/>
                      </a:lnTo>
                      <a:lnTo>
                        <a:pt x="10" y="3"/>
                      </a:lnTo>
                      <a:cubicBezTo>
                        <a:pt x="10" y="3"/>
                        <a:pt x="9" y="2"/>
                        <a:pt x="9" y="2"/>
                      </a:cubicBezTo>
                      <a:lnTo>
                        <a:pt x="9" y="2"/>
                      </a:lnTo>
                      <a:lnTo>
                        <a:pt x="9" y="1"/>
                      </a:lnTo>
                      <a:lnTo>
                        <a:pt x="9" y="1"/>
                      </a:lnTo>
                      <a:cubicBezTo>
                        <a:pt x="10" y="0"/>
                        <a:pt x="11" y="1"/>
                        <a:pt x="12" y="1"/>
                      </a:cubicBezTo>
                      <a:cubicBezTo>
                        <a:pt x="12" y="1"/>
                        <a:pt x="13" y="0"/>
                        <a:pt x="14" y="0"/>
                      </a:cubicBezTo>
                      <a:cubicBezTo>
                        <a:pt x="15" y="1"/>
                        <a:pt x="15" y="2"/>
                        <a:pt x="15" y="2"/>
                      </a:cubicBezTo>
                      <a:cubicBezTo>
                        <a:pt x="16" y="5"/>
                        <a:pt x="18" y="6"/>
                        <a:pt x="18" y="9"/>
                      </a:cubicBezTo>
                      <a:cubicBezTo>
                        <a:pt x="18" y="10"/>
                        <a:pt x="18" y="11"/>
                        <a:pt x="18" y="12"/>
                      </a:cubicBezTo>
                      <a:cubicBezTo>
                        <a:pt x="18" y="17"/>
                        <a:pt x="24" y="15"/>
                        <a:pt x="24" y="19"/>
                      </a:cubicBezTo>
                      <a:cubicBezTo>
                        <a:pt x="24" y="26"/>
                        <a:pt x="23" y="25"/>
                        <a:pt x="21" y="25"/>
                      </a:cubicBezTo>
                      <a:cubicBezTo>
                        <a:pt x="19" y="25"/>
                        <a:pt x="18" y="23"/>
                        <a:pt x="17" y="23"/>
                      </a:cubicBezTo>
                      <a:cubicBezTo>
                        <a:pt x="16" y="22"/>
                        <a:pt x="14" y="22"/>
                        <a:pt x="13" y="21"/>
                      </a:cubicBezTo>
                      <a:cubicBezTo>
                        <a:pt x="12" y="20"/>
                        <a:pt x="12" y="17"/>
                        <a:pt x="12" y="16"/>
                      </a:cubicBezTo>
                      <a:lnTo>
                        <a:pt x="12" y="16"/>
                      </a:lnTo>
                      <a:lnTo>
                        <a:pt x="12" y="12"/>
                      </a:lnTo>
                      <a:lnTo>
                        <a:pt x="12" y="12"/>
                      </a:lnTo>
                      <a:cubicBezTo>
                        <a:pt x="10" y="10"/>
                        <a:pt x="7" y="11"/>
                        <a:pt x="5" y="11"/>
                      </a:cubicBezTo>
                      <a:lnTo>
                        <a:pt x="5" y="11"/>
                      </a:lnTo>
                      <a:lnTo>
                        <a:pt x="5"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1" name="Freeform 678"/>
                <p:cNvSpPr>
                  <a:spLocks/>
                </p:cNvSpPr>
                <p:nvPr>
                  <p:custDataLst>
                    <p:tags r:id="rId657"/>
                  </p:custDataLst>
                </p:nvPr>
              </p:nvSpPr>
              <p:spPr bwMode="gray">
                <a:xfrm>
                  <a:off x="4618893" y="3770823"/>
                  <a:ext cx="121283" cy="133664"/>
                </a:xfrm>
                <a:custGeom>
                  <a:avLst/>
                  <a:gdLst>
                    <a:gd name="T0" fmla="*/ 1 w 12"/>
                    <a:gd name="T1" fmla="*/ 5 h 12"/>
                    <a:gd name="T2" fmla="*/ 5 w 12"/>
                    <a:gd name="T3" fmla="*/ 0 h 12"/>
                    <a:gd name="T4" fmla="*/ 7 w 12"/>
                    <a:gd name="T5" fmla="*/ 1 h 12"/>
                    <a:gd name="T6" fmla="*/ 12 w 12"/>
                    <a:gd name="T7" fmla="*/ 7 h 12"/>
                    <a:gd name="T8" fmla="*/ 11 w 12"/>
                    <a:gd name="T9" fmla="*/ 8 h 12"/>
                    <a:gd name="T10" fmla="*/ 7 w 12"/>
                    <a:gd name="T11" fmla="*/ 12 h 12"/>
                    <a:gd name="T12" fmla="*/ 4 w 12"/>
                    <a:gd name="T13" fmla="*/ 10 h 12"/>
                    <a:gd name="T14" fmla="*/ 3 w 12"/>
                    <a:gd name="T15" fmla="*/ 12 h 12"/>
                    <a:gd name="T16" fmla="*/ 0 w 12"/>
                    <a:gd name="T17" fmla="*/ 7 h 12"/>
                    <a:gd name="T18" fmla="*/ 1 w 12"/>
                    <a:gd name="T19" fmla="*/ 5 h 12"/>
                    <a:gd name="T20" fmla="*/ 1 w 12"/>
                    <a:gd name="T21" fmla="*/ 5 h 12"/>
                    <a:gd name="T22" fmla="*/ 1 w 12"/>
                    <a:gd name="T23" fmla="*/ 5 h 12"/>
                    <a:gd name="T24" fmla="*/ 1 w 12"/>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1" y="5"/>
                      </a:moveTo>
                      <a:cubicBezTo>
                        <a:pt x="2" y="3"/>
                        <a:pt x="3" y="0"/>
                        <a:pt x="5" y="0"/>
                      </a:cubicBezTo>
                      <a:cubicBezTo>
                        <a:pt x="6" y="0"/>
                        <a:pt x="6" y="1"/>
                        <a:pt x="7" y="1"/>
                      </a:cubicBezTo>
                      <a:cubicBezTo>
                        <a:pt x="8" y="3"/>
                        <a:pt x="12" y="3"/>
                        <a:pt x="12" y="7"/>
                      </a:cubicBezTo>
                      <a:cubicBezTo>
                        <a:pt x="12" y="8"/>
                        <a:pt x="11" y="8"/>
                        <a:pt x="11" y="8"/>
                      </a:cubicBezTo>
                      <a:cubicBezTo>
                        <a:pt x="10" y="9"/>
                        <a:pt x="9" y="12"/>
                        <a:pt x="7" y="12"/>
                      </a:cubicBezTo>
                      <a:cubicBezTo>
                        <a:pt x="6" y="12"/>
                        <a:pt x="5" y="10"/>
                        <a:pt x="4" y="10"/>
                      </a:cubicBezTo>
                      <a:cubicBezTo>
                        <a:pt x="4" y="11"/>
                        <a:pt x="4" y="12"/>
                        <a:pt x="3" y="12"/>
                      </a:cubicBezTo>
                      <a:cubicBezTo>
                        <a:pt x="1" y="12"/>
                        <a:pt x="0" y="8"/>
                        <a:pt x="0" y="7"/>
                      </a:cubicBezTo>
                      <a:cubicBezTo>
                        <a:pt x="0" y="6"/>
                        <a:pt x="1" y="5"/>
                        <a:pt x="1" y="5"/>
                      </a:cubicBezTo>
                      <a:cubicBezTo>
                        <a:pt x="1" y="5"/>
                        <a:pt x="1" y="5"/>
                        <a:pt x="1" y="5"/>
                      </a:cubicBezTo>
                      <a:lnTo>
                        <a:pt x="1" y="5"/>
                      </a:lnTo>
                      <a:lnTo>
                        <a:pt x="1" y="5"/>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2" name="Freeform 679"/>
                <p:cNvSpPr>
                  <a:spLocks/>
                </p:cNvSpPr>
                <p:nvPr>
                  <p:custDataLst>
                    <p:tags r:id="rId658"/>
                  </p:custDataLst>
                </p:nvPr>
              </p:nvSpPr>
              <p:spPr bwMode="gray">
                <a:xfrm>
                  <a:off x="8327907" y="3344675"/>
                  <a:ext cx="1578093" cy="1681016"/>
                </a:xfrm>
                <a:custGeom>
                  <a:avLst/>
                  <a:gdLst>
                    <a:gd name="T0" fmla="*/ 150 w 157"/>
                    <a:gd name="T1" fmla="*/ 141 h 150"/>
                    <a:gd name="T2" fmla="*/ 143 w 157"/>
                    <a:gd name="T3" fmla="*/ 131 h 150"/>
                    <a:gd name="T4" fmla="*/ 130 w 157"/>
                    <a:gd name="T5" fmla="*/ 131 h 150"/>
                    <a:gd name="T6" fmla="*/ 124 w 157"/>
                    <a:gd name="T7" fmla="*/ 134 h 150"/>
                    <a:gd name="T8" fmla="*/ 124 w 157"/>
                    <a:gd name="T9" fmla="*/ 130 h 150"/>
                    <a:gd name="T10" fmla="*/ 127 w 157"/>
                    <a:gd name="T11" fmla="*/ 124 h 150"/>
                    <a:gd name="T12" fmla="*/ 125 w 157"/>
                    <a:gd name="T13" fmla="*/ 121 h 150"/>
                    <a:gd name="T14" fmla="*/ 122 w 157"/>
                    <a:gd name="T15" fmla="*/ 118 h 150"/>
                    <a:gd name="T16" fmla="*/ 129 w 157"/>
                    <a:gd name="T17" fmla="*/ 117 h 150"/>
                    <a:gd name="T18" fmla="*/ 122 w 157"/>
                    <a:gd name="T19" fmla="*/ 112 h 150"/>
                    <a:gd name="T20" fmla="*/ 128 w 157"/>
                    <a:gd name="T21" fmla="*/ 113 h 150"/>
                    <a:gd name="T22" fmla="*/ 126 w 157"/>
                    <a:gd name="T23" fmla="*/ 111 h 150"/>
                    <a:gd name="T24" fmla="*/ 121 w 157"/>
                    <a:gd name="T25" fmla="*/ 107 h 150"/>
                    <a:gd name="T26" fmla="*/ 116 w 157"/>
                    <a:gd name="T27" fmla="*/ 94 h 150"/>
                    <a:gd name="T28" fmla="*/ 111 w 157"/>
                    <a:gd name="T29" fmla="*/ 89 h 150"/>
                    <a:gd name="T30" fmla="*/ 103 w 157"/>
                    <a:gd name="T31" fmla="*/ 83 h 150"/>
                    <a:gd name="T32" fmla="*/ 85 w 157"/>
                    <a:gd name="T33" fmla="*/ 75 h 150"/>
                    <a:gd name="T34" fmla="*/ 63 w 157"/>
                    <a:gd name="T35" fmla="*/ 69 h 150"/>
                    <a:gd name="T36" fmla="*/ 62 w 157"/>
                    <a:gd name="T37" fmla="*/ 62 h 150"/>
                    <a:gd name="T38" fmla="*/ 54 w 157"/>
                    <a:gd name="T39" fmla="*/ 61 h 150"/>
                    <a:gd name="T40" fmla="*/ 50 w 157"/>
                    <a:gd name="T41" fmla="*/ 60 h 150"/>
                    <a:gd name="T42" fmla="*/ 45 w 157"/>
                    <a:gd name="T43" fmla="*/ 58 h 150"/>
                    <a:gd name="T44" fmla="*/ 43 w 157"/>
                    <a:gd name="T45" fmla="*/ 58 h 150"/>
                    <a:gd name="T46" fmla="*/ 41 w 157"/>
                    <a:gd name="T47" fmla="*/ 56 h 150"/>
                    <a:gd name="T48" fmla="*/ 38 w 157"/>
                    <a:gd name="T49" fmla="*/ 59 h 150"/>
                    <a:gd name="T50" fmla="*/ 39 w 157"/>
                    <a:gd name="T51" fmla="*/ 61 h 150"/>
                    <a:gd name="T52" fmla="*/ 33 w 157"/>
                    <a:gd name="T53" fmla="*/ 64 h 150"/>
                    <a:gd name="T54" fmla="*/ 27 w 157"/>
                    <a:gd name="T55" fmla="*/ 58 h 150"/>
                    <a:gd name="T56" fmla="*/ 29 w 157"/>
                    <a:gd name="T57" fmla="*/ 54 h 150"/>
                    <a:gd name="T58" fmla="*/ 25 w 157"/>
                    <a:gd name="T59" fmla="*/ 49 h 150"/>
                    <a:gd name="T60" fmla="*/ 16 w 157"/>
                    <a:gd name="T61" fmla="*/ 44 h 150"/>
                    <a:gd name="T62" fmla="*/ 27 w 157"/>
                    <a:gd name="T63" fmla="*/ 43 h 150"/>
                    <a:gd name="T64" fmla="*/ 37 w 157"/>
                    <a:gd name="T65" fmla="*/ 38 h 150"/>
                    <a:gd name="T66" fmla="*/ 44 w 157"/>
                    <a:gd name="T67" fmla="*/ 37 h 150"/>
                    <a:gd name="T68" fmla="*/ 46 w 157"/>
                    <a:gd name="T69" fmla="*/ 32 h 150"/>
                    <a:gd name="T70" fmla="*/ 35 w 157"/>
                    <a:gd name="T71" fmla="*/ 33 h 150"/>
                    <a:gd name="T72" fmla="*/ 24 w 157"/>
                    <a:gd name="T73" fmla="*/ 33 h 150"/>
                    <a:gd name="T74" fmla="*/ 16 w 157"/>
                    <a:gd name="T75" fmla="*/ 25 h 150"/>
                    <a:gd name="T76" fmla="*/ 15 w 157"/>
                    <a:gd name="T77" fmla="*/ 22 h 150"/>
                    <a:gd name="T78" fmla="*/ 11 w 157"/>
                    <a:gd name="T79" fmla="*/ 22 h 150"/>
                    <a:gd name="T80" fmla="*/ 6 w 157"/>
                    <a:gd name="T81" fmla="*/ 20 h 150"/>
                    <a:gd name="T82" fmla="*/ 5 w 157"/>
                    <a:gd name="T83" fmla="*/ 21 h 150"/>
                    <a:gd name="T84" fmla="*/ 3 w 157"/>
                    <a:gd name="T85" fmla="*/ 16 h 150"/>
                    <a:gd name="T86" fmla="*/ 12 w 157"/>
                    <a:gd name="T87" fmla="*/ 8 h 150"/>
                    <a:gd name="T88" fmla="*/ 30 w 157"/>
                    <a:gd name="T89" fmla="*/ 4 h 150"/>
                    <a:gd name="T90" fmla="*/ 38 w 157"/>
                    <a:gd name="T91" fmla="*/ 8 h 150"/>
                    <a:gd name="T92" fmla="*/ 48 w 157"/>
                    <a:gd name="T93" fmla="*/ 9 h 150"/>
                    <a:gd name="T94" fmla="*/ 50 w 157"/>
                    <a:gd name="T95" fmla="*/ 16 h 150"/>
                    <a:gd name="T96" fmla="*/ 49 w 157"/>
                    <a:gd name="T97" fmla="*/ 27 h 150"/>
                    <a:gd name="T98" fmla="*/ 55 w 157"/>
                    <a:gd name="T99" fmla="*/ 44 h 150"/>
                    <a:gd name="T100" fmla="*/ 59 w 157"/>
                    <a:gd name="T101" fmla="*/ 45 h 150"/>
                    <a:gd name="T102" fmla="*/ 65 w 157"/>
                    <a:gd name="T103" fmla="*/ 53 h 150"/>
                    <a:gd name="T104" fmla="*/ 78 w 157"/>
                    <a:gd name="T105" fmla="*/ 46 h 150"/>
                    <a:gd name="T106" fmla="*/ 87 w 157"/>
                    <a:gd name="T107" fmla="*/ 33 h 150"/>
                    <a:gd name="T108" fmla="*/ 98 w 157"/>
                    <a:gd name="T109" fmla="*/ 31 h 150"/>
                    <a:gd name="T110" fmla="*/ 104 w 157"/>
                    <a:gd name="T111" fmla="*/ 22 h 150"/>
                    <a:gd name="T112" fmla="*/ 126 w 157"/>
                    <a:gd name="T113" fmla="*/ 29 h 150"/>
                    <a:gd name="T114" fmla="*/ 143 w 157"/>
                    <a:gd name="T115" fmla="*/ 35 h 150"/>
                    <a:gd name="T116" fmla="*/ 154 w 157"/>
                    <a:gd name="T117" fmla="*/ 39 h 150"/>
                    <a:gd name="T118" fmla="*/ 157 w 157"/>
                    <a:gd name="T119" fmla="*/ 40 h 150"/>
                    <a:gd name="T120" fmla="*/ 157 w 157"/>
                    <a:gd name="T121" fmla="*/ 102 h 150"/>
                    <a:gd name="T122" fmla="*/ 157 w 157"/>
                    <a:gd name="T123" fmla="*/ 113 h 150"/>
                    <a:gd name="T124" fmla="*/ 157 w 157"/>
                    <a:gd name="T125"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 h="150">
                      <a:moveTo>
                        <a:pt x="157" y="150"/>
                      </a:moveTo>
                      <a:cubicBezTo>
                        <a:pt x="154" y="150"/>
                        <a:pt x="150" y="141"/>
                        <a:pt x="150" y="141"/>
                      </a:cubicBezTo>
                      <a:cubicBezTo>
                        <a:pt x="147" y="138"/>
                        <a:pt x="143" y="135"/>
                        <a:pt x="143" y="135"/>
                      </a:cubicBezTo>
                      <a:cubicBezTo>
                        <a:pt x="141" y="133"/>
                        <a:pt x="143" y="131"/>
                        <a:pt x="143" y="131"/>
                      </a:cubicBezTo>
                      <a:cubicBezTo>
                        <a:pt x="141" y="134"/>
                        <a:pt x="136" y="133"/>
                        <a:pt x="136" y="133"/>
                      </a:cubicBezTo>
                      <a:cubicBezTo>
                        <a:pt x="129" y="137"/>
                        <a:pt x="130" y="131"/>
                        <a:pt x="130" y="131"/>
                      </a:cubicBezTo>
                      <a:cubicBezTo>
                        <a:pt x="129" y="134"/>
                        <a:pt x="127" y="133"/>
                        <a:pt x="127" y="133"/>
                      </a:cubicBezTo>
                      <a:cubicBezTo>
                        <a:pt x="123" y="138"/>
                        <a:pt x="124" y="134"/>
                        <a:pt x="124" y="134"/>
                      </a:cubicBezTo>
                      <a:lnTo>
                        <a:pt x="124" y="134"/>
                      </a:lnTo>
                      <a:lnTo>
                        <a:pt x="124" y="130"/>
                      </a:lnTo>
                      <a:lnTo>
                        <a:pt x="124" y="130"/>
                      </a:lnTo>
                      <a:cubicBezTo>
                        <a:pt x="128" y="126"/>
                        <a:pt x="127" y="124"/>
                        <a:pt x="127" y="124"/>
                      </a:cubicBezTo>
                      <a:cubicBezTo>
                        <a:pt x="124" y="123"/>
                        <a:pt x="125" y="121"/>
                        <a:pt x="125" y="121"/>
                      </a:cubicBezTo>
                      <a:lnTo>
                        <a:pt x="125" y="121"/>
                      </a:lnTo>
                      <a:lnTo>
                        <a:pt x="122" y="118"/>
                      </a:lnTo>
                      <a:lnTo>
                        <a:pt x="122" y="118"/>
                      </a:lnTo>
                      <a:cubicBezTo>
                        <a:pt x="124" y="116"/>
                        <a:pt x="126" y="118"/>
                        <a:pt x="126" y="118"/>
                      </a:cubicBezTo>
                      <a:cubicBezTo>
                        <a:pt x="129" y="119"/>
                        <a:pt x="129" y="117"/>
                        <a:pt x="129" y="117"/>
                      </a:cubicBezTo>
                      <a:cubicBezTo>
                        <a:pt x="122" y="117"/>
                        <a:pt x="120" y="113"/>
                        <a:pt x="120" y="113"/>
                      </a:cubicBezTo>
                      <a:cubicBezTo>
                        <a:pt x="119" y="112"/>
                        <a:pt x="122" y="112"/>
                        <a:pt x="122" y="112"/>
                      </a:cubicBezTo>
                      <a:cubicBezTo>
                        <a:pt x="126" y="110"/>
                        <a:pt x="128" y="113"/>
                        <a:pt x="128" y="113"/>
                      </a:cubicBezTo>
                      <a:lnTo>
                        <a:pt x="128" y="113"/>
                      </a:lnTo>
                      <a:lnTo>
                        <a:pt x="126" y="111"/>
                      </a:lnTo>
                      <a:lnTo>
                        <a:pt x="126" y="111"/>
                      </a:lnTo>
                      <a:cubicBezTo>
                        <a:pt x="123" y="111"/>
                        <a:pt x="123" y="110"/>
                        <a:pt x="123" y="110"/>
                      </a:cubicBezTo>
                      <a:cubicBezTo>
                        <a:pt x="120" y="109"/>
                        <a:pt x="121" y="107"/>
                        <a:pt x="121" y="107"/>
                      </a:cubicBezTo>
                      <a:cubicBezTo>
                        <a:pt x="117" y="104"/>
                        <a:pt x="117" y="100"/>
                        <a:pt x="117" y="100"/>
                      </a:cubicBezTo>
                      <a:cubicBezTo>
                        <a:pt x="113" y="95"/>
                        <a:pt x="116" y="94"/>
                        <a:pt x="116" y="94"/>
                      </a:cubicBezTo>
                      <a:cubicBezTo>
                        <a:pt x="110" y="95"/>
                        <a:pt x="115" y="92"/>
                        <a:pt x="115" y="92"/>
                      </a:cubicBezTo>
                      <a:cubicBezTo>
                        <a:pt x="110" y="93"/>
                        <a:pt x="111" y="89"/>
                        <a:pt x="111" y="89"/>
                      </a:cubicBezTo>
                      <a:cubicBezTo>
                        <a:pt x="110" y="85"/>
                        <a:pt x="107" y="86"/>
                        <a:pt x="107" y="86"/>
                      </a:cubicBezTo>
                      <a:cubicBezTo>
                        <a:pt x="107" y="84"/>
                        <a:pt x="104" y="85"/>
                        <a:pt x="103" y="83"/>
                      </a:cubicBezTo>
                      <a:cubicBezTo>
                        <a:pt x="101" y="83"/>
                        <a:pt x="100" y="79"/>
                        <a:pt x="97" y="80"/>
                      </a:cubicBezTo>
                      <a:cubicBezTo>
                        <a:pt x="97" y="78"/>
                        <a:pt x="91" y="80"/>
                        <a:pt x="85" y="75"/>
                      </a:cubicBezTo>
                      <a:cubicBezTo>
                        <a:pt x="80" y="75"/>
                        <a:pt x="78" y="72"/>
                        <a:pt x="78" y="72"/>
                      </a:cubicBezTo>
                      <a:cubicBezTo>
                        <a:pt x="69" y="72"/>
                        <a:pt x="63" y="69"/>
                        <a:pt x="63" y="69"/>
                      </a:cubicBezTo>
                      <a:cubicBezTo>
                        <a:pt x="57" y="66"/>
                        <a:pt x="58" y="63"/>
                        <a:pt x="58" y="63"/>
                      </a:cubicBezTo>
                      <a:cubicBezTo>
                        <a:pt x="62" y="64"/>
                        <a:pt x="62" y="62"/>
                        <a:pt x="62" y="62"/>
                      </a:cubicBezTo>
                      <a:cubicBezTo>
                        <a:pt x="57" y="61"/>
                        <a:pt x="56" y="64"/>
                        <a:pt x="56" y="64"/>
                      </a:cubicBezTo>
                      <a:cubicBezTo>
                        <a:pt x="54" y="64"/>
                        <a:pt x="56" y="62"/>
                        <a:pt x="54" y="61"/>
                      </a:cubicBezTo>
                      <a:cubicBezTo>
                        <a:pt x="51" y="64"/>
                        <a:pt x="49" y="63"/>
                        <a:pt x="49" y="63"/>
                      </a:cubicBezTo>
                      <a:cubicBezTo>
                        <a:pt x="51" y="61"/>
                        <a:pt x="50" y="60"/>
                        <a:pt x="50" y="60"/>
                      </a:cubicBezTo>
                      <a:cubicBezTo>
                        <a:pt x="48" y="59"/>
                        <a:pt x="47" y="61"/>
                        <a:pt x="47" y="61"/>
                      </a:cubicBezTo>
                      <a:cubicBezTo>
                        <a:pt x="45" y="61"/>
                        <a:pt x="45" y="58"/>
                        <a:pt x="45" y="58"/>
                      </a:cubicBezTo>
                      <a:lnTo>
                        <a:pt x="45" y="58"/>
                      </a:lnTo>
                      <a:lnTo>
                        <a:pt x="43" y="58"/>
                      </a:lnTo>
                      <a:lnTo>
                        <a:pt x="42" y="54"/>
                      </a:lnTo>
                      <a:lnTo>
                        <a:pt x="41" y="56"/>
                      </a:lnTo>
                      <a:lnTo>
                        <a:pt x="41" y="56"/>
                      </a:lnTo>
                      <a:cubicBezTo>
                        <a:pt x="41" y="58"/>
                        <a:pt x="38" y="59"/>
                        <a:pt x="38" y="59"/>
                      </a:cubicBezTo>
                      <a:lnTo>
                        <a:pt x="38" y="59"/>
                      </a:lnTo>
                      <a:lnTo>
                        <a:pt x="39" y="61"/>
                      </a:lnTo>
                      <a:lnTo>
                        <a:pt x="39" y="61"/>
                      </a:lnTo>
                      <a:cubicBezTo>
                        <a:pt x="36" y="66"/>
                        <a:pt x="33" y="64"/>
                        <a:pt x="33" y="64"/>
                      </a:cubicBezTo>
                      <a:cubicBezTo>
                        <a:pt x="31" y="67"/>
                        <a:pt x="29" y="63"/>
                        <a:pt x="29" y="63"/>
                      </a:cubicBezTo>
                      <a:cubicBezTo>
                        <a:pt x="29" y="60"/>
                        <a:pt x="27" y="58"/>
                        <a:pt x="27" y="58"/>
                      </a:cubicBezTo>
                      <a:cubicBezTo>
                        <a:pt x="27" y="56"/>
                        <a:pt x="30" y="57"/>
                        <a:pt x="30" y="57"/>
                      </a:cubicBezTo>
                      <a:cubicBezTo>
                        <a:pt x="31" y="54"/>
                        <a:pt x="29" y="54"/>
                        <a:pt x="29" y="54"/>
                      </a:cubicBezTo>
                      <a:cubicBezTo>
                        <a:pt x="29" y="50"/>
                        <a:pt x="27" y="52"/>
                        <a:pt x="27" y="52"/>
                      </a:cubicBezTo>
                      <a:cubicBezTo>
                        <a:pt x="25" y="52"/>
                        <a:pt x="25" y="49"/>
                        <a:pt x="25" y="49"/>
                      </a:cubicBezTo>
                      <a:cubicBezTo>
                        <a:pt x="22" y="45"/>
                        <a:pt x="20" y="46"/>
                        <a:pt x="20" y="46"/>
                      </a:cubicBezTo>
                      <a:cubicBezTo>
                        <a:pt x="16" y="46"/>
                        <a:pt x="16" y="44"/>
                        <a:pt x="16" y="44"/>
                      </a:cubicBezTo>
                      <a:cubicBezTo>
                        <a:pt x="16" y="41"/>
                        <a:pt x="20" y="41"/>
                        <a:pt x="20" y="41"/>
                      </a:cubicBezTo>
                      <a:cubicBezTo>
                        <a:pt x="25" y="40"/>
                        <a:pt x="27" y="43"/>
                        <a:pt x="27" y="43"/>
                      </a:cubicBezTo>
                      <a:cubicBezTo>
                        <a:pt x="30" y="41"/>
                        <a:pt x="31" y="39"/>
                        <a:pt x="31" y="39"/>
                      </a:cubicBezTo>
                      <a:cubicBezTo>
                        <a:pt x="35" y="35"/>
                        <a:pt x="37" y="38"/>
                        <a:pt x="37" y="38"/>
                      </a:cubicBezTo>
                      <a:cubicBezTo>
                        <a:pt x="39" y="41"/>
                        <a:pt x="41" y="38"/>
                        <a:pt x="41" y="38"/>
                      </a:cubicBezTo>
                      <a:cubicBezTo>
                        <a:pt x="44" y="41"/>
                        <a:pt x="44" y="37"/>
                        <a:pt x="44" y="37"/>
                      </a:cubicBezTo>
                      <a:cubicBezTo>
                        <a:pt x="47" y="38"/>
                        <a:pt x="46" y="34"/>
                        <a:pt x="46" y="34"/>
                      </a:cubicBezTo>
                      <a:cubicBezTo>
                        <a:pt x="42" y="37"/>
                        <a:pt x="46" y="32"/>
                        <a:pt x="46" y="32"/>
                      </a:cubicBezTo>
                      <a:cubicBezTo>
                        <a:pt x="43" y="35"/>
                        <a:pt x="41" y="34"/>
                        <a:pt x="41" y="34"/>
                      </a:cubicBezTo>
                      <a:cubicBezTo>
                        <a:pt x="39" y="35"/>
                        <a:pt x="35" y="33"/>
                        <a:pt x="35" y="33"/>
                      </a:cubicBezTo>
                      <a:cubicBezTo>
                        <a:pt x="31" y="36"/>
                        <a:pt x="29" y="34"/>
                        <a:pt x="29" y="34"/>
                      </a:cubicBezTo>
                      <a:cubicBezTo>
                        <a:pt x="27" y="36"/>
                        <a:pt x="26" y="33"/>
                        <a:pt x="24" y="33"/>
                      </a:cubicBezTo>
                      <a:cubicBezTo>
                        <a:pt x="20" y="36"/>
                        <a:pt x="18" y="31"/>
                        <a:pt x="18" y="31"/>
                      </a:cubicBezTo>
                      <a:cubicBezTo>
                        <a:pt x="13" y="27"/>
                        <a:pt x="16" y="25"/>
                        <a:pt x="16" y="25"/>
                      </a:cubicBezTo>
                      <a:cubicBezTo>
                        <a:pt x="13" y="25"/>
                        <a:pt x="15" y="22"/>
                        <a:pt x="15" y="22"/>
                      </a:cubicBezTo>
                      <a:lnTo>
                        <a:pt x="15" y="22"/>
                      </a:lnTo>
                      <a:lnTo>
                        <a:pt x="11" y="22"/>
                      </a:lnTo>
                      <a:lnTo>
                        <a:pt x="11" y="22"/>
                      </a:lnTo>
                      <a:cubicBezTo>
                        <a:pt x="5" y="22"/>
                        <a:pt x="6" y="20"/>
                        <a:pt x="6" y="20"/>
                      </a:cubicBezTo>
                      <a:lnTo>
                        <a:pt x="6" y="20"/>
                      </a:lnTo>
                      <a:lnTo>
                        <a:pt x="5" y="21"/>
                      </a:lnTo>
                      <a:lnTo>
                        <a:pt x="5" y="21"/>
                      </a:lnTo>
                      <a:cubicBezTo>
                        <a:pt x="2" y="22"/>
                        <a:pt x="0" y="20"/>
                        <a:pt x="0" y="20"/>
                      </a:cubicBezTo>
                      <a:cubicBezTo>
                        <a:pt x="0" y="17"/>
                        <a:pt x="3" y="16"/>
                        <a:pt x="3" y="16"/>
                      </a:cubicBezTo>
                      <a:cubicBezTo>
                        <a:pt x="5" y="14"/>
                        <a:pt x="5" y="10"/>
                        <a:pt x="5" y="10"/>
                      </a:cubicBezTo>
                      <a:cubicBezTo>
                        <a:pt x="7" y="7"/>
                        <a:pt x="12" y="8"/>
                        <a:pt x="12" y="8"/>
                      </a:cubicBezTo>
                      <a:cubicBezTo>
                        <a:pt x="14" y="8"/>
                        <a:pt x="16" y="4"/>
                        <a:pt x="19" y="3"/>
                      </a:cubicBezTo>
                      <a:cubicBezTo>
                        <a:pt x="26" y="0"/>
                        <a:pt x="30" y="4"/>
                        <a:pt x="30" y="4"/>
                      </a:cubicBezTo>
                      <a:cubicBezTo>
                        <a:pt x="35" y="4"/>
                        <a:pt x="38" y="8"/>
                        <a:pt x="38" y="8"/>
                      </a:cubicBezTo>
                      <a:lnTo>
                        <a:pt x="38" y="8"/>
                      </a:lnTo>
                      <a:lnTo>
                        <a:pt x="48" y="9"/>
                      </a:lnTo>
                      <a:lnTo>
                        <a:pt x="48" y="9"/>
                      </a:lnTo>
                      <a:cubicBezTo>
                        <a:pt x="52" y="11"/>
                        <a:pt x="48" y="12"/>
                        <a:pt x="48" y="12"/>
                      </a:cubicBezTo>
                      <a:cubicBezTo>
                        <a:pt x="48" y="14"/>
                        <a:pt x="50" y="16"/>
                        <a:pt x="50" y="16"/>
                      </a:cubicBezTo>
                      <a:cubicBezTo>
                        <a:pt x="54" y="18"/>
                        <a:pt x="51" y="23"/>
                        <a:pt x="51" y="23"/>
                      </a:cubicBezTo>
                      <a:cubicBezTo>
                        <a:pt x="48" y="24"/>
                        <a:pt x="49" y="27"/>
                        <a:pt x="49" y="27"/>
                      </a:cubicBezTo>
                      <a:cubicBezTo>
                        <a:pt x="50" y="28"/>
                        <a:pt x="50" y="32"/>
                        <a:pt x="50" y="36"/>
                      </a:cubicBezTo>
                      <a:cubicBezTo>
                        <a:pt x="53" y="38"/>
                        <a:pt x="55" y="44"/>
                        <a:pt x="55" y="44"/>
                      </a:cubicBezTo>
                      <a:lnTo>
                        <a:pt x="55" y="44"/>
                      </a:lnTo>
                      <a:lnTo>
                        <a:pt x="59" y="45"/>
                      </a:lnTo>
                      <a:lnTo>
                        <a:pt x="59" y="45"/>
                      </a:lnTo>
                      <a:cubicBezTo>
                        <a:pt x="60" y="52"/>
                        <a:pt x="65" y="53"/>
                        <a:pt x="65" y="53"/>
                      </a:cubicBezTo>
                      <a:cubicBezTo>
                        <a:pt x="72" y="53"/>
                        <a:pt x="73" y="51"/>
                        <a:pt x="73" y="51"/>
                      </a:cubicBezTo>
                      <a:cubicBezTo>
                        <a:pt x="73" y="47"/>
                        <a:pt x="78" y="46"/>
                        <a:pt x="78" y="46"/>
                      </a:cubicBezTo>
                      <a:cubicBezTo>
                        <a:pt x="78" y="41"/>
                        <a:pt x="83" y="40"/>
                        <a:pt x="83" y="40"/>
                      </a:cubicBezTo>
                      <a:cubicBezTo>
                        <a:pt x="84" y="33"/>
                        <a:pt x="87" y="33"/>
                        <a:pt x="87" y="33"/>
                      </a:cubicBezTo>
                      <a:cubicBezTo>
                        <a:pt x="91" y="35"/>
                        <a:pt x="93" y="33"/>
                        <a:pt x="93" y="33"/>
                      </a:cubicBezTo>
                      <a:cubicBezTo>
                        <a:pt x="93" y="31"/>
                        <a:pt x="98" y="31"/>
                        <a:pt x="98" y="31"/>
                      </a:cubicBezTo>
                      <a:cubicBezTo>
                        <a:pt x="99" y="29"/>
                        <a:pt x="96" y="27"/>
                        <a:pt x="96" y="27"/>
                      </a:cubicBezTo>
                      <a:cubicBezTo>
                        <a:pt x="97" y="25"/>
                        <a:pt x="99" y="27"/>
                        <a:pt x="104" y="22"/>
                      </a:cubicBezTo>
                      <a:cubicBezTo>
                        <a:pt x="108" y="18"/>
                        <a:pt x="110" y="23"/>
                        <a:pt x="115" y="24"/>
                      </a:cubicBezTo>
                      <a:cubicBezTo>
                        <a:pt x="121" y="24"/>
                        <a:pt x="126" y="29"/>
                        <a:pt x="126" y="29"/>
                      </a:cubicBezTo>
                      <a:cubicBezTo>
                        <a:pt x="130" y="32"/>
                        <a:pt x="136" y="34"/>
                        <a:pt x="136" y="34"/>
                      </a:cubicBezTo>
                      <a:cubicBezTo>
                        <a:pt x="139" y="38"/>
                        <a:pt x="143" y="35"/>
                        <a:pt x="143" y="35"/>
                      </a:cubicBezTo>
                      <a:cubicBezTo>
                        <a:pt x="145" y="35"/>
                        <a:pt x="147" y="37"/>
                        <a:pt x="147" y="37"/>
                      </a:cubicBezTo>
                      <a:cubicBezTo>
                        <a:pt x="153" y="35"/>
                        <a:pt x="154" y="39"/>
                        <a:pt x="154" y="39"/>
                      </a:cubicBezTo>
                      <a:cubicBezTo>
                        <a:pt x="154" y="40"/>
                        <a:pt x="156" y="40"/>
                        <a:pt x="157" y="40"/>
                      </a:cubicBezTo>
                      <a:lnTo>
                        <a:pt x="157" y="40"/>
                      </a:lnTo>
                      <a:lnTo>
                        <a:pt x="157" y="102"/>
                      </a:lnTo>
                      <a:lnTo>
                        <a:pt x="157" y="102"/>
                      </a:lnTo>
                      <a:cubicBezTo>
                        <a:pt x="154" y="111"/>
                        <a:pt x="155" y="109"/>
                        <a:pt x="157" y="113"/>
                      </a:cubicBezTo>
                      <a:lnTo>
                        <a:pt x="157" y="113"/>
                      </a:lnTo>
                      <a:lnTo>
                        <a:pt x="157" y="150"/>
                      </a:lnTo>
                      <a:lnTo>
                        <a:pt x="157" y="15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3" name="Freeform 680"/>
                <p:cNvSpPr>
                  <a:spLocks/>
                </p:cNvSpPr>
                <p:nvPr>
                  <p:custDataLst>
                    <p:tags r:id="rId659"/>
                  </p:custDataLst>
                </p:nvPr>
              </p:nvSpPr>
              <p:spPr bwMode="gray">
                <a:xfrm>
                  <a:off x="8480216" y="3591558"/>
                  <a:ext cx="0" cy="11009"/>
                </a:xfrm>
                <a:custGeom>
                  <a:avLst/>
                  <a:gdLst>
                    <a:gd name="T0" fmla="*/ 7 h 7"/>
                    <a:gd name="T1" fmla="*/ 0 h 7"/>
                    <a:gd name="T2" fmla="*/ 0 h 7"/>
                    <a:gd name="T3" fmla="*/ 0 h 7"/>
                    <a:gd name="T4" fmla="*/ 0 h 7"/>
                    <a:gd name="T5" fmla="*/ 0 h 7"/>
                    <a:gd name="T6" fmla="*/ 7 h 7"/>
                  </a:gdLst>
                  <a:ahLst/>
                  <a:cxnLst>
                    <a:cxn ang="0">
                      <a:pos x="0" y="T0"/>
                    </a:cxn>
                    <a:cxn ang="0">
                      <a:pos x="0" y="T1"/>
                    </a:cxn>
                    <a:cxn ang="0">
                      <a:pos x="0" y="T2"/>
                    </a:cxn>
                    <a:cxn ang="0">
                      <a:pos x="0" y="T3"/>
                    </a:cxn>
                    <a:cxn ang="0">
                      <a:pos x="0" y="T4"/>
                    </a:cxn>
                    <a:cxn ang="0">
                      <a:pos x="0" y="T5"/>
                    </a:cxn>
                    <a:cxn ang="0">
                      <a:pos x="0" y="T6"/>
                    </a:cxn>
                  </a:cxnLst>
                  <a:rect l="0" t="0" r="r" b="b"/>
                  <a:pathLst>
                    <a:path h="7">
                      <a:moveTo>
                        <a:pt x="0" y="7"/>
                      </a:moveTo>
                      <a:lnTo>
                        <a:pt x="0" y="0"/>
                      </a:lnTo>
                      <a:lnTo>
                        <a:pt x="0" y="0"/>
                      </a:lnTo>
                      <a:lnTo>
                        <a:pt x="0" y="0"/>
                      </a:lnTo>
                      <a:lnTo>
                        <a:pt x="0" y="0"/>
                      </a:lnTo>
                      <a:lnTo>
                        <a:pt x="0" y="0"/>
                      </a:lnTo>
                      <a:lnTo>
                        <a:pt x="0" y="7"/>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4" name="Freeform 682"/>
                <p:cNvSpPr>
                  <a:spLocks/>
                </p:cNvSpPr>
                <p:nvPr>
                  <p:custDataLst>
                    <p:tags r:id="rId660"/>
                  </p:custDataLst>
                </p:nvPr>
              </p:nvSpPr>
              <p:spPr bwMode="gray">
                <a:xfrm>
                  <a:off x="6388785" y="3534948"/>
                  <a:ext cx="472441" cy="839722"/>
                </a:xfrm>
                <a:custGeom>
                  <a:avLst/>
                  <a:gdLst>
                    <a:gd name="T0" fmla="*/ 9 w 47"/>
                    <a:gd name="T1" fmla="*/ 0 h 75"/>
                    <a:gd name="T2" fmla="*/ 15 w 47"/>
                    <a:gd name="T3" fmla="*/ 7 h 75"/>
                    <a:gd name="T4" fmla="*/ 16 w 47"/>
                    <a:gd name="T5" fmla="*/ 14 h 75"/>
                    <a:gd name="T6" fmla="*/ 25 w 47"/>
                    <a:gd name="T7" fmla="*/ 10 h 75"/>
                    <a:gd name="T8" fmla="*/ 25 w 47"/>
                    <a:gd name="T9" fmla="*/ 10 h 75"/>
                    <a:gd name="T10" fmla="*/ 27 w 47"/>
                    <a:gd name="T11" fmla="*/ 13 h 75"/>
                    <a:gd name="T12" fmla="*/ 27 w 47"/>
                    <a:gd name="T13" fmla="*/ 13 h 75"/>
                    <a:gd name="T14" fmla="*/ 36 w 47"/>
                    <a:gd name="T15" fmla="*/ 18 h 75"/>
                    <a:gd name="T16" fmla="*/ 47 w 47"/>
                    <a:gd name="T17" fmla="*/ 23 h 75"/>
                    <a:gd name="T18" fmla="*/ 39 w 47"/>
                    <a:gd name="T19" fmla="*/ 30 h 75"/>
                    <a:gd name="T20" fmla="*/ 34 w 47"/>
                    <a:gd name="T21" fmla="*/ 38 h 75"/>
                    <a:gd name="T22" fmla="*/ 35 w 47"/>
                    <a:gd name="T23" fmla="*/ 35 h 75"/>
                    <a:gd name="T24" fmla="*/ 37 w 47"/>
                    <a:gd name="T25" fmla="*/ 27 h 75"/>
                    <a:gd name="T26" fmla="*/ 37 w 47"/>
                    <a:gd name="T27" fmla="*/ 27 h 75"/>
                    <a:gd name="T28" fmla="*/ 35 w 47"/>
                    <a:gd name="T29" fmla="*/ 27 h 75"/>
                    <a:gd name="T30" fmla="*/ 35 w 47"/>
                    <a:gd name="T31" fmla="*/ 27 h 75"/>
                    <a:gd name="T32" fmla="*/ 35 w 47"/>
                    <a:gd name="T33" fmla="*/ 24 h 75"/>
                    <a:gd name="T34" fmla="*/ 35 w 47"/>
                    <a:gd name="T35" fmla="*/ 24 h 75"/>
                    <a:gd name="T36" fmla="*/ 30 w 47"/>
                    <a:gd name="T37" fmla="*/ 23 h 75"/>
                    <a:gd name="T38" fmla="*/ 30 w 47"/>
                    <a:gd name="T39" fmla="*/ 23 h 75"/>
                    <a:gd name="T40" fmla="*/ 23 w 47"/>
                    <a:gd name="T41" fmla="*/ 29 h 75"/>
                    <a:gd name="T42" fmla="*/ 26 w 47"/>
                    <a:gd name="T43" fmla="*/ 34 h 75"/>
                    <a:gd name="T44" fmla="*/ 27 w 47"/>
                    <a:gd name="T45" fmla="*/ 42 h 75"/>
                    <a:gd name="T46" fmla="*/ 26 w 47"/>
                    <a:gd name="T47" fmla="*/ 50 h 75"/>
                    <a:gd name="T48" fmla="*/ 26 w 47"/>
                    <a:gd name="T49" fmla="*/ 50 h 75"/>
                    <a:gd name="T50" fmla="*/ 27 w 47"/>
                    <a:gd name="T51" fmla="*/ 57 h 75"/>
                    <a:gd name="T52" fmla="*/ 27 w 47"/>
                    <a:gd name="T53" fmla="*/ 57 h 75"/>
                    <a:gd name="T54" fmla="*/ 24 w 47"/>
                    <a:gd name="T55" fmla="*/ 65 h 75"/>
                    <a:gd name="T56" fmla="*/ 27 w 47"/>
                    <a:gd name="T57" fmla="*/ 74 h 75"/>
                    <a:gd name="T58" fmla="*/ 22 w 47"/>
                    <a:gd name="T59" fmla="*/ 74 h 75"/>
                    <a:gd name="T60" fmla="*/ 17 w 47"/>
                    <a:gd name="T61" fmla="*/ 75 h 75"/>
                    <a:gd name="T62" fmla="*/ 10 w 47"/>
                    <a:gd name="T63" fmla="*/ 71 h 75"/>
                    <a:gd name="T64" fmla="*/ 10 w 47"/>
                    <a:gd name="T65" fmla="*/ 71 h 75"/>
                    <a:gd name="T66" fmla="*/ 11 w 47"/>
                    <a:gd name="T67" fmla="*/ 66 h 75"/>
                    <a:gd name="T68" fmla="*/ 11 w 47"/>
                    <a:gd name="T69" fmla="*/ 66 h 75"/>
                    <a:gd name="T70" fmla="*/ 12 w 47"/>
                    <a:gd name="T71" fmla="*/ 59 h 75"/>
                    <a:gd name="T72" fmla="*/ 14 w 47"/>
                    <a:gd name="T73" fmla="*/ 49 h 75"/>
                    <a:gd name="T74" fmla="*/ 14 w 47"/>
                    <a:gd name="T75" fmla="*/ 49 h 75"/>
                    <a:gd name="T76" fmla="*/ 11 w 47"/>
                    <a:gd name="T77" fmla="*/ 40 h 75"/>
                    <a:gd name="T78" fmla="*/ 11 w 47"/>
                    <a:gd name="T79" fmla="*/ 40 h 75"/>
                    <a:gd name="T80" fmla="*/ 8 w 47"/>
                    <a:gd name="T81" fmla="*/ 38 h 75"/>
                    <a:gd name="T82" fmla="*/ 8 w 47"/>
                    <a:gd name="T83" fmla="*/ 38 h 75"/>
                    <a:gd name="T84" fmla="*/ 3 w 47"/>
                    <a:gd name="T85" fmla="*/ 39 h 75"/>
                    <a:gd name="T86" fmla="*/ 3 w 47"/>
                    <a:gd name="T87" fmla="*/ 39 h 75"/>
                    <a:gd name="T88" fmla="*/ 0 w 47"/>
                    <a:gd name="T89" fmla="*/ 31 h 75"/>
                    <a:gd name="T90" fmla="*/ 0 w 47"/>
                    <a:gd name="T91" fmla="*/ 27 h 75"/>
                    <a:gd name="T92" fmla="*/ 3 w 47"/>
                    <a:gd name="T93" fmla="*/ 23 h 75"/>
                    <a:gd name="T94" fmla="*/ 6 w 47"/>
                    <a:gd name="T95" fmla="*/ 17 h 75"/>
                    <a:gd name="T96" fmla="*/ 10 w 47"/>
                    <a:gd name="T97" fmla="*/ 12 h 75"/>
                    <a:gd name="T98" fmla="*/ 9 w 47"/>
                    <a:gd name="T99" fmla="*/ 1 h 75"/>
                    <a:gd name="T100" fmla="*/ 9 w 47"/>
                    <a:gd name="T101" fmla="*/ 0 h 75"/>
                    <a:gd name="T102" fmla="*/ 9 w 47"/>
                    <a:gd name="T103" fmla="*/ 0 h 75"/>
                    <a:gd name="T104" fmla="*/ 9 w 47"/>
                    <a:gd name="T10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 h="75">
                      <a:moveTo>
                        <a:pt x="9" y="0"/>
                      </a:moveTo>
                      <a:cubicBezTo>
                        <a:pt x="9" y="0"/>
                        <a:pt x="14" y="2"/>
                        <a:pt x="15" y="7"/>
                      </a:cubicBezTo>
                      <a:cubicBezTo>
                        <a:pt x="15" y="7"/>
                        <a:pt x="19" y="9"/>
                        <a:pt x="16" y="14"/>
                      </a:cubicBezTo>
                      <a:cubicBezTo>
                        <a:pt x="16" y="14"/>
                        <a:pt x="20" y="10"/>
                        <a:pt x="25" y="10"/>
                      </a:cubicBezTo>
                      <a:lnTo>
                        <a:pt x="25" y="10"/>
                      </a:lnTo>
                      <a:lnTo>
                        <a:pt x="27" y="13"/>
                      </a:lnTo>
                      <a:lnTo>
                        <a:pt x="27" y="13"/>
                      </a:lnTo>
                      <a:cubicBezTo>
                        <a:pt x="27" y="13"/>
                        <a:pt x="30" y="17"/>
                        <a:pt x="36" y="18"/>
                      </a:cubicBezTo>
                      <a:cubicBezTo>
                        <a:pt x="36" y="18"/>
                        <a:pt x="46" y="21"/>
                        <a:pt x="47" y="23"/>
                      </a:cubicBezTo>
                      <a:cubicBezTo>
                        <a:pt x="47" y="23"/>
                        <a:pt x="45" y="27"/>
                        <a:pt x="39" y="30"/>
                      </a:cubicBezTo>
                      <a:cubicBezTo>
                        <a:pt x="39" y="30"/>
                        <a:pt x="37" y="37"/>
                        <a:pt x="34" y="38"/>
                      </a:cubicBezTo>
                      <a:cubicBezTo>
                        <a:pt x="34" y="36"/>
                        <a:pt x="35" y="35"/>
                        <a:pt x="35" y="35"/>
                      </a:cubicBezTo>
                      <a:cubicBezTo>
                        <a:pt x="37" y="33"/>
                        <a:pt x="37" y="27"/>
                        <a:pt x="37" y="27"/>
                      </a:cubicBezTo>
                      <a:lnTo>
                        <a:pt x="37" y="27"/>
                      </a:lnTo>
                      <a:lnTo>
                        <a:pt x="35" y="27"/>
                      </a:lnTo>
                      <a:lnTo>
                        <a:pt x="35" y="27"/>
                      </a:lnTo>
                      <a:cubicBezTo>
                        <a:pt x="38" y="25"/>
                        <a:pt x="35" y="24"/>
                        <a:pt x="35" y="24"/>
                      </a:cubicBezTo>
                      <a:lnTo>
                        <a:pt x="35" y="24"/>
                      </a:lnTo>
                      <a:lnTo>
                        <a:pt x="30" y="23"/>
                      </a:lnTo>
                      <a:lnTo>
                        <a:pt x="30" y="23"/>
                      </a:lnTo>
                      <a:cubicBezTo>
                        <a:pt x="30" y="25"/>
                        <a:pt x="23" y="29"/>
                        <a:pt x="23" y="29"/>
                      </a:cubicBezTo>
                      <a:cubicBezTo>
                        <a:pt x="23" y="32"/>
                        <a:pt x="26" y="34"/>
                        <a:pt x="26" y="34"/>
                      </a:cubicBezTo>
                      <a:cubicBezTo>
                        <a:pt x="26" y="40"/>
                        <a:pt x="27" y="42"/>
                        <a:pt x="27" y="42"/>
                      </a:cubicBezTo>
                      <a:cubicBezTo>
                        <a:pt x="25" y="44"/>
                        <a:pt x="26" y="50"/>
                        <a:pt x="26" y="50"/>
                      </a:cubicBezTo>
                      <a:lnTo>
                        <a:pt x="26" y="50"/>
                      </a:lnTo>
                      <a:lnTo>
                        <a:pt x="27" y="57"/>
                      </a:lnTo>
                      <a:lnTo>
                        <a:pt x="27" y="57"/>
                      </a:lnTo>
                      <a:cubicBezTo>
                        <a:pt x="27" y="57"/>
                        <a:pt x="24" y="61"/>
                        <a:pt x="24" y="65"/>
                      </a:cubicBezTo>
                      <a:cubicBezTo>
                        <a:pt x="24" y="68"/>
                        <a:pt x="26" y="67"/>
                        <a:pt x="27" y="74"/>
                      </a:cubicBezTo>
                      <a:cubicBezTo>
                        <a:pt x="24" y="71"/>
                        <a:pt x="22" y="74"/>
                        <a:pt x="22" y="74"/>
                      </a:cubicBezTo>
                      <a:cubicBezTo>
                        <a:pt x="18" y="72"/>
                        <a:pt x="17" y="75"/>
                        <a:pt x="17" y="75"/>
                      </a:cubicBezTo>
                      <a:cubicBezTo>
                        <a:pt x="14" y="75"/>
                        <a:pt x="10" y="71"/>
                        <a:pt x="10" y="71"/>
                      </a:cubicBezTo>
                      <a:lnTo>
                        <a:pt x="10" y="71"/>
                      </a:lnTo>
                      <a:lnTo>
                        <a:pt x="11" y="66"/>
                      </a:lnTo>
                      <a:lnTo>
                        <a:pt x="11" y="66"/>
                      </a:lnTo>
                      <a:cubicBezTo>
                        <a:pt x="12" y="64"/>
                        <a:pt x="12" y="59"/>
                        <a:pt x="12" y="59"/>
                      </a:cubicBezTo>
                      <a:cubicBezTo>
                        <a:pt x="15" y="55"/>
                        <a:pt x="14" y="49"/>
                        <a:pt x="14" y="49"/>
                      </a:cubicBezTo>
                      <a:lnTo>
                        <a:pt x="14" y="49"/>
                      </a:lnTo>
                      <a:lnTo>
                        <a:pt x="11" y="40"/>
                      </a:lnTo>
                      <a:lnTo>
                        <a:pt x="11" y="40"/>
                      </a:lnTo>
                      <a:cubicBezTo>
                        <a:pt x="14" y="36"/>
                        <a:pt x="8" y="38"/>
                        <a:pt x="8" y="38"/>
                      </a:cubicBezTo>
                      <a:lnTo>
                        <a:pt x="8" y="38"/>
                      </a:lnTo>
                      <a:lnTo>
                        <a:pt x="3" y="39"/>
                      </a:lnTo>
                      <a:lnTo>
                        <a:pt x="3" y="39"/>
                      </a:lnTo>
                      <a:cubicBezTo>
                        <a:pt x="1" y="38"/>
                        <a:pt x="2" y="34"/>
                        <a:pt x="0" y="31"/>
                      </a:cubicBezTo>
                      <a:cubicBezTo>
                        <a:pt x="2" y="31"/>
                        <a:pt x="2" y="26"/>
                        <a:pt x="0" y="27"/>
                      </a:cubicBezTo>
                      <a:cubicBezTo>
                        <a:pt x="0" y="22"/>
                        <a:pt x="3" y="23"/>
                        <a:pt x="3" y="23"/>
                      </a:cubicBezTo>
                      <a:cubicBezTo>
                        <a:pt x="7" y="20"/>
                        <a:pt x="6" y="17"/>
                        <a:pt x="6" y="17"/>
                      </a:cubicBezTo>
                      <a:cubicBezTo>
                        <a:pt x="7" y="12"/>
                        <a:pt x="10" y="12"/>
                        <a:pt x="10" y="12"/>
                      </a:cubicBezTo>
                      <a:cubicBezTo>
                        <a:pt x="9" y="8"/>
                        <a:pt x="9" y="1"/>
                        <a:pt x="9" y="1"/>
                      </a:cubicBezTo>
                      <a:cubicBezTo>
                        <a:pt x="9" y="1"/>
                        <a:pt x="9" y="1"/>
                        <a:pt x="9" y="0"/>
                      </a:cubicBezTo>
                      <a:lnTo>
                        <a:pt x="9" y="0"/>
                      </a:lnTo>
                      <a:lnTo>
                        <a:pt x="9" y="0"/>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5" name="Freeform 683"/>
                <p:cNvSpPr>
                  <a:spLocks/>
                </p:cNvSpPr>
                <p:nvPr>
                  <p:custDataLst>
                    <p:tags r:id="rId661"/>
                  </p:custDataLst>
                </p:nvPr>
              </p:nvSpPr>
              <p:spPr bwMode="gray">
                <a:xfrm>
                  <a:off x="7161613" y="4947065"/>
                  <a:ext cx="293337" cy="314502"/>
                </a:xfrm>
                <a:custGeom>
                  <a:avLst/>
                  <a:gdLst>
                    <a:gd name="T0" fmla="*/ 25 w 29"/>
                    <a:gd name="T1" fmla="*/ 11 h 28"/>
                    <a:gd name="T2" fmla="*/ 23 w 29"/>
                    <a:gd name="T3" fmla="*/ 7 h 28"/>
                    <a:gd name="T4" fmla="*/ 25 w 29"/>
                    <a:gd name="T5" fmla="*/ 6 h 28"/>
                    <a:gd name="T6" fmla="*/ 27 w 29"/>
                    <a:gd name="T7" fmla="*/ 1 h 28"/>
                    <a:gd name="T8" fmla="*/ 23 w 29"/>
                    <a:gd name="T9" fmla="*/ 3 h 28"/>
                    <a:gd name="T10" fmla="*/ 19 w 29"/>
                    <a:gd name="T11" fmla="*/ 4 h 28"/>
                    <a:gd name="T12" fmla="*/ 12 w 29"/>
                    <a:gd name="T13" fmla="*/ 8 h 28"/>
                    <a:gd name="T14" fmla="*/ 4 w 29"/>
                    <a:gd name="T15" fmla="*/ 13 h 28"/>
                    <a:gd name="T16" fmla="*/ 1 w 29"/>
                    <a:gd name="T17" fmla="*/ 16 h 28"/>
                    <a:gd name="T18" fmla="*/ 0 w 29"/>
                    <a:gd name="T19" fmla="*/ 22 h 28"/>
                    <a:gd name="T20" fmla="*/ 1 w 29"/>
                    <a:gd name="T21" fmla="*/ 23 h 28"/>
                    <a:gd name="T22" fmla="*/ 2 w 29"/>
                    <a:gd name="T23" fmla="*/ 25 h 28"/>
                    <a:gd name="T24" fmla="*/ 1 w 29"/>
                    <a:gd name="T25" fmla="*/ 27 h 28"/>
                    <a:gd name="T26" fmla="*/ 3 w 29"/>
                    <a:gd name="T27" fmla="*/ 27 h 28"/>
                    <a:gd name="T28" fmla="*/ 5 w 29"/>
                    <a:gd name="T29" fmla="*/ 27 h 28"/>
                    <a:gd name="T30" fmla="*/ 7 w 29"/>
                    <a:gd name="T31" fmla="*/ 26 h 28"/>
                    <a:gd name="T32" fmla="*/ 11 w 29"/>
                    <a:gd name="T33" fmla="*/ 25 h 28"/>
                    <a:gd name="T34" fmla="*/ 13 w 29"/>
                    <a:gd name="T35" fmla="*/ 25 h 28"/>
                    <a:gd name="T36" fmla="*/ 15 w 29"/>
                    <a:gd name="T37" fmla="*/ 23 h 28"/>
                    <a:gd name="T38" fmla="*/ 20 w 29"/>
                    <a:gd name="T39" fmla="*/ 17 h 28"/>
                    <a:gd name="T40" fmla="*/ 21 w 29"/>
                    <a:gd name="T41" fmla="*/ 16 h 28"/>
                    <a:gd name="T42" fmla="*/ 25 w 29"/>
                    <a:gd name="T43" fmla="*/ 11 h 28"/>
                    <a:gd name="T44" fmla="*/ 25 w 29"/>
                    <a:gd name="T45" fmla="*/ 11 h 28"/>
                    <a:gd name="T46" fmla="*/ 25 w 29"/>
                    <a:gd name="T47" fmla="*/ 1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8">
                      <a:moveTo>
                        <a:pt x="25" y="11"/>
                      </a:moveTo>
                      <a:cubicBezTo>
                        <a:pt x="21" y="10"/>
                        <a:pt x="23" y="7"/>
                        <a:pt x="23" y="7"/>
                      </a:cubicBezTo>
                      <a:cubicBezTo>
                        <a:pt x="24" y="7"/>
                        <a:pt x="23" y="5"/>
                        <a:pt x="25" y="6"/>
                      </a:cubicBezTo>
                      <a:cubicBezTo>
                        <a:pt x="29" y="2"/>
                        <a:pt x="27" y="1"/>
                        <a:pt x="27" y="1"/>
                      </a:cubicBezTo>
                      <a:cubicBezTo>
                        <a:pt x="26" y="0"/>
                        <a:pt x="23" y="3"/>
                        <a:pt x="23" y="3"/>
                      </a:cubicBezTo>
                      <a:cubicBezTo>
                        <a:pt x="20" y="5"/>
                        <a:pt x="19" y="4"/>
                        <a:pt x="19" y="4"/>
                      </a:cubicBezTo>
                      <a:cubicBezTo>
                        <a:pt x="17" y="6"/>
                        <a:pt x="14" y="8"/>
                        <a:pt x="12" y="8"/>
                      </a:cubicBezTo>
                      <a:cubicBezTo>
                        <a:pt x="10" y="8"/>
                        <a:pt x="5" y="11"/>
                        <a:pt x="4" y="13"/>
                      </a:cubicBezTo>
                      <a:cubicBezTo>
                        <a:pt x="3" y="13"/>
                        <a:pt x="1" y="15"/>
                        <a:pt x="1" y="16"/>
                      </a:cubicBezTo>
                      <a:cubicBezTo>
                        <a:pt x="1" y="18"/>
                        <a:pt x="1" y="20"/>
                        <a:pt x="0" y="22"/>
                      </a:cubicBezTo>
                      <a:cubicBezTo>
                        <a:pt x="0" y="22"/>
                        <a:pt x="0" y="23"/>
                        <a:pt x="1" y="23"/>
                      </a:cubicBezTo>
                      <a:cubicBezTo>
                        <a:pt x="1" y="23"/>
                        <a:pt x="1" y="24"/>
                        <a:pt x="2" y="25"/>
                      </a:cubicBezTo>
                      <a:cubicBezTo>
                        <a:pt x="1" y="25"/>
                        <a:pt x="1" y="26"/>
                        <a:pt x="1" y="27"/>
                      </a:cubicBezTo>
                      <a:cubicBezTo>
                        <a:pt x="1" y="28"/>
                        <a:pt x="2" y="27"/>
                        <a:pt x="3" y="27"/>
                      </a:cubicBezTo>
                      <a:cubicBezTo>
                        <a:pt x="4" y="27"/>
                        <a:pt x="4" y="28"/>
                        <a:pt x="5" y="27"/>
                      </a:cubicBezTo>
                      <a:cubicBezTo>
                        <a:pt x="5" y="27"/>
                        <a:pt x="7" y="27"/>
                        <a:pt x="7" y="26"/>
                      </a:cubicBezTo>
                      <a:cubicBezTo>
                        <a:pt x="7" y="24"/>
                        <a:pt x="10" y="25"/>
                        <a:pt x="11" y="25"/>
                      </a:cubicBezTo>
                      <a:cubicBezTo>
                        <a:pt x="12" y="25"/>
                        <a:pt x="12" y="25"/>
                        <a:pt x="13" y="25"/>
                      </a:cubicBezTo>
                      <a:cubicBezTo>
                        <a:pt x="14" y="25"/>
                        <a:pt x="15" y="23"/>
                        <a:pt x="15" y="23"/>
                      </a:cubicBezTo>
                      <a:cubicBezTo>
                        <a:pt x="16" y="21"/>
                        <a:pt x="18" y="19"/>
                        <a:pt x="20" y="17"/>
                      </a:cubicBezTo>
                      <a:cubicBezTo>
                        <a:pt x="21" y="17"/>
                        <a:pt x="21" y="16"/>
                        <a:pt x="21" y="16"/>
                      </a:cubicBezTo>
                      <a:cubicBezTo>
                        <a:pt x="23" y="14"/>
                        <a:pt x="24" y="12"/>
                        <a:pt x="25" y="11"/>
                      </a:cubicBezTo>
                      <a:lnTo>
                        <a:pt x="25" y="11"/>
                      </a:lnTo>
                      <a:lnTo>
                        <a:pt x="25" y="1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6" name="Freeform 684"/>
                <p:cNvSpPr>
                  <a:spLocks/>
                </p:cNvSpPr>
                <p:nvPr>
                  <p:custDataLst>
                    <p:tags r:id="rId662"/>
                  </p:custDataLst>
                </p:nvPr>
              </p:nvSpPr>
              <p:spPr bwMode="gray">
                <a:xfrm>
                  <a:off x="4820562" y="2929530"/>
                  <a:ext cx="833471" cy="987539"/>
                </a:xfrm>
                <a:custGeom>
                  <a:avLst/>
                  <a:gdLst>
                    <a:gd name="T0" fmla="*/ 79 w 83"/>
                    <a:gd name="T1" fmla="*/ 15 h 88"/>
                    <a:gd name="T2" fmla="*/ 77 w 83"/>
                    <a:gd name="T3" fmla="*/ 18 h 88"/>
                    <a:gd name="T4" fmla="*/ 78 w 83"/>
                    <a:gd name="T5" fmla="*/ 22 h 88"/>
                    <a:gd name="T6" fmla="*/ 70 w 83"/>
                    <a:gd name="T7" fmla="*/ 29 h 88"/>
                    <a:gd name="T8" fmla="*/ 69 w 83"/>
                    <a:gd name="T9" fmla="*/ 41 h 88"/>
                    <a:gd name="T10" fmla="*/ 60 w 83"/>
                    <a:gd name="T11" fmla="*/ 44 h 88"/>
                    <a:gd name="T12" fmla="*/ 52 w 83"/>
                    <a:gd name="T13" fmla="*/ 45 h 88"/>
                    <a:gd name="T14" fmla="*/ 41 w 83"/>
                    <a:gd name="T15" fmla="*/ 53 h 88"/>
                    <a:gd name="T16" fmla="*/ 34 w 83"/>
                    <a:gd name="T17" fmla="*/ 60 h 88"/>
                    <a:gd name="T18" fmla="*/ 35 w 83"/>
                    <a:gd name="T19" fmla="*/ 71 h 88"/>
                    <a:gd name="T20" fmla="*/ 36 w 83"/>
                    <a:gd name="T21" fmla="*/ 80 h 88"/>
                    <a:gd name="T22" fmla="*/ 28 w 83"/>
                    <a:gd name="T23" fmla="*/ 82 h 88"/>
                    <a:gd name="T24" fmla="*/ 22 w 83"/>
                    <a:gd name="T25" fmla="*/ 80 h 88"/>
                    <a:gd name="T26" fmla="*/ 21 w 83"/>
                    <a:gd name="T27" fmla="*/ 70 h 88"/>
                    <a:gd name="T28" fmla="*/ 20 w 83"/>
                    <a:gd name="T29" fmla="*/ 57 h 88"/>
                    <a:gd name="T30" fmla="*/ 16 w 83"/>
                    <a:gd name="T31" fmla="*/ 51 h 88"/>
                    <a:gd name="T32" fmla="*/ 14 w 83"/>
                    <a:gd name="T33" fmla="*/ 48 h 88"/>
                    <a:gd name="T34" fmla="*/ 7 w 83"/>
                    <a:gd name="T35" fmla="*/ 46 h 88"/>
                    <a:gd name="T36" fmla="*/ 5 w 83"/>
                    <a:gd name="T37" fmla="*/ 37 h 88"/>
                    <a:gd name="T38" fmla="*/ 5 w 83"/>
                    <a:gd name="T39" fmla="*/ 32 h 88"/>
                    <a:gd name="T40" fmla="*/ 2 w 83"/>
                    <a:gd name="T41" fmla="*/ 28 h 88"/>
                    <a:gd name="T42" fmla="*/ 2 w 83"/>
                    <a:gd name="T43" fmla="*/ 17 h 88"/>
                    <a:gd name="T44" fmla="*/ 4 w 83"/>
                    <a:gd name="T45" fmla="*/ 7 h 88"/>
                    <a:gd name="T46" fmla="*/ 8 w 83"/>
                    <a:gd name="T47" fmla="*/ 2 h 88"/>
                    <a:gd name="T48" fmla="*/ 12 w 83"/>
                    <a:gd name="T49" fmla="*/ 0 h 88"/>
                    <a:gd name="T50" fmla="*/ 16 w 83"/>
                    <a:gd name="T51" fmla="*/ 10 h 88"/>
                    <a:gd name="T52" fmla="*/ 25 w 83"/>
                    <a:gd name="T53" fmla="*/ 18 h 88"/>
                    <a:gd name="T54" fmla="*/ 36 w 83"/>
                    <a:gd name="T55" fmla="*/ 16 h 88"/>
                    <a:gd name="T56" fmla="*/ 46 w 83"/>
                    <a:gd name="T57" fmla="*/ 17 h 88"/>
                    <a:gd name="T58" fmla="*/ 53 w 83"/>
                    <a:gd name="T59" fmla="*/ 9 h 88"/>
                    <a:gd name="T60" fmla="*/ 60 w 83"/>
                    <a:gd name="T61" fmla="*/ 8 h 88"/>
                    <a:gd name="T62" fmla="*/ 65 w 83"/>
                    <a:gd name="T63" fmla="*/ 8 h 88"/>
                    <a:gd name="T64" fmla="*/ 73 w 83"/>
                    <a:gd name="T65" fmla="*/ 12 h 88"/>
                    <a:gd name="T66" fmla="*/ 82 w 83"/>
                    <a:gd name="T67" fmla="*/ 9 h 88"/>
                    <a:gd name="T68" fmla="*/ 83 w 83"/>
                    <a:gd name="T69"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88">
                      <a:moveTo>
                        <a:pt x="83" y="9"/>
                      </a:moveTo>
                      <a:cubicBezTo>
                        <a:pt x="83" y="12"/>
                        <a:pt x="79" y="15"/>
                        <a:pt x="79" y="15"/>
                      </a:cubicBezTo>
                      <a:lnTo>
                        <a:pt x="79" y="15"/>
                      </a:lnTo>
                      <a:lnTo>
                        <a:pt x="77" y="18"/>
                      </a:lnTo>
                      <a:lnTo>
                        <a:pt x="77" y="18"/>
                      </a:lnTo>
                      <a:cubicBezTo>
                        <a:pt x="79" y="19"/>
                        <a:pt x="78" y="22"/>
                        <a:pt x="78" y="22"/>
                      </a:cubicBezTo>
                      <a:cubicBezTo>
                        <a:pt x="78" y="22"/>
                        <a:pt x="75" y="21"/>
                        <a:pt x="74" y="26"/>
                      </a:cubicBezTo>
                      <a:cubicBezTo>
                        <a:pt x="74" y="26"/>
                        <a:pt x="70" y="27"/>
                        <a:pt x="70" y="29"/>
                      </a:cubicBezTo>
                      <a:cubicBezTo>
                        <a:pt x="70" y="29"/>
                        <a:pt x="74" y="32"/>
                        <a:pt x="70" y="35"/>
                      </a:cubicBezTo>
                      <a:cubicBezTo>
                        <a:pt x="70" y="35"/>
                        <a:pt x="68" y="36"/>
                        <a:pt x="69" y="41"/>
                      </a:cubicBezTo>
                      <a:cubicBezTo>
                        <a:pt x="69" y="41"/>
                        <a:pt x="62" y="41"/>
                        <a:pt x="60" y="44"/>
                      </a:cubicBezTo>
                      <a:lnTo>
                        <a:pt x="60" y="44"/>
                      </a:lnTo>
                      <a:lnTo>
                        <a:pt x="52" y="45"/>
                      </a:lnTo>
                      <a:lnTo>
                        <a:pt x="52" y="45"/>
                      </a:lnTo>
                      <a:cubicBezTo>
                        <a:pt x="52" y="45"/>
                        <a:pt x="52" y="47"/>
                        <a:pt x="48" y="48"/>
                      </a:cubicBezTo>
                      <a:cubicBezTo>
                        <a:pt x="48" y="48"/>
                        <a:pt x="44" y="48"/>
                        <a:pt x="41" y="53"/>
                      </a:cubicBezTo>
                      <a:cubicBezTo>
                        <a:pt x="41" y="53"/>
                        <a:pt x="40" y="57"/>
                        <a:pt x="37" y="58"/>
                      </a:cubicBezTo>
                      <a:cubicBezTo>
                        <a:pt x="35" y="60"/>
                        <a:pt x="32" y="58"/>
                        <a:pt x="34" y="60"/>
                      </a:cubicBezTo>
                      <a:cubicBezTo>
                        <a:pt x="34" y="60"/>
                        <a:pt x="36" y="62"/>
                        <a:pt x="34" y="65"/>
                      </a:cubicBezTo>
                      <a:cubicBezTo>
                        <a:pt x="34" y="65"/>
                        <a:pt x="36" y="66"/>
                        <a:pt x="35" y="71"/>
                      </a:cubicBezTo>
                      <a:cubicBezTo>
                        <a:pt x="35" y="71"/>
                        <a:pt x="35" y="75"/>
                        <a:pt x="36" y="76"/>
                      </a:cubicBezTo>
                      <a:cubicBezTo>
                        <a:pt x="36" y="76"/>
                        <a:pt x="38" y="79"/>
                        <a:pt x="36" y="80"/>
                      </a:cubicBezTo>
                      <a:cubicBezTo>
                        <a:pt x="36" y="80"/>
                        <a:pt x="32" y="80"/>
                        <a:pt x="32" y="83"/>
                      </a:cubicBezTo>
                      <a:cubicBezTo>
                        <a:pt x="27" y="88"/>
                        <a:pt x="28" y="82"/>
                        <a:pt x="28" y="82"/>
                      </a:cubicBezTo>
                      <a:cubicBezTo>
                        <a:pt x="27" y="80"/>
                        <a:pt x="25" y="82"/>
                        <a:pt x="25" y="82"/>
                      </a:cubicBezTo>
                      <a:cubicBezTo>
                        <a:pt x="23" y="85"/>
                        <a:pt x="21" y="83"/>
                        <a:pt x="22" y="80"/>
                      </a:cubicBezTo>
                      <a:cubicBezTo>
                        <a:pt x="21" y="78"/>
                        <a:pt x="22" y="76"/>
                        <a:pt x="22" y="76"/>
                      </a:cubicBezTo>
                      <a:cubicBezTo>
                        <a:pt x="19" y="73"/>
                        <a:pt x="21" y="70"/>
                        <a:pt x="21" y="70"/>
                      </a:cubicBezTo>
                      <a:cubicBezTo>
                        <a:pt x="21" y="66"/>
                        <a:pt x="17" y="64"/>
                        <a:pt x="17" y="64"/>
                      </a:cubicBezTo>
                      <a:cubicBezTo>
                        <a:pt x="20" y="61"/>
                        <a:pt x="20" y="57"/>
                        <a:pt x="20" y="57"/>
                      </a:cubicBezTo>
                      <a:lnTo>
                        <a:pt x="20" y="57"/>
                      </a:lnTo>
                      <a:lnTo>
                        <a:pt x="16" y="51"/>
                      </a:lnTo>
                      <a:lnTo>
                        <a:pt x="16" y="51"/>
                      </a:lnTo>
                      <a:cubicBezTo>
                        <a:pt x="14" y="51"/>
                        <a:pt x="14" y="48"/>
                        <a:pt x="14" y="48"/>
                      </a:cubicBezTo>
                      <a:cubicBezTo>
                        <a:pt x="11" y="50"/>
                        <a:pt x="10" y="48"/>
                        <a:pt x="10" y="48"/>
                      </a:cubicBezTo>
                      <a:cubicBezTo>
                        <a:pt x="7" y="51"/>
                        <a:pt x="7" y="46"/>
                        <a:pt x="7" y="46"/>
                      </a:cubicBezTo>
                      <a:cubicBezTo>
                        <a:pt x="7" y="43"/>
                        <a:pt x="5" y="41"/>
                        <a:pt x="5" y="41"/>
                      </a:cubicBezTo>
                      <a:cubicBezTo>
                        <a:pt x="3" y="36"/>
                        <a:pt x="5" y="37"/>
                        <a:pt x="5" y="37"/>
                      </a:cubicBezTo>
                      <a:lnTo>
                        <a:pt x="5" y="37"/>
                      </a:lnTo>
                      <a:lnTo>
                        <a:pt x="5" y="32"/>
                      </a:lnTo>
                      <a:lnTo>
                        <a:pt x="5" y="32"/>
                      </a:lnTo>
                      <a:cubicBezTo>
                        <a:pt x="6" y="29"/>
                        <a:pt x="2" y="28"/>
                        <a:pt x="2" y="28"/>
                      </a:cubicBezTo>
                      <a:cubicBezTo>
                        <a:pt x="2" y="24"/>
                        <a:pt x="1" y="20"/>
                        <a:pt x="1" y="20"/>
                      </a:cubicBezTo>
                      <a:cubicBezTo>
                        <a:pt x="0" y="18"/>
                        <a:pt x="3" y="19"/>
                        <a:pt x="2" y="17"/>
                      </a:cubicBezTo>
                      <a:cubicBezTo>
                        <a:pt x="1" y="14"/>
                        <a:pt x="3" y="12"/>
                        <a:pt x="3" y="12"/>
                      </a:cubicBezTo>
                      <a:cubicBezTo>
                        <a:pt x="5" y="10"/>
                        <a:pt x="2" y="8"/>
                        <a:pt x="4" y="7"/>
                      </a:cubicBezTo>
                      <a:cubicBezTo>
                        <a:pt x="7" y="6"/>
                        <a:pt x="8" y="2"/>
                        <a:pt x="8" y="2"/>
                      </a:cubicBezTo>
                      <a:lnTo>
                        <a:pt x="8" y="2"/>
                      </a:lnTo>
                      <a:lnTo>
                        <a:pt x="12" y="0"/>
                      </a:lnTo>
                      <a:lnTo>
                        <a:pt x="12" y="0"/>
                      </a:lnTo>
                      <a:cubicBezTo>
                        <a:pt x="10" y="4"/>
                        <a:pt x="12" y="4"/>
                        <a:pt x="12" y="4"/>
                      </a:cubicBezTo>
                      <a:cubicBezTo>
                        <a:pt x="14" y="3"/>
                        <a:pt x="11" y="7"/>
                        <a:pt x="16" y="10"/>
                      </a:cubicBezTo>
                      <a:cubicBezTo>
                        <a:pt x="19" y="10"/>
                        <a:pt x="18" y="13"/>
                        <a:pt x="22" y="14"/>
                      </a:cubicBezTo>
                      <a:cubicBezTo>
                        <a:pt x="22" y="18"/>
                        <a:pt x="24" y="16"/>
                        <a:pt x="25" y="18"/>
                      </a:cubicBezTo>
                      <a:cubicBezTo>
                        <a:pt x="27" y="21"/>
                        <a:pt x="30" y="18"/>
                        <a:pt x="30" y="18"/>
                      </a:cubicBezTo>
                      <a:cubicBezTo>
                        <a:pt x="32" y="16"/>
                        <a:pt x="36" y="16"/>
                        <a:pt x="36" y="16"/>
                      </a:cubicBezTo>
                      <a:cubicBezTo>
                        <a:pt x="40" y="15"/>
                        <a:pt x="42" y="18"/>
                        <a:pt x="42" y="18"/>
                      </a:cubicBezTo>
                      <a:cubicBezTo>
                        <a:pt x="44" y="15"/>
                        <a:pt x="46" y="17"/>
                        <a:pt x="46" y="17"/>
                      </a:cubicBezTo>
                      <a:cubicBezTo>
                        <a:pt x="48" y="14"/>
                        <a:pt x="52" y="14"/>
                        <a:pt x="52" y="14"/>
                      </a:cubicBezTo>
                      <a:cubicBezTo>
                        <a:pt x="53" y="14"/>
                        <a:pt x="53" y="9"/>
                        <a:pt x="53" y="9"/>
                      </a:cubicBezTo>
                      <a:cubicBezTo>
                        <a:pt x="55" y="7"/>
                        <a:pt x="60" y="8"/>
                        <a:pt x="60" y="8"/>
                      </a:cubicBezTo>
                      <a:lnTo>
                        <a:pt x="60" y="8"/>
                      </a:lnTo>
                      <a:lnTo>
                        <a:pt x="65" y="8"/>
                      </a:lnTo>
                      <a:lnTo>
                        <a:pt x="65" y="8"/>
                      </a:lnTo>
                      <a:cubicBezTo>
                        <a:pt x="65" y="12"/>
                        <a:pt x="70" y="10"/>
                        <a:pt x="70" y="10"/>
                      </a:cubicBezTo>
                      <a:cubicBezTo>
                        <a:pt x="71" y="12"/>
                        <a:pt x="73" y="12"/>
                        <a:pt x="73" y="12"/>
                      </a:cubicBezTo>
                      <a:cubicBezTo>
                        <a:pt x="77" y="14"/>
                        <a:pt x="78" y="11"/>
                        <a:pt x="78" y="11"/>
                      </a:cubicBezTo>
                      <a:cubicBezTo>
                        <a:pt x="79" y="9"/>
                        <a:pt x="82" y="9"/>
                        <a:pt x="82" y="9"/>
                      </a:cubicBezTo>
                      <a:cubicBezTo>
                        <a:pt x="82" y="9"/>
                        <a:pt x="83" y="9"/>
                        <a:pt x="83" y="9"/>
                      </a:cubicBezTo>
                      <a:lnTo>
                        <a:pt x="83" y="9"/>
                      </a:lnTo>
                      <a:lnTo>
                        <a:pt x="83" y="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7" name="Freeform 685"/>
                <p:cNvSpPr>
                  <a:spLocks/>
                </p:cNvSpPr>
                <p:nvPr>
                  <p:custDataLst>
                    <p:tags r:id="rId663"/>
                  </p:custDataLst>
                </p:nvPr>
              </p:nvSpPr>
              <p:spPr bwMode="gray">
                <a:xfrm>
                  <a:off x="2648745" y="2247060"/>
                  <a:ext cx="523211" cy="662027"/>
                </a:xfrm>
                <a:custGeom>
                  <a:avLst/>
                  <a:gdLst>
                    <a:gd name="T0" fmla="*/ 48 w 52"/>
                    <a:gd name="T1" fmla="*/ 59 h 59"/>
                    <a:gd name="T2" fmla="*/ 48 w 52"/>
                    <a:gd name="T3" fmla="*/ 57 h 59"/>
                    <a:gd name="T4" fmla="*/ 46 w 52"/>
                    <a:gd name="T5" fmla="*/ 39 h 59"/>
                    <a:gd name="T6" fmla="*/ 44 w 52"/>
                    <a:gd name="T7" fmla="*/ 31 h 59"/>
                    <a:gd name="T8" fmla="*/ 49 w 52"/>
                    <a:gd name="T9" fmla="*/ 25 h 59"/>
                    <a:gd name="T10" fmla="*/ 49 w 52"/>
                    <a:gd name="T11" fmla="*/ 19 h 59"/>
                    <a:gd name="T12" fmla="*/ 45 w 52"/>
                    <a:gd name="T13" fmla="*/ 18 h 59"/>
                    <a:gd name="T14" fmla="*/ 43 w 52"/>
                    <a:gd name="T15" fmla="*/ 12 h 59"/>
                    <a:gd name="T16" fmla="*/ 43 w 52"/>
                    <a:gd name="T17" fmla="*/ 12 h 59"/>
                    <a:gd name="T18" fmla="*/ 39 w 52"/>
                    <a:gd name="T19" fmla="*/ 8 h 59"/>
                    <a:gd name="T20" fmla="*/ 39 w 52"/>
                    <a:gd name="T21" fmla="*/ 8 h 59"/>
                    <a:gd name="T22" fmla="*/ 35 w 52"/>
                    <a:gd name="T23" fmla="*/ 7 h 59"/>
                    <a:gd name="T24" fmla="*/ 31 w 52"/>
                    <a:gd name="T25" fmla="*/ 7 h 59"/>
                    <a:gd name="T26" fmla="*/ 25 w 52"/>
                    <a:gd name="T27" fmla="*/ 6 h 59"/>
                    <a:gd name="T28" fmla="*/ 18 w 52"/>
                    <a:gd name="T29" fmla="*/ 6 h 59"/>
                    <a:gd name="T30" fmla="*/ 12 w 52"/>
                    <a:gd name="T31" fmla="*/ 2 h 59"/>
                    <a:gd name="T32" fmla="*/ 6 w 52"/>
                    <a:gd name="T33" fmla="*/ 0 h 59"/>
                    <a:gd name="T34" fmla="*/ 2 w 52"/>
                    <a:gd name="T35" fmla="*/ 5 h 59"/>
                    <a:gd name="T36" fmla="*/ 7 w 52"/>
                    <a:gd name="T37" fmla="*/ 16 h 59"/>
                    <a:gd name="T38" fmla="*/ 7 w 52"/>
                    <a:gd name="T39" fmla="*/ 16 h 59"/>
                    <a:gd name="T40" fmla="*/ 13 w 52"/>
                    <a:gd name="T41" fmla="*/ 23 h 59"/>
                    <a:gd name="T42" fmla="*/ 13 w 52"/>
                    <a:gd name="T43" fmla="*/ 23 h 59"/>
                    <a:gd name="T44" fmla="*/ 17 w 52"/>
                    <a:gd name="T45" fmla="*/ 25 h 59"/>
                    <a:gd name="T46" fmla="*/ 17 w 52"/>
                    <a:gd name="T47" fmla="*/ 25 h 59"/>
                    <a:gd name="T48" fmla="*/ 22 w 52"/>
                    <a:gd name="T49" fmla="*/ 32 h 59"/>
                    <a:gd name="T50" fmla="*/ 22 w 52"/>
                    <a:gd name="T51" fmla="*/ 32 h 59"/>
                    <a:gd name="T52" fmla="*/ 30 w 52"/>
                    <a:gd name="T53" fmla="*/ 36 h 59"/>
                    <a:gd name="T54" fmla="*/ 30 w 52"/>
                    <a:gd name="T55" fmla="*/ 36 h 59"/>
                    <a:gd name="T56" fmla="*/ 34 w 52"/>
                    <a:gd name="T57" fmla="*/ 41 h 59"/>
                    <a:gd name="T58" fmla="*/ 34 w 52"/>
                    <a:gd name="T59" fmla="*/ 41 h 59"/>
                    <a:gd name="T60" fmla="*/ 39 w 52"/>
                    <a:gd name="T61" fmla="*/ 47 h 59"/>
                    <a:gd name="T62" fmla="*/ 39 w 52"/>
                    <a:gd name="T63" fmla="*/ 47 h 59"/>
                    <a:gd name="T64" fmla="*/ 40 w 52"/>
                    <a:gd name="T65" fmla="*/ 53 h 59"/>
                    <a:gd name="T66" fmla="*/ 40 w 52"/>
                    <a:gd name="T67" fmla="*/ 53 h 59"/>
                    <a:gd name="T68" fmla="*/ 45 w 52"/>
                    <a:gd name="T69" fmla="*/ 57 h 59"/>
                    <a:gd name="T70" fmla="*/ 48 w 52"/>
                    <a:gd name="T71" fmla="*/ 59 h 59"/>
                    <a:gd name="T72" fmla="*/ 48 w 52"/>
                    <a:gd name="T73" fmla="*/ 59 h 59"/>
                    <a:gd name="T74" fmla="*/ 48 w 52"/>
                    <a:gd name="T7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59">
                      <a:moveTo>
                        <a:pt x="48" y="59"/>
                      </a:moveTo>
                      <a:cubicBezTo>
                        <a:pt x="48" y="59"/>
                        <a:pt x="49" y="58"/>
                        <a:pt x="48" y="57"/>
                      </a:cubicBezTo>
                      <a:cubicBezTo>
                        <a:pt x="46" y="47"/>
                        <a:pt x="46" y="44"/>
                        <a:pt x="46" y="39"/>
                      </a:cubicBezTo>
                      <a:cubicBezTo>
                        <a:pt x="49" y="37"/>
                        <a:pt x="43" y="34"/>
                        <a:pt x="44" y="31"/>
                      </a:cubicBezTo>
                      <a:cubicBezTo>
                        <a:pt x="47" y="28"/>
                        <a:pt x="49" y="25"/>
                        <a:pt x="49" y="25"/>
                      </a:cubicBezTo>
                      <a:cubicBezTo>
                        <a:pt x="52" y="21"/>
                        <a:pt x="49" y="19"/>
                        <a:pt x="49" y="19"/>
                      </a:cubicBezTo>
                      <a:cubicBezTo>
                        <a:pt x="47" y="18"/>
                        <a:pt x="45" y="18"/>
                        <a:pt x="45" y="18"/>
                      </a:cubicBezTo>
                      <a:cubicBezTo>
                        <a:pt x="46" y="14"/>
                        <a:pt x="43" y="12"/>
                        <a:pt x="43" y="12"/>
                      </a:cubicBezTo>
                      <a:lnTo>
                        <a:pt x="43" y="12"/>
                      </a:lnTo>
                      <a:lnTo>
                        <a:pt x="39" y="8"/>
                      </a:lnTo>
                      <a:lnTo>
                        <a:pt x="39" y="8"/>
                      </a:lnTo>
                      <a:cubicBezTo>
                        <a:pt x="38" y="5"/>
                        <a:pt x="35" y="7"/>
                        <a:pt x="35" y="7"/>
                      </a:cubicBezTo>
                      <a:cubicBezTo>
                        <a:pt x="33" y="9"/>
                        <a:pt x="31" y="7"/>
                        <a:pt x="31" y="7"/>
                      </a:cubicBezTo>
                      <a:cubicBezTo>
                        <a:pt x="29" y="5"/>
                        <a:pt x="25" y="6"/>
                        <a:pt x="25" y="6"/>
                      </a:cubicBezTo>
                      <a:cubicBezTo>
                        <a:pt x="23" y="8"/>
                        <a:pt x="18" y="6"/>
                        <a:pt x="18" y="6"/>
                      </a:cubicBezTo>
                      <a:cubicBezTo>
                        <a:pt x="14" y="6"/>
                        <a:pt x="12" y="2"/>
                        <a:pt x="12" y="2"/>
                      </a:cubicBezTo>
                      <a:cubicBezTo>
                        <a:pt x="9" y="0"/>
                        <a:pt x="6" y="0"/>
                        <a:pt x="6" y="0"/>
                      </a:cubicBezTo>
                      <a:cubicBezTo>
                        <a:pt x="0" y="0"/>
                        <a:pt x="2" y="5"/>
                        <a:pt x="2" y="5"/>
                      </a:cubicBezTo>
                      <a:cubicBezTo>
                        <a:pt x="2" y="10"/>
                        <a:pt x="7" y="16"/>
                        <a:pt x="7" y="16"/>
                      </a:cubicBezTo>
                      <a:lnTo>
                        <a:pt x="7" y="16"/>
                      </a:lnTo>
                      <a:lnTo>
                        <a:pt x="13" y="23"/>
                      </a:lnTo>
                      <a:lnTo>
                        <a:pt x="13" y="23"/>
                      </a:lnTo>
                      <a:cubicBezTo>
                        <a:pt x="15" y="25"/>
                        <a:pt x="17" y="25"/>
                        <a:pt x="17" y="25"/>
                      </a:cubicBezTo>
                      <a:lnTo>
                        <a:pt x="17" y="25"/>
                      </a:lnTo>
                      <a:lnTo>
                        <a:pt x="22" y="32"/>
                      </a:lnTo>
                      <a:lnTo>
                        <a:pt x="22" y="32"/>
                      </a:lnTo>
                      <a:cubicBezTo>
                        <a:pt x="29" y="31"/>
                        <a:pt x="30" y="36"/>
                        <a:pt x="30" y="36"/>
                      </a:cubicBezTo>
                      <a:lnTo>
                        <a:pt x="30" y="36"/>
                      </a:lnTo>
                      <a:lnTo>
                        <a:pt x="34" y="41"/>
                      </a:lnTo>
                      <a:lnTo>
                        <a:pt x="34" y="41"/>
                      </a:lnTo>
                      <a:cubicBezTo>
                        <a:pt x="35" y="46"/>
                        <a:pt x="39" y="47"/>
                        <a:pt x="39" y="47"/>
                      </a:cubicBezTo>
                      <a:lnTo>
                        <a:pt x="39" y="47"/>
                      </a:lnTo>
                      <a:lnTo>
                        <a:pt x="40" y="53"/>
                      </a:lnTo>
                      <a:lnTo>
                        <a:pt x="40" y="53"/>
                      </a:lnTo>
                      <a:cubicBezTo>
                        <a:pt x="40" y="59"/>
                        <a:pt x="45" y="57"/>
                        <a:pt x="45" y="57"/>
                      </a:cubicBezTo>
                      <a:cubicBezTo>
                        <a:pt x="46" y="58"/>
                        <a:pt x="47" y="59"/>
                        <a:pt x="48" y="59"/>
                      </a:cubicBezTo>
                      <a:lnTo>
                        <a:pt x="48" y="59"/>
                      </a:lnTo>
                      <a:lnTo>
                        <a:pt x="48" y="59"/>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8" name="Freeform 686"/>
                <p:cNvSpPr>
                  <a:spLocks/>
                </p:cNvSpPr>
                <p:nvPr>
                  <p:custDataLst>
                    <p:tags r:id="rId664"/>
                  </p:custDataLst>
                </p:nvPr>
              </p:nvSpPr>
              <p:spPr bwMode="gray">
                <a:xfrm>
                  <a:off x="4238121" y="4398259"/>
                  <a:ext cx="582442" cy="380548"/>
                </a:xfrm>
                <a:custGeom>
                  <a:avLst/>
                  <a:gdLst>
                    <a:gd name="T0" fmla="*/ 24 w 58"/>
                    <a:gd name="T1" fmla="*/ 4 h 34"/>
                    <a:gd name="T2" fmla="*/ 20 w 58"/>
                    <a:gd name="T3" fmla="*/ 4 h 34"/>
                    <a:gd name="T4" fmla="*/ 16 w 58"/>
                    <a:gd name="T5" fmla="*/ 4 h 34"/>
                    <a:gd name="T6" fmla="*/ 14 w 58"/>
                    <a:gd name="T7" fmla="*/ 2 h 34"/>
                    <a:gd name="T8" fmla="*/ 11 w 58"/>
                    <a:gd name="T9" fmla="*/ 8 h 34"/>
                    <a:gd name="T10" fmla="*/ 9 w 58"/>
                    <a:gd name="T11" fmla="*/ 12 h 34"/>
                    <a:gd name="T12" fmla="*/ 7 w 58"/>
                    <a:gd name="T13" fmla="*/ 14 h 34"/>
                    <a:gd name="T14" fmla="*/ 5 w 58"/>
                    <a:gd name="T15" fmla="*/ 16 h 34"/>
                    <a:gd name="T16" fmla="*/ 2 w 58"/>
                    <a:gd name="T17" fmla="*/ 16 h 34"/>
                    <a:gd name="T18" fmla="*/ 2 w 58"/>
                    <a:gd name="T19" fmla="*/ 17 h 34"/>
                    <a:gd name="T20" fmla="*/ 5 w 58"/>
                    <a:gd name="T21" fmla="*/ 18 h 34"/>
                    <a:gd name="T22" fmla="*/ 14 w 58"/>
                    <a:gd name="T23" fmla="*/ 18 h 34"/>
                    <a:gd name="T24" fmla="*/ 22 w 58"/>
                    <a:gd name="T25" fmla="*/ 20 h 34"/>
                    <a:gd name="T26" fmla="*/ 20 w 58"/>
                    <a:gd name="T27" fmla="*/ 23 h 34"/>
                    <a:gd name="T28" fmla="*/ 20 w 58"/>
                    <a:gd name="T29" fmla="*/ 27 h 34"/>
                    <a:gd name="T30" fmla="*/ 30 w 58"/>
                    <a:gd name="T31" fmla="*/ 28 h 34"/>
                    <a:gd name="T32" fmla="*/ 40 w 58"/>
                    <a:gd name="T33" fmla="*/ 31 h 34"/>
                    <a:gd name="T34" fmla="*/ 50 w 58"/>
                    <a:gd name="T35" fmla="*/ 34 h 34"/>
                    <a:gd name="T36" fmla="*/ 50 w 58"/>
                    <a:gd name="T37" fmla="*/ 34 h 34"/>
                    <a:gd name="T38" fmla="*/ 52 w 58"/>
                    <a:gd name="T39" fmla="*/ 34 h 34"/>
                    <a:gd name="T40" fmla="*/ 55 w 58"/>
                    <a:gd name="T41" fmla="*/ 32 h 34"/>
                    <a:gd name="T42" fmla="*/ 55 w 58"/>
                    <a:gd name="T43" fmla="*/ 32 h 34"/>
                    <a:gd name="T44" fmla="*/ 58 w 58"/>
                    <a:gd name="T45" fmla="*/ 33 h 34"/>
                    <a:gd name="T46" fmla="*/ 56 w 58"/>
                    <a:gd name="T47" fmla="*/ 26 h 34"/>
                    <a:gd name="T48" fmla="*/ 56 w 58"/>
                    <a:gd name="T49" fmla="*/ 22 h 34"/>
                    <a:gd name="T50" fmla="*/ 57 w 58"/>
                    <a:gd name="T51" fmla="*/ 17 h 34"/>
                    <a:gd name="T52" fmla="*/ 54 w 58"/>
                    <a:gd name="T53" fmla="*/ 14 h 34"/>
                    <a:gd name="T54" fmla="*/ 50 w 58"/>
                    <a:gd name="T55" fmla="*/ 9 h 34"/>
                    <a:gd name="T56" fmla="*/ 47 w 58"/>
                    <a:gd name="T57" fmla="*/ 9 h 34"/>
                    <a:gd name="T58" fmla="*/ 42 w 58"/>
                    <a:gd name="T59" fmla="*/ 6 h 34"/>
                    <a:gd name="T60" fmla="*/ 38 w 58"/>
                    <a:gd name="T61" fmla="*/ 6 h 34"/>
                    <a:gd name="T62" fmla="*/ 34 w 58"/>
                    <a:gd name="T63" fmla="*/ 3 h 34"/>
                    <a:gd name="T64" fmla="*/ 29 w 58"/>
                    <a:gd name="T65" fmla="*/ 2 h 34"/>
                    <a:gd name="T66" fmla="*/ 28 w 58"/>
                    <a:gd name="T67" fmla="*/ 5 h 34"/>
                    <a:gd name="T68" fmla="*/ 26 w 58"/>
                    <a:gd name="T69" fmla="*/ 5 h 34"/>
                    <a:gd name="T70" fmla="*/ 24 w 58"/>
                    <a:gd name="T71" fmla="*/ 4 h 34"/>
                    <a:gd name="T72" fmla="*/ 24 w 58"/>
                    <a:gd name="T73" fmla="*/ 4 h 34"/>
                    <a:gd name="T74" fmla="*/ 24 w 58"/>
                    <a:gd name="T75"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34">
                      <a:moveTo>
                        <a:pt x="24" y="4"/>
                      </a:moveTo>
                      <a:cubicBezTo>
                        <a:pt x="23" y="4"/>
                        <a:pt x="21" y="3"/>
                        <a:pt x="20" y="4"/>
                      </a:cubicBezTo>
                      <a:cubicBezTo>
                        <a:pt x="20" y="4"/>
                        <a:pt x="18" y="1"/>
                        <a:pt x="16" y="4"/>
                      </a:cubicBezTo>
                      <a:cubicBezTo>
                        <a:pt x="16" y="4"/>
                        <a:pt x="14" y="0"/>
                        <a:pt x="14" y="2"/>
                      </a:cubicBezTo>
                      <a:cubicBezTo>
                        <a:pt x="14" y="2"/>
                        <a:pt x="11" y="4"/>
                        <a:pt x="11" y="8"/>
                      </a:cubicBezTo>
                      <a:cubicBezTo>
                        <a:pt x="11" y="8"/>
                        <a:pt x="11" y="13"/>
                        <a:pt x="9" y="12"/>
                      </a:cubicBezTo>
                      <a:cubicBezTo>
                        <a:pt x="9" y="12"/>
                        <a:pt x="7" y="11"/>
                        <a:pt x="7" y="14"/>
                      </a:cubicBezTo>
                      <a:cubicBezTo>
                        <a:pt x="7" y="14"/>
                        <a:pt x="7" y="16"/>
                        <a:pt x="5" y="16"/>
                      </a:cubicBezTo>
                      <a:cubicBezTo>
                        <a:pt x="5" y="16"/>
                        <a:pt x="3" y="14"/>
                        <a:pt x="2" y="16"/>
                      </a:cubicBezTo>
                      <a:cubicBezTo>
                        <a:pt x="2" y="16"/>
                        <a:pt x="0" y="16"/>
                        <a:pt x="2" y="17"/>
                      </a:cubicBezTo>
                      <a:cubicBezTo>
                        <a:pt x="2" y="17"/>
                        <a:pt x="4" y="19"/>
                        <a:pt x="5" y="18"/>
                      </a:cubicBezTo>
                      <a:cubicBezTo>
                        <a:pt x="12" y="19"/>
                        <a:pt x="12" y="16"/>
                        <a:pt x="14" y="18"/>
                      </a:cubicBezTo>
                      <a:cubicBezTo>
                        <a:pt x="14" y="18"/>
                        <a:pt x="17" y="21"/>
                        <a:pt x="22" y="20"/>
                      </a:cubicBezTo>
                      <a:cubicBezTo>
                        <a:pt x="22" y="20"/>
                        <a:pt x="23" y="22"/>
                        <a:pt x="20" y="23"/>
                      </a:cubicBezTo>
                      <a:cubicBezTo>
                        <a:pt x="20" y="23"/>
                        <a:pt x="18" y="26"/>
                        <a:pt x="20" y="27"/>
                      </a:cubicBezTo>
                      <a:cubicBezTo>
                        <a:pt x="22" y="29"/>
                        <a:pt x="30" y="27"/>
                        <a:pt x="30" y="28"/>
                      </a:cubicBezTo>
                      <a:cubicBezTo>
                        <a:pt x="30" y="28"/>
                        <a:pt x="37" y="28"/>
                        <a:pt x="40" y="31"/>
                      </a:cubicBezTo>
                      <a:cubicBezTo>
                        <a:pt x="40" y="31"/>
                        <a:pt x="43" y="34"/>
                        <a:pt x="50" y="34"/>
                      </a:cubicBezTo>
                      <a:lnTo>
                        <a:pt x="50" y="34"/>
                      </a:lnTo>
                      <a:lnTo>
                        <a:pt x="52" y="34"/>
                      </a:lnTo>
                      <a:lnTo>
                        <a:pt x="55" y="32"/>
                      </a:lnTo>
                      <a:lnTo>
                        <a:pt x="55" y="32"/>
                      </a:lnTo>
                      <a:cubicBezTo>
                        <a:pt x="55" y="32"/>
                        <a:pt x="57" y="33"/>
                        <a:pt x="58" y="33"/>
                      </a:cubicBezTo>
                      <a:cubicBezTo>
                        <a:pt x="58" y="28"/>
                        <a:pt x="56" y="26"/>
                        <a:pt x="56" y="26"/>
                      </a:cubicBezTo>
                      <a:cubicBezTo>
                        <a:pt x="54" y="24"/>
                        <a:pt x="56" y="22"/>
                        <a:pt x="56" y="22"/>
                      </a:cubicBezTo>
                      <a:cubicBezTo>
                        <a:pt x="57" y="20"/>
                        <a:pt x="57" y="17"/>
                        <a:pt x="57" y="17"/>
                      </a:cubicBezTo>
                      <a:cubicBezTo>
                        <a:pt x="57" y="17"/>
                        <a:pt x="55" y="17"/>
                        <a:pt x="54" y="14"/>
                      </a:cubicBezTo>
                      <a:cubicBezTo>
                        <a:pt x="54" y="14"/>
                        <a:pt x="54" y="11"/>
                        <a:pt x="50" y="9"/>
                      </a:cubicBezTo>
                      <a:cubicBezTo>
                        <a:pt x="50" y="6"/>
                        <a:pt x="49" y="8"/>
                        <a:pt x="47" y="9"/>
                      </a:cubicBezTo>
                      <a:cubicBezTo>
                        <a:pt x="44" y="9"/>
                        <a:pt x="44" y="6"/>
                        <a:pt x="42" y="6"/>
                      </a:cubicBezTo>
                      <a:cubicBezTo>
                        <a:pt x="42" y="6"/>
                        <a:pt x="40" y="9"/>
                        <a:pt x="38" y="6"/>
                      </a:cubicBezTo>
                      <a:cubicBezTo>
                        <a:pt x="38" y="6"/>
                        <a:pt x="37" y="7"/>
                        <a:pt x="34" y="3"/>
                      </a:cubicBezTo>
                      <a:cubicBezTo>
                        <a:pt x="34" y="3"/>
                        <a:pt x="33" y="4"/>
                        <a:pt x="29" y="2"/>
                      </a:cubicBezTo>
                      <a:cubicBezTo>
                        <a:pt x="29" y="2"/>
                        <a:pt x="29" y="4"/>
                        <a:pt x="28" y="5"/>
                      </a:cubicBezTo>
                      <a:cubicBezTo>
                        <a:pt x="27" y="5"/>
                        <a:pt x="27" y="5"/>
                        <a:pt x="26" y="5"/>
                      </a:cubicBezTo>
                      <a:cubicBezTo>
                        <a:pt x="26" y="5"/>
                        <a:pt x="25" y="4"/>
                        <a:pt x="24" y="4"/>
                      </a:cubicBezTo>
                      <a:lnTo>
                        <a:pt x="24" y="4"/>
                      </a:lnTo>
                      <a:lnTo>
                        <a:pt x="24" y="4"/>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49" name="Freeform 687"/>
                <p:cNvSpPr>
                  <a:spLocks/>
                </p:cNvSpPr>
                <p:nvPr>
                  <p:custDataLst>
                    <p:tags r:id="rId665"/>
                  </p:custDataLst>
                </p:nvPr>
              </p:nvSpPr>
              <p:spPr bwMode="gray">
                <a:xfrm>
                  <a:off x="8357522" y="3108796"/>
                  <a:ext cx="11282" cy="11008"/>
                </a:xfrm>
                <a:custGeom>
                  <a:avLst/>
                  <a:gdLst>
                    <a:gd name="T0" fmla="*/ 0 w 1"/>
                    <a:gd name="T1" fmla="*/ 1 h 1"/>
                    <a:gd name="T2" fmla="*/ 0 w 1"/>
                    <a:gd name="T3" fmla="*/ 0 h 1"/>
                    <a:gd name="T4" fmla="*/ 1 w 1"/>
                    <a:gd name="T5" fmla="*/ 1 h 1"/>
                    <a:gd name="T6" fmla="*/ 0 w 1"/>
                    <a:gd name="T7" fmla="*/ 1 h 1"/>
                    <a:gd name="T8" fmla="*/ 0 w 1"/>
                    <a:gd name="T9" fmla="*/ 1 h 1"/>
                    <a:gd name="T10" fmla="*/ 0 w 1"/>
                    <a:gd name="T11" fmla="*/ 1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cubicBezTo>
                        <a:pt x="0" y="0"/>
                        <a:pt x="0" y="0"/>
                        <a:pt x="0" y="0"/>
                      </a:cubicBezTo>
                      <a:cubicBezTo>
                        <a:pt x="0" y="0"/>
                        <a:pt x="1" y="0"/>
                        <a:pt x="1" y="1"/>
                      </a:cubicBezTo>
                      <a:cubicBezTo>
                        <a:pt x="1" y="1"/>
                        <a:pt x="0" y="1"/>
                        <a:pt x="0" y="1"/>
                      </a:cubicBezTo>
                      <a:cubicBezTo>
                        <a:pt x="0" y="1"/>
                        <a:pt x="0" y="1"/>
                        <a:pt x="0" y="1"/>
                      </a:cubicBezTo>
                      <a:lnTo>
                        <a:pt x="0" y="1"/>
                      </a:lnTo>
                      <a:lnTo>
                        <a:pt x="0" y="1"/>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0" name="Freeform 688"/>
                <p:cNvSpPr>
                  <a:spLocks/>
                </p:cNvSpPr>
                <p:nvPr>
                  <p:custDataLst>
                    <p:tags r:id="rId666"/>
                  </p:custDataLst>
                </p:nvPr>
              </p:nvSpPr>
              <p:spPr bwMode="gray">
                <a:xfrm>
                  <a:off x="4920692" y="1956144"/>
                  <a:ext cx="1568222" cy="1209262"/>
                </a:xfrm>
                <a:custGeom>
                  <a:avLst/>
                  <a:gdLst>
                    <a:gd name="T0" fmla="*/ 2 w 156"/>
                    <a:gd name="T1" fmla="*/ 91 h 108"/>
                    <a:gd name="T2" fmla="*/ 12 w 156"/>
                    <a:gd name="T3" fmla="*/ 101 h 108"/>
                    <a:gd name="T4" fmla="*/ 20 w 156"/>
                    <a:gd name="T5" fmla="*/ 105 h 108"/>
                    <a:gd name="T6" fmla="*/ 32 w 156"/>
                    <a:gd name="T7" fmla="*/ 105 h 108"/>
                    <a:gd name="T8" fmla="*/ 42 w 156"/>
                    <a:gd name="T9" fmla="*/ 101 h 108"/>
                    <a:gd name="T10" fmla="*/ 50 w 156"/>
                    <a:gd name="T11" fmla="*/ 95 h 108"/>
                    <a:gd name="T12" fmla="*/ 55 w 156"/>
                    <a:gd name="T13" fmla="*/ 95 h 108"/>
                    <a:gd name="T14" fmla="*/ 60 w 156"/>
                    <a:gd name="T15" fmla="*/ 97 h 108"/>
                    <a:gd name="T16" fmla="*/ 68 w 156"/>
                    <a:gd name="T17" fmla="*/ 98 h 108"/>
                    <a:gd name="T18" fmla="*/ 76 w 156"/>
                    <a:gd name="T19" fmla="*/ 96 h 108"/>
                    <a:gd name="T20" fmla="*/ 82 w 156"/>
                    <a:gd name="T21" fmla="*/ 90 h 108"/>
                    <a:gd name="T22" fmla="*/ 87 w 156"/>
                    <a:gd name="T23" fmla="*/ 81 h 108"/>
                    <a:gd name="T24" fmla="*/ 90 w 156"/>
                    <a:gd name="T25" fmla="*/ 71 h 108"/>
                    <a:gd name="T26" fmla="*/ 96 w 156"/>
                    <a:gd name="T27" fmla="*/ 60 h 108"/>
                    <a:gd name="T28" fmla="*/ 102 w 156"/>
                    <a:gd name="T29" fmla="*/ 47 h 108"/>
                    <a:gd name="T30" fmla="*/ 109 w 156"/>
                    <a:gd name="T31" fmla="*/ 47 h 108"/>
                    <a:gd name="T32" fmla="*/ 121 w 156"/>
                    <a:gd name="T33" fmla="*/ 48 h 108"/>
                    <a:gd name="T34" fmla="*/ 127 w 156"/>
                    <a:gd name="T35" fmla="*/ 51 h 108"/>
                    <a:gd name="T36" fmla="*/ 131 w 156"/>
                    <a:gd name="T37" fmla="*/ 47 h 108"/>
                    <a:gd name="T38" fmla="*/ 143 w 156"/>
                    <a:gd name="T39" fmla="*/ 47 h 108"/>
                    <a:gd name="T40" fmla="*/ 138 w 156"/>
                    <a:gd name="T41" fmla="*/ 41 h 108"/>
                    <a:gd name="T42" fmla="*/ 145 w 156"/>
                    <a:gd name="T43" fmla="*/ 37 h 108"/>
                    <a:gd name="T44" fmla="*/ 152 w 156"/>
                    <a:gd name="T45" fmla="*/ 29 h 108"/>
                    <a:gd name="T46" fmla="*/ 144 w 156"/>
                    <a:gd name="T47" fmla="*/ 25 h 108"/>
                    <a:gd name="T48" fmla="*/ 137 w 156"/>
                    <a:gd name="T49" fmla="*/ 23 h 108"/>
                    <a:gd name="T50" fmla="*/ 137 w 156"/>
                    <a:gd name="T51" fmla="*/ 24 h 108"/>
                    <a:gd name="T52" fmla="*/ 134 w 156"/>
                    <a:gd name="T53" fmla="*/ 23 h 108"/>
                    <a:gd name="T54" fmla="*/ 133 w 156"/>
                    <a:gd name="T55" fmla="*/ 20 h 108"/>
                    <a:gd name="T56" fmla="*/ 128 w 156"/>
                    <a:gd name="T57" fmla="*/ 21 h 108"/>
                    <a:gd name="T58" fmla="*/ 130 w 156"/>
                    <a:gd name="T59" fmla="*/ 16 h 108"/>
                    <a:gd name="T60" fmla="*/ 130 w 156"/>
                    <a:gd name="T61" fmla="*/ 13 h 108"/>
                    <a:gd name="T62" fmla="*/ 127 w 156"/>
                    <a:gd name="T63" fmla="*/ 10 h 108"/>
                    <a:gd name="T64" fmla="*/ 125 w 156"/>
                    <a:gd name="T65" fmla="*/ 7 h 108"/>
                    <a:gd name="T66" fmla="*/ 121 w 156"/>
                    <a:gd name="T67" fmla="*/ 3 h 108"/>
                    <a:gd name="T68" fmla="*/ 115 w 156"/>
                    <a:gd name="T69" fmla="*/ 9 h 108"/>
                    <a:gd name="T70" fmla="*/ 116 w 156"/>
                    <a:gd name="T71" fmla="*/ 3 h 108"/>
                    <a:gd name="T72" fmla="*/ 113 w 156"/>
                    <a:gd name="T73" fmla="*/ 8 h 108"/>
                    <a:gd name="T74" fmla="*/ 104 w 156"/>
                    <a:gd name="T75" fmla="*/ 19 h 108"/>
                    <a:gd name="T76" fmla="*/ 99 w 156"/>
                    <a:gd name="T77" fmla="*/ 27 h 108"/>
                    <a:gd name="T78" fmla="*/ 93 w 156"/>
                    <a:gd name="T79" fmla="*/ 32 h 108"/>
                    <a:gd name="T80" fmla="*/ 96 w 156"/>
                    <a:gd name="T81" fmla="*/ 34 h 108"/>
                    <a:gd name="T82" fmla="*/ 93 w 156"/>
                    <a:gd name="T83" fmla="*/ 38 h 108"/>
                    <a:gd name="T84" fmla="*/ 89 w 156"/>
                    <a:gd name="T85" fmla="*/ 39 h 108"/>
                    <a:gd name="T86" fmla="*/ 92 w 156"/>
                    <a:gd name="T87" fmla="*/ 48 h 108"/>
                    <a:gd name="T88" fmla="*/ 90 w 156"/>
                    <a:gd name="T89" fmla="*/ 48 h 108"/>
                    <a:gd name="T90" fmla="*/ 88 w 156"/>
                    <a:gd name="T91" fmla="*/ 43 h 108"/>
                    <a:gd name="T92" fmla="*/ 84 w 156"/>
                    <a:gd name="T93" fmla="*/ 44 h 108"/>
                    <a:gd name="T94" fmla="*/ 79 w 156"/>
                    <a:gd name="T95" fmla="*/ 51 h 108"/>
                    <a:gd name="T96" fmla="*/ 75 w 156"/>
                    <a:gd name="T97" fmla="*/ 45 h 108"/>
                    <a:gd name="T98" fmla="*/ 69 w 156"/>
                    <a:gd name="T99" fmla="*/ 50 h 108"/>
                    <a:gd name="T100" fmla="*/ 65 w 156"/>
                    <a:gd name="T101" fmla="*/ 55 h 108"/>
                    <a:gd name="T102" fmla="*/ 61 w 156"/>
                    <a:gd name="T103" fmla="*/ 60 h 108"/>
                    <a:gd name="T104" fmla="*/ 51 w 156"/>
                    <a:gd name="T105" fmla="*/ 69 h 108"/>
                    <a:gd name="T106" fmla="*/ 32 w 156"/>
                    <a:gd name="T107" fmla="*/ 75 h 108"/>
                    <a:gd name="T108" fmla="*/ 29 w 156"/>
                    <a:gd name="T109" fmla="*/ 80 h 108"/>
                    <a:gd name="T110" fmla="*/ 29 w 156"/>
                    <a:gd name="T111" fmla="*/ 84 h 108"/>
                    <a:gd name="T112" fmla="*/ 27 w 156"/>
                    <a:gd name="T113" fmla="*/ 93 h 108"/>
                    <a:gd name="T114" fmla="*/ 21 w 156"/>
                    <a:gd name="T115" fmla="*/ 94 h 108"/>
                    <a:gd name="T116" fmla="*/ 16 w 156"/>
                    <a:gd name="T117" fmla="*/ 92 h 108"/>
                    <a:gd name="T118" fmla="*/ 5 w 156"/>
                    <a:gd name="T119" fmla="*/ 90 h 108"/>
                    <a:gd name="T120" fmla="*/ 2 w 156"/>
                    <a:gd name="T121" fmla="*/ 8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 h="108">
                      <a:moveTo>
                        <a:pt x="2" y="87"/>
                      </a:moveTo>
                      <a:cubicBezTo>
                        <a:pt x="0" y="91"/>
                        <a:pt x="2" y="91"/>
                        <a:pt x="2" y="91"/>
                      </a:cubicBezTo>
                      <a:cubicBezTo>
                        <a:pt x="4" y="90"/>
                        <a:pt x="1" y="94"/>
                        <a:pt x="6" y="97"/>
                      </a:cubicBezTo>
                      <a:cubicBezTo>
                        <a:pt x="9" y="97"/>
                        <a:pt x="8" y="100"/>
                        <a:pt x="12" y="101"/>
                      </a:cubicBezTo>
                      <a:cubicBezTo>
                        <a:pt x="12" y="105"/>
                        <a:pt x="14" y="103"/>
                        <a:pt x="15" y="105"/>
                      </a:cubicBezTo>
                      <a:cubicBezTo>
                        <a:pt x="17" y="108"/>
                        <a:pt x="20" y="105"/>
                        <a:pt x="20" y="105"/>
                      </a:cubicBezTo>
                      <a:cubicBezTo>
                        <a:pt x="22" y="103"/>
                        <a:pt x="26" y="103"/>
                        <a:pt x="26" y="103"/>
                      </a:cubicBezTo>
                      <a:cubicBezTo>
                        <a:pt x="30" y="102"/>
                        <a:pt x="32" y="105"/>
                        <a:pt x="32" y="105"/>
                      </a:cubicBezTo>
                      <a:cubicBezTo>
                        <a:pt x="34" y="102"/>
                        <a:pt x="36" y="104"/>
                        <a:pt x="36" y="104"/>
                      </a:cubicBezTo>
                      <a:cubicBezTo>
                        <a:pt x="38" y="101"/>
                        <a:pt x="42" y="101"/>
                        <a:pt x="42" y="101"/>
                      </a:cubicBezTo>
                      <a:cubicBezTo>
                        <a:pt x="43" y="101"/>
                        <a:pt x="43" y="96"/>
                        <a:pt x="43" y="96"/>
                      </a:cubicBezTo>
                      <a:cubicBezTo>
                        <a:pt x="45" y="94"/>
                        <a:pt x="50" y="95"/>
                        <a:pt x="50" y="95"/>
                      </a:cubicBezTo>
                      <a:lnTo>
                        <a:pt x="50" y="95"/>
                      </a:lnTo>
                      <a:lnTo>
                        <a:pt x="55" y="95"/>
                      </a:lnTo>
                      <a:lnTo>
                        <a:pt x="55" y="95"/>
                      </a:lnTo>
                      <a:cubicBezTo>
                        <a:pt x="55" y="99"/>
                        <a:pt x="60" y="97"/>
                        <a:pt x="60" y="97"/>
                      </a:cubicBezTo>
                      <a:cubicBezTo>
                        <a:pt x="61" y="99"/>
                        <a:pt x="63" y="99"/>
                        <a:pt x="63" y="99"/>
                      </a:cubicBezTo>
                      <a:cubicBezTo>
                        <a:pt x="67" y="101"/>
                        <a:pt x="68" y="98"/>
                        <a:pt x="68" y="98"/>
                      </a:cubicBezTo>
                      <a:cubicBezTo>
                        <a:pt x="69" y="96"/>
                        <a:pt x="72" y="96"/>
                        <a:pt x="72" y="96"/>
                      </a:cubicBezTo>
                      <a:cubicBezTo>
                        <a:pt x="73" y="97"/>
                        <a:pt x="76" y="96"/>
                        <a:pt x="76" y="96"/>
                      </a:cubicBezTo>
                      <a:cubicBezTo>
                        <a:pt x="78" y="95"/>
                        <a:pt x="81" y="99"/>
                        <a:pt x="81" y="95"/>
                      </a:cubicBezTo>
                      <a:cubicBezTo>
                        <a:pt x="82" y="94"/>
                        <a:pt x="82" y="90"/>
                        <a:pt x="82" y="90"/>
                      </a:cubicBezTo>
                      <a:cubicBezTo>
                        <a:pt x="87" y="89"/>
                        <a:pt x="83" y="86"/>
                        <a:pt x="83" y="85"/>
                      </a:cubicBezTo>
                      <a:cubicBezTo>
                        <a:pt x="84" y="82"/>
                        <a:pt x="87" y="83"/>
                        <a:pt x="87" y="81"/>
                      </a:cubicBezTo>
                      <a:cubicBezTo>
                        <a:pt x="92" y="79"/>
                        <a:pt x="89" y="77"/>
                        <a:pt x="89" y="77"/>
                      </a:cubicBezTo>
                      <a:cubicBezTo>
                        <a:pt x="87" y="74"/>
                        <a:pt x="90" y="71"/>
                        <a:pt x="90" y="71"/>
                      </a:cubicBezTo>
                      <a:cubicBezTo>
                        <a:pt x="91" y="69"/>
                        <a:pt x="95" y="71"/>
                        <a:pt x="95" y="68"/>
                      </a:cubicBezTo>
                      <a:cubicBezTo>
                        <a:pt x="97" y="63"/>
                        <a:pt x="96" y="60"/>
                        <a:pt x="96" y="60"/>
                      </a:cubicBezTo>
                      <a:cubicBezTo>
                        <a:pt x="95" y="55"/>
                        <a:pt x="97" y="52"/>
                        <a:pt x="97" y="52"/>
                      </a:cubicBezTo>
                      <a:cubicBezTo>
                        <a:pt x="97" y="50"/>
                        <a:pt x="102" y="47"/>
                        <a:pt x="102" y="47"/>
                      </a:cubicBezTo>
                      <a:cubicBezTo>
                        <a:pt x="104" y="51"/>
                        <a:pt x="106" y="46"/>
                        <a:pt x="106" y="46"/>
                      </a:cubicBezTo>
                      <a:cubicBezTo>
                        <a:pt x="107" y="49"/>
                        <a:pt x="109" y="47"/>
                        <a:pt x="109" y="47"/>
                      </a:cubicBezTo>
                      <a:cubicBezTo>
                        <a:pt x="109" y="51"/>
                        <a:pt x="112" y="47"/>
                        <a:pt x="112" y="47"/>
                      </a:cubicBezTo>
                      <a:cubicBezTo>
                        <a:pt x="115" y="48"/>
                        <a:pt x="121" y="48"/>
                        <a:pt x="121" y="48"/>
                      </a:cubicBezTo>
                      <a:cubicBezTo>
                        <a:pt x="122" y="46"/>
                        <a:pt x="125" y="49"/>
                        <a:pt x="125" y="49"/>
                      </a:cubicBezTo>
                      <a:cubicBezTo>
                        <a:pt x="125" y="52"/>
                        <a:pt x="127" y="51"/>
                        <a:pt x="127" y="51"/>
                      </a:cubicBezTo>
                      <a:cubicBezTo>
                        <a:pt x="128" y="50"/>
                        <a:pt x="129" y="49"/>
                        <a:pt x="129" y="48"/>
                      </a:cubicBezTo>
                      <a:cubicBezTo>
                        <a:pt x="129" y="48"/>
                        <a:pt x="128" y="46"/>
                        <a:pt x="131" y="47"/>
                      </a:cubicBezTo>
                      <a:cubicBezTo>
                        <a:pt x="131" y="47"/>
                        <a:pt x="134" y="49"/>
                        <a:pt x="136" y="49"/>
                      </a:cubicBezTo>
                      <a:cubicBezTo>
                        <a:pt x="136" y="49"/>
                        <a:pt x="139" y="47"/>
                        <a:pt x="143" y="47"/>
                      </a:cubicBezTo>
                      <a:cubicBezTo>
                        <a:pt x="143" y="47"/>
                        <a:pt x="146" y="47"/>
                        <a:pt x="145" y="45"/>
                      </a:cubicBezTo>
                      <a:cubicBezTo>
                        <a:pt x="145" y="45"/>
                        <a:pt x="141" y="44"/>
                        <a:pt x="138" y="41"/>
                      </a:cubicBezTo>
                      <a:cubicBezTo>
                        <a:pt x="139" y="40"/>
                        <a:pt x="135" y="39"/>
                        <a:pt x="138" y="37"/>
                      </a:cubicBezTo>
                      <a:cubicBezTo>
                        <a:pt x="138" y="37"/>
                        <a:pt x="141" y="35"/>
                        <a:pt x="145" y="37"/>
                      </a:cubicBezTo>
                      <a:cubicBezTo>
                        <a:pt x="145" y="37"/>
                        <a:pt x="150" y="37"/>
                        <a:pt x="154" y="33"/>
                      </a:cubicBezTo>
                      <a:cubicBezTo>
                        <a:pt x="156" y="33"/>
                        <a:pt x="155" y="28"/>
                        <a:pt x="152" y="29"/>
                      </a:cubicBezTo>
                      <a:cubicBezTo>
                        <a:pt x="152" y="29"/>
                        <a:pt x="148" y="29"/>
                        <a:pt x="145" y="27"/>
                      </a:cubicBezTo>
                      <a:cubicBezTo>
                        <a:pt x="145" y="27"/>
                        <a:pt x="143" y="28"/>
                        <a:pt x="144" y="25"/>
                      </a:cubicBezTo>
                      <a:cubicBezTo>
                        <a:pt x="144" y="25"/>
                        <a:pt x="143" y="23"/>
                        <a:pt x="139" y="22"/>
                      </a:cubicBezTo>
                      <a:cubicBezTo>
                        <a:pt x="139" y="22"/>
                        <a:pt x="136" y="21"/>
                        <a:pt x="137" y="23"/>
                      </a:cubicBezTo>
                      <a:lnTo>
                        <a:pt x="137" y="23"/>
                      </a:lnTo>
                      <a:lnTo>
                        <a:pt x="137" y="24"/>
                      </a:lnTo>
                      <a:lnTo>
                        <a:pt x="137" y="24"/>
                      </a:lnTo>
                      <a:cubicBezTo>
                        <a:pt x="137" y="24"/>
                        <a:pt x="136" y="23"/>
                        <a:pt x="134" y="23"/>
                      </a:cubicBezTo>
                      <a:cubicBezTo>
                        <a:pt x="134" y="23"/>
                        <a:pt x="137" y="23"/>
                        <a:pt x="135" y="21"/>
                      </a:cubicBezTo>
                      <a:cubicBezTo>
                        <a:pt x="135" y="21"/>
                        <a:pt x="135" y="17"/>
                        <a:pt x="133" y="20"/>
                      </a:cubicBezTo>
                      <a:cubicBezTo>
                        <a:pt x="133" y="20"/>
                        <a:pt x="130" y="19"/>
                        <a:pt x="130" y="21"/>
                      </a:cubicBezTo>
                      <a:cubicBezTo>
                        <a:pt x="130" y="21"/>
                        <a:pt x="130" y="20"/>
                        <a:pt x="128" y="21"/>
                      </a:cubicBezTo>
                      <a:cubicBezTo>
                        <a:pt x="128" y="21"/>
                        <a:pt x="131" y="20"/>
                        <a:pt x="130" y="17"/>
                      </a:cubicBezTo>
                      <a:cubicBezTo>
                        <a:pt x="130" y="17"/>
                        <a:pt x="126" y="16"/>
                        <a:pt x="130" y="16"/>
                      </a:cubicBezTo>
                      <a:lnTo>
                        <a:pt x="130" y="16"/>
                      </a:lnTo>
                      <a:lnTo>
                        <a:pt x="130" y="13"/>
                      </a:lnTo>
                      <a:lnTo>
                        <a:pt x="130" y="13"/>
                      </a:lnTo>
                      <a:cubicBezTo>
                        <a:pt x="130" y="13"/>
                        <a:pt x="130" y="10"/>
                        <a:pt x="127" y="10"/>
                      </a:cubicBezTo>
                      <a:cubicBezTo>
                        <a:pt x="127" y="10"/>
                        <a:pt x="123" y="10"/>
                        <a:pt x="127" y="9"/>
                      </a:cubicBezTo>
                      <a:cubicBezTo>
                        <a:pt x="127" y="9"/>
                        <a:pt x="128" y="6"/>
                        <a:pt x="125" y="7"/>
                      </a:cubicBezTo>
                      <a:cubicBezTo>
                        <a:pt x="125" y="7"/>
                        <a:pt x="123" y="11"/>
                        <a:pt x="122" y="5"/>
                      </a:cubicBezTo>
                      <a:cubicBezTo>
                        <a:pt x="122" y="5"/>
                        <a:pt x="124" y="3"/>
                        <a:pt x="121" y="3"/>
                      </a:cubicBezTo>
                      <a:cubicBezTo>
                        <a:pt x="121" y="3"/>
                        <a:pt x="118" y="4"/>
                        <a:pt x="118" y="8"/>
                      </a:cubicBezTo>
                      <a:cubicBezTo>
                        <a:pt x="118" y="8"/>
                        <a:pt x="116" y="9"/>
                        <a:pt x="115" y="9"/>
                      </a:cubicBezTo>
                      <a:cubicBezTo>
                        <a:pt x="115" y="9"/>
                        <a:pt x="116" y="8"/>
                        <a:pt x="117" y="7"/>
                      </a:cubicBezTo>
                      <a:cubicBezTo>
                        <a:pt x="116" y="6"/>
                        <a:pt x="116" y="3"/>
                        <a:pt x="116" y="3"/>
                      </a:cubicBezTo>
                      <a:cubicBezTo>
                        <a:pt x="116" y="3"/>
                        <a:pt x="114" y="0"/>
                        <a:pt x="114" y="3"/>
                      </a:cubicBezTo>
                      <a:cubicBezTo>
                        <a:pt x="114" y="3"/>
                        <a:pt x="112" y="4"/>
                        <a:pt x="113" y="8"/>
                      </a:cubicBezTo>
                      <a:cubicBezTo>
                        <a:pt x="113" y="8"/>
                        <a:pt x="111" y="10"/>
                        <a:pt x="108" y="14"/>
                      </a:cubicBezTo>
                      <a:cubicBezTo>
                        <a:pt x="108" y="14"/>
                        <a:pt x="105" y="16"/>
                        <a:pt x="104" y="19"/>
                      </a:cubicBezTo>
                      <a:cubicBezTo>
                        <a:pt x="104" y="19"/>
                        <a:pt x="105" y="21"/>
                        <a:pt x="102" y="23"/>
                      </a:cubicBezTo>
                      <a:cubicBezTo>
                        <a:pt x="99" y="23"/>
                        <a:pt x="101" y="27"/>
                        <a:pt x="99" y="27"/>
                      </a:cubicBezTo>
                      <a:cubicBezTo>
                        <a:pt x="99" y="27"/>
                        <a:pt x="95" y="26"/>
                        <a:pt x="94" y="28"/>
                      </a:cubicBezTo>
                      <a:cubicBezTo>
                        <a:pt x="94" y="28"/>
                        <a:pt x="91" y="30"/>
                        <a:pt x="93" y="32"/>
                      </a:cubicBezTo>
                      <a:lnTo>
                        <a:pt x="93" y="32"/>
                      </a:lnTo>
                      <a:lnTo>
                        <a:pt x="96" y="34"/>
                      </a:lnTo>
                      <a:lnTo>
                        <a:pt x="93" y="38"/>
                      </a:lnTo>
                      <a:lnTo>
                        <a:pt x="93" y="38"/>
                      </a:lnTo>
                      <a:cubicBezTo>
                        <a:pt x="93" y="38"/>
                        <a:pt x="91" y="37"/>
                        <a:pt x="89" y="36"/>
                      </a:cubicBezTo>
                      <a:cubicBezTo>
                        <a:pt x="89" y="36"/>
                        <a:pt x="88" y="38"/>
                        <a:pt x="89" y="39"/>
                      </a:cubicBezTo>
                      <a:cubicBezTo>
                        <a:pt x="89" y="39"/>
                        <a:pt x="91" y="40"/>
                        <a:pt x="91" y="43"/>
                      </a:cubicBezTo>
                      <a:cubicBezTo>
                        <a:pt x="91" y="43"/>
                        <a:pt x="90" y="46"/>
                        <a:pt x="92" y="48"/>
                      </a:cubicBezTo>
                      <a:lnTo>
                        <a:pt x="92" y="48"/>
                      </a:lnTo>
                      <a:lnTo>
                        <a:pt x="90" y="48"/>
                      </a:lnTo>
                      <a:lnTo>
                        <a:pt x="90" y="48"/>
                      </a:lnTo>
                      <a:cubicBezTo>
                        <a:pt x="90" y="48"/>
                        <a:pt x="88" y="49"/>
                        <a:pt x="88" y="43"/>
                      </a:cubicBezTo>
                      <a:cubicBezTo>
                        <a:pt x="88" y="43"/>
                        <a:pt x="87" y="37"/>
                        <a:pt x="85" y="40"/>
                      </a:cubicBezTo>
                      <a:cubicBezTo>
                        <a:pt x="85" y="40"/>
                        <a:pt x="82" y="40"/>
                        <a:pt x="84" y="44"/>
                      </a:cubicBezTo>
                      <a:cubicBezTo>
                        <a:pt x="84" y="44"/>
                        <a:pt x="86" y="48"/>
                        <a:pt x="83" y="51"/>
                      </a:cubicBezTo>
                      <a:cubicBezTo>
                        <a:pt x="83" y="51"/>
                        <a:pt x="82" y="55"/>
                        <a:pt x="79" y="51"/>
                      </a:cubicBezTo>
                      <a:cubicBezTo>
                        <a:pt x="79" y="51"/>
                        <a:pt x="79" y="48"/>
                        <a:pt x="77" y="49"/>
                      </a:cubicBezTo>
                      <a:cubicBezTo>
                        <a:pt x="77" y="49"/>
                        <a:pt x="77" y="45"/>
                        <a:pt x="75" y="45"/>
                      </a:cubicBezTo>
                      <a:cubicBezTo>
                        <a:pt x="75" y="45"/>
                        <a:pt x="75" y="43"/>
                        <a:pt x="71" y="44"/>
                      </a:cubicBezTo>
                      <a:cubicBezTo>
                        <a:pt x="71" y="44"/>
                        <a:pt x="71" y="47"/>
                        <a:pt x="69" y="50"/>
                      </a:cubicBezTo>
                      <a:cubicBezTo>
                        <a:pt x="69" y="50"/>
                        <a:pt x="66" y="55"/>
                        <a:pt x="65" y="55"/>
                      </a:cubicBezTo>
                      <a:lnTo>
                        <a:pt x="65" y="55"/>
                      </a:lnTo>
                      <a:lnTo>
                        <a:pt x="61" y="60"/>
                      </a:lnTo>
                      <a:lnTo>
                        <a:pt x="61" y="60"/>
                      </a:lnTo>
                      <a:cubicBezTo>
                        <a:pt x="61" y="60"/>
                        <a:pt x="59" y="63"/>
                        <a:pt x="57" y="65"/>
                      </a:cubicBezTo>
                      <a:cubicBezTo>
                        <a:pt x="57" y="65"/>
                        <a:pt x="57" y="68"/>
                        <a:pt x="51" y="69"/>
                      </a:cubicBezTo>
                      <a:cubicBezTo>
                        <a:pt x="51" y="69"/>
                        <a:pt x="42" y="72"/>
                        <a:pt x="39" y="72"/>
                      </a:cubicBezTo>
                      <a:cubicBezTo>
                        <a:pt x="39" y="72"/>
                        <a:pt x="34" y="72"/>
                        <a:pt x="32" y="75"/>
                      </a:cubicBezTo>
                      <a:cubicBezTo>
                        <a:pt x="32" y="75"/>
                        <a:pt x="31" y="76"/>
                        <a:pt x="31" y="79"/>
                      </a:cubicBezTo>
                      <a:cubicBezTo>
                        <a:pt x="31" y="79"/>
                        <a:pt x="30" y="83"/>
                        <a:pt x="29" y="80"/>
                      </a:cubicBezTo>
                      <a:cubicBezTo>
                        <a:pt x="29" y="80"/>
                        <a:pt x="28" y="79"/>
                        <a:pt x="27" y="81"/>
                      </a:cubicBezTo>
                      <a:cubicBezTo>
                        <a:pt x="27" y="81"/>
                        <a:pt x="26" y="85"/>
                        <a:pt x="29" y="84"/>
                      </a:cubicBezTo>
                      <a:cubicBezTo>
                        <a:pt x="29" y="86"/>
                        <a:pt x="27" y="85"/>
                        <a:pt x="27" y="88"/>
                      </a:cubicBezTo>
                      <a:cubicBezTo>
                        <a:pt x="27" y="88"/>
                        <a:pt x="23" y="90"/>
                        <a:pt x="27" y="93"/>
                      </a:cubicBezTo>
                      <a:cubicBezTo>
                        <a:pt x="27" y="93"/>
                        <a:pt x="23" y="91"/>
                        <a:pt x="25" y="96"/>
                      </a:cubicBezTo>
                      <a:cubicBezTo>
                        <a:pt x="25" y="96"/>
                        <a:pt x="22" y="94"/>
                        <a:pt x="21" y="94"/>
                      </a:cubicBezTo>
                      <a:cubicBezTo>
                        <a:pt x="21" y="94"/>
                        <a:pt x="20" y="97"/>
                        <a:pt x="19" y="94"/>
                      </a:cubicBezTo>
                      <a:cubicBezTo>
                        <a:pt x="19" y="94"/>
                        <a:pt x="16" y="95"/>
                        <a:pt x="16" y="92"/>
                      </a:cubicBezTo>
                      <a:cubicBezTo>
                        <a:pt x="16" y="92"/>
                        <a:pt x="16" y="90"/>
                        <a:pt x="13" y="91"/>
                      </a:cubicBezTo>
                      <a:cubicBezTo>
                        <a:pt x="13" y="91"/>
                        <a:pt x="9" y="92"/>
                        <a:pt x="5" y="90"/>
                      </a:cubicBezTo>
                      <a:cubicBezTo>
                        <a:pt x="3" y="89"/>
                        <a:pt x="3" y="85"/>
                        <a:pt x="2" y="87"/>
                      </a:cubicBezTo>
                      <a:lnTo>
                        <a:pt x="2" y="87"/>
                      </a:lnTo>
                      <a:lnTo>
                        <a:pt x="2" y="87"/>
                      </a:lnTo>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1" name="Freeform 689"/>
                <p:cNvSpPr>
                  <a:spLocks/>
                </p:cNvSpPr>
                <p:nvPr>
                  <p:custDataLst>
                    <p:tags r:id="rId667"/>
                  </p:custDataLst>
                </p:nvPr>
              </p:nvSpPr>
              <p:spPr bwMode="gray">
                <a:xfrm>
                  <a:off x="9041505" y="3602566"/>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2" name="Freeform 690"/>
                <p:cNvSpPr>
                  <a:spLocks/>
                </p:cNvSpPr>
                <p:nvPr>
                  <p:custDataLst>
                    <p:tags r:id="rId668"/>
                  </p:custDataLst>
                </p:nvPr>
              </p:nvSpPr>
              <p:spPr bwMode="gray">
                <a:xfrm>
                  <a:off x="8137520" y="3534948"/>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3" name="Freeform 691"/>
                <p:cNvSpPr>
                  <a:spLocks/>
                </p:cNvSpPr>
                <p:nvPr>
                  <p:custDataLst>
                    <p:tags r:id="rId669"/>
                  </p:custDataLst>
                </p:nvPr>
              </p:nvSpPr>
              <p:spPr bwMode="gray">
                <a:xfrm>
                  <a:off x="8419575" y="3805420"/>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4" name="Freeform 692"/>
                <p:cNvSpPr>
                  <a:spLocks/>
                </p:cNvSpPr>
                <p:nvPr>
                  <p:custDataLst>
                    <p:tags r:id="rId670"/>
                  </p:custDataLst>
                </p:nvPr>
              </p:nvSpPr>
              <p:spPr bwMode="gray">
                <a:xfrm>
                  <a:off x="8357523" y="3119803"/>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5" name="Freeform 693"/>
                <p:cNvSpPr>
                  <a:spLocks/>
                </p:cNvSpPr>
                <p:nvPr>
                  <p:custDataLst>
                    <p:tags r:id="rId671"/>
                  </p:custDataLst>
                </p:nvPr>
              </p:nvSpPr>
              <p:spPr bwMode="gray">
                <a:xfrm>
                  <a:off x="8539448" y="4343219"/>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6" name="Freeform 694"/>
                <p:cNvSpPr>
                  <a:spLocks/>
                </p:cNvSpPr>
                <p:nvPr>
                  <p:custDataLst>
                    <p:tags r:id="rId672"/>
                  </p:custDataLst>
                </p:nvPr>
              </p:nvSpPr>
              <p:spPr bwMode="gray">
                <a:xfrm>
                  <a:off x="8529576" y="4365235"/>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7" name="Freeform 695"/>
                <p:cNvSpPr>
                  <a:spLocks/>
                </p:cNvSpPr>
                <p:nvPr>
                  <p:custDataLst>
                    <p:tags r:id="rId673"/>
                  </p:custDataLst>
                </p:nvPr>
              </p:nvSpPr>
              <p:spPr bwMode="gray">
                <a:xfrm>
                  <a:off x="8741116" y="4487891"/>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8" name="Freeform 696"/>
                <p:cNvSpPr>
                  <a:spLocks/>
                </p:cNvSpPr>
                <p:nvPr>
                  <p:custDataLst>
                    <p:tags r:id="rId674"/>
                  </p:custDataLst>
                </p:nvPr>
              </p:nvSpPr>
              <p:spPr bwMode="gray">
                <a:xfrm>
                  <a:off x="8357523" y="4756791"/>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59" name="Freeform 697"/>
                <p:cNvSpPr>
                  <a:spLocks/>
                </p:cNvSpPr>
                <p:nvPr>
                  <p:custDataLst>
                    <p:tags r:id="rId675"/>
                  </p:custDataLst>
                </p:nvPr>
              </p:nvSpPr>
              <p:spPr bwMode="gray">
                <a:xfrm>
                  <a:off x="8098033" y="4778806"/>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0" name="Freeform 698"/>
                <p:cNvSpPr>
                  <a:spLocks/>
                </p:cNvSpPr>
                <p:nvPr>
                  <p:custDataLst>
                    <p:tags r:id="rId676"/>
                  </p:custDataLst>
                </p:nvPr>
              </p:nvSpPr>
              <p:spPr bwMode="gray">
                <a:xfrm>
                  <a:off x="7875210" y="4857431"/>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1" name="Freeform 699"/>
                <p:cNvSpPr>
                  <a:spLocks/>
                </p:cNvSpPr>
                <p:nvPr>
                  <p:custDataLst>
                    <p:tags r:id="rId677"/>
                  </p:custDataLst>
                </p:nvPr>
              </p:nvSpPr>
              <p:spPr bwMode="gray">
                <a:xfrm>
                  <a:off x="7825851" y="4857431"/>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2" name="Freeform 700"/>
                <p:cNvSpPr>
                  <a:spLocks/>
                </p:cNvSpPr>
                <p:nvPr>
                  <p:custDataLst>
                    <p:tags r:id="rId678"/>
                  </p:custDataLst>
                </p:nvPr>
              </p:nvSpPr>
              <p:spPr bwMode="gray">
                <a:xfrm>
                  <a:off x="7776490" y="3928075"/>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3" name="Freeform 701"/>
                <p:cNvSpPr>
                  <a:spLocks/>
                </p:cNvSpPr>
                <p:nvPr>
                  <p:custDataLst>
                    <p:tags r:id="rId679"/>
                  </p:custDataLst>
                </p:nvPr>
              </p:nvSpPr>
              <p:spPr bwMode="gray">
                <a:xfrm>
                  <a:off x="7916109" y="3973679"/>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4" name="Freeform 702"/>
                <p:cNvSpPr>
                  <a:spLocks/>
                </p:cNvSpPr>
                <p:nvPr>
                  <p:custDataLst>
                    <p:tags r:id="rId680"/>
                  </p:custDataLst>
                </p:nvPr>
              </p:nvSpPr>
              <p:spPr bwMode="gray">
                <a:xfrm>
                  <a:off x="7947134" y="3973679"/>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5" name="Freeform 703"/>
                <p:cNvSpPr>
                  <a:spLocks/>
                </p:cNvSpPr>
                <p:nvPr>
                  <p:custDataLst>
                    <p:tags r:id="rId681"/>
                  </p:custDataLst>
                </p:nvPr>
              </p:nvSpPr>
              <p:spPr bwMode="gray">
                <a:xfrm>
                  <a:off x="7745465" y="3512934"/>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6" name="Freeform 704"/>
                <p:cNvSpPr>
                  <a:spLocks/>
                </p:cNvSpPr>
                <p:nvPr>
                  <p:custDataLst>
                    <p:tags r:id="rId682"/>
                  </p:custDataLst>
                </p:nvPr>
              </p:nvSpPr>
              <p:spPr bwMode="gray">
                <a:xfrm>
                  <a:off x="6861226" y="5305597"/>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7" name="Freeform 705"/>
                <p:cNvSpPr>
                  <a:spLocks/>
                </p:cNvSpPr>
                <p:nvPr>
                  <p:custDataLst>
                    <p:tags r:id="rId683"/>
                  </p:custDataLst>
                </p:nvPr>
              </p:nvSpPr>
              <p:spPr bwMode="gray">
                <a:xfrm>
                  <a:off x="6710326" y="4588532"/>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8" name="Freeform 706"/>
                <p:cNvSpPr>
                  <a:spLocks/>
                </p:cNvSpPr>
                <p:nvPr>
                  <p:custDataLst>
                    <p:tags r:id="rId684"/>
                  </p:custDataLst>
                </p:nvPr>
              </p:nvSpPr>
              <p:spPr bwMode="gray">
                <a:xfrm>
                  <a:off x="6378912" y="4577525"/>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69" name="Freeform 707"/>
                <p:cNvSpPr>
                  <a:spLocks/>
                </p:cNvSpPr>
                <p:nvPr>
                  <p:custDataLst>
                    <p:tags r:id="rId685"/>
                  </p:custDataLst>
                </p:nvPr>
              </p:nvSpPr>
              <p:spPr bwMode="gray">
                <a:xfrm>
                  <a:off x="6347887" y="4533494"/>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0" name="Freeform 708"/>
                <p:cNvSpPr>
                  <a:spLocks/>
                </p:cNvSpPr>
                <p:nvPr>
                  <p:custDataLst>
                    <p:tags r:id="rId686"/>
                  </p:custDataLst>
                </p:nvPr>
              </p:nvSpPr>
              <p:spPr bwMode="gray">
                <a:xfrm>
                  <a:off x="6720199" y="4690745"/>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1" name="Freeform 709"/>
                <p:cNvSpPr>
                  <a:spLocks/>
                </p:cNvSpPr>
                <p:nvPr>
                  <p:custDataLst>
                    <p:tags r:id="rId687"/>
                  </p:custDataLst>
                </p:nvPr>
              </p:nvSpPr>
              <p:spPr bwMode="gray">
                <a:xfrm>
                  <a:off x="6136346" y="4734776"/>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2" name="Freeform 710"/>
                <p:cNvSpPr>
                  <a:spLocks/>
                </p:cNvSpPr>
                <p:nvPr>
                  <p:custDataLst>
                    <p:tags r:id="rId688"/>
                  </p:custDataLst>
                </p:nvPr>
              </p:nvSpPr>
              <p:spPr bwMode="gray">
                <a:xfrm>
                  <a:off x="6046088" y="4241006"/>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3" name="Freeform 711"/>
                <p:cNvSpPr>
                  <a:spLocks/>
                </p:cNvSpPr>
                <p:nvPr>
                  <p:custDataLst>
                    <p:tags r:id="rId689"/>
                  </p:custDataLst>
                </p:nvPr>
              </p:nvSpPr>
              <p:spPr bwMode="gray">
                <a:xfrm>
                  <a:off x="6146217" y="4263022"/>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4" name="Freeform 712"/>
                <p:cNvSpPr>
                  <a:spLocks/>
                </p:cNvSpPr>
                <p:nvPr>
                  <p:custDataLst>
                    <p:tags r:id="rId690"/>
                  </p:custDataLst>
                </p:nvPr>
              </p:nvSpPr>
              <p:spPr bwMode="gray">
                <a:xfrm>
                  <a:off x="6196987" y="4308623"/>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5" name="Freeform 713"/>
                <p:cNvSpPr>
                  <a:spLocks/>
                </p:cNvSpPr>
                <p:nvPr>
                  <p:custDataLst>
                    <p:tags r:id="rId691"/>
                  </p:custDataLst>
                </p:nvPr>
              </p:nvSpPr>
              <p:spPr bwMode="gray">
                <a:xfrm>
                  <a:off x="5875445" y="4958073"/>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6" name="Freeform 714"/>
                <p:cNvSpPr>
                  <a:spLocks/>
                </p:cNvSpPr>
                <p:nvPr>
                  <p:custDataLst>
                    <p:tags r:id="rId692"/>
                  </p:custDataLst>
                </p:nvPr>
              </p:nvSpPr>
              <p:spPr bwMode="gray">
                <a:xfrm>
                  <a:off x="7202511" y="3692198"/>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7" name="Freeform 715"/>
                <p:cNvSpPr>
                  <a:spLocks/>
                </p:cNvSpPr>
                <p:nvPr>
                  <p:custDataLst>
                    <p:tags r:id="rId693"/>
                  </p:custDataLst>
                </p:nvPr>
              </p:nvSpPr>
              <p:spPr bwMode="gray">
                <a:xfrm>
                  <a:off x="6910584" y="3355681"/>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8" name="Freeform 716"/>
                <p:cNvSpPr>
                  <a:spLocks/>
                </p:cNvSpPr>
                <p:nvPr>
                  <p:custDataLst>
                    <p:tags r:id="rId694"/>
                  </p:custDataLst>
                </p:nvPr>
              </p:nvSpPr>
              <p:spPr bwMode="gray">
                <a:xfrm>
                  <a:off x="6077115" y="3805420"/>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79" name="Freeform 717"/>
                <p:cNvSpPr>
                  <a:spLocks/>
                </p:cNvSpPr>
                <p:nvPr>
                  <p:custDataLst>
                    <p:tags r:id="rId695"/>
                  </p:custDataLst>
                </p:nvPr>
              </p:nvSpPr>
              <p:spPr bwMode="gray">
                <a:xfrm>
                  <a:off x="7796235" y="3446886"/>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0" name="Freeform 718"/>
                <p:cNvSpPr>
                  <a:spLocks/>
                </p:cNvSpPr>
                <p:nvPr>
                  <p:custDataLst>
                    <p:tags r:id="rId696"/>
                  </p:custDataLst>
                </p:nvPr>
              </p:nvSpPr>
              <p:spPr bwMode="gray">
                <a:xfrm>
                  <a:off x="7735594" y="3143392"/>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1" name="Freeform 719"/>
                <p:cNvSpPr>
                  <a:spLocks/>
                </p:cNvSpPr>
                <p:nvPr>
                  <p:custDataLst>
                    <p:tags r:id="rId697"/>
                  </p:custDataLst>
                </p:nvPr>
              </p:nvSpPr>
              <p:spPr bwMode="gray">
                <a:xfrm>
                  <a:off x="7694696" y="3344675"/>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2" name="Freeform 720"/>
                <p:cNvSpPr>
                  <a:spLocks/>
                </p:cNvSpPr>
                <p:nvPr>
                  <p:custDataLst>
                    <p:tags r:id="rId698"/>
                  </p:custDataLst>
                </p:nvPr>
              </p:nvSpPr>
              <p:spPr bwMode="gray">
                <a:xfrm>
                  <a:off x="4820562" y="3615147"/>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3" name="Freeform 721"/>
                <p:cNvSpPr>
                  <a:spLocks/>
                </p:cNvSpPr>
                <p:nvPr>
                  <p:custDataLst>
                    <p:tags r:id="rId699"/>
                  </p:custDataLst>
                </p:nvPr>
              </p:nvSpPr>
              <p:spPr bwMode="gray">
                <a:xfrm>
                  <a:off x="5685059" y="4645142"/>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4" name="Freeform 722"/>
                <p:cNvSpPr>
                  <a:spLocks/>
                </p:cNvSpPr>
                <p:nvPr>
                  <p:custDataLst>
                    <p:tags r:id="rId700"/>
                  </p:custDataLst>
                </p:nvPr>
              </p:nvSpPr>
              <p:spPr bwMode="gray">
                <a:xfrm>
                  <a:off x="5714674" y="4656150"/>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5" name="Freeform 723"/>
                <p:cNvSpPr>
                  <a:spLocks/>
                </p:cNvSpPr>
                <p:nvPr>
                  <p:custDataLst>
                    <p:tags r:id="rId701"/>
                  </p:custDataLst>
                </p:nvPr>
              </p:nvSpPr>
              <p:spPr bwMode="gray">
                <a:xfrm>
                  <a:off x="3944785" y="3143392"/>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6" name="Freeform 724"/>
                <p:cNvSpPr>
                  <a:spLocks/>
                </p:cNvSpPr>
                <p:nvPr>
                  <p:custDataLst>
                    <p:tags r:id="rId702"/>
                  </p:custDataLst>
                </p:nvPr>
              </p:nvSpPr>
              <p:spPr bwMode="gray">
                <a:xfrm>
                  <a:off x="4166197" y="3165408"/>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7" name="Freeform 725"/>
                <p:cNvSpPr>
                  <a:spLocks/>
                </p:cNvSpPr>
                <p:nvPr>
                  <p:custDataLst>
                    <p:tags r:id="rId703"/>
                  </p:custDataLst>
                </p:nvPr>
              </p:nvSpPr>
              <p:spPr bwMode="gray">
                <a:xfrm>
                  <a:off x="4085811" y="3200003"/>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8" name="Freeform 726"/>
                <p:cNvSpPr>
                  <a:spLocks/>
                </p:cNvSpPr>
                <p:nvPr>
                  <p:custDataLst>
                    <p:tags r:id="rId704"/>
                  </p:custDataLst>
                </p:nvPr>
              </p:nvSpPr>
              <p:spPr bwMode="gray">
                <a:xfrm>
                  <a:off x="4095683" y="3088353"/>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89" name="Freeform 727"/>
                <p:cNvSpPr>
                  <a:spLocks/>
                </p:cNvSpPr>
                <p:nvPr>
                  <p:custDataLst>
                    <p:tags r:id="rId705"/>
                  </p:custDataLst>
                </p:nvPr>
              </p:nvSpPr>
              <p:spPr bwMode="gray">
                <a:xfrm>
                  <a:off x="4136581" y="3165408"/>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0" name="Freeform 728"/>
                <p:cNvSpPr>
                  <a:spLocks/>
                </p:cNvSpPr>
                <p:nvPr>
                  <p:custDataLst>
                    <p:tags r:id="rId706"/>
                  </p:custDataLst>
                </p:nvPr>
              </p:nvSpPr>
              <p:spPr bwMode="gray">
                <a:xfrm>
                  <a:off x="4046324" y="3099362"/>
                  <a:ext cx="141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1" name="Freeform 729"/>
                <p:cNvSpPr>
                  <a:spLocks/>
                </p:cNvSpPr>
                <p:nvPr>
                  <p:custDataLst>
                    <p:tags r:id="rId707"/>
                  </p:custDataLst>
                </p:nvPr>
              </p:nvSpPr>
              <p:spPr bwMode="gray">
                <a:xfrm>
                  <a:off x="4036451" y="3108798"/>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2" name="Freeform 730"/>
                <p:cNvSpPr>
                  <a:spLocks/>
                </p:cNvSpPr>
                <p:nvPr>
                  <p:custDataLst>
                    <p:tags r:id="rId708"/>
                  </p:custDataLst>
                </p:nvPr>
              </p:nvSpPr>
              <p:spPr bwMode="gray">
                <a:xfrm>
                  <a:off x="6146217" y="2638614"/>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3" name="Freeform 731"/>
                <p:cNvSpPr>
                  <a:spLocks/>
                </p:cNvSpPr>
                <p:nvPr>
                  <p:custDataLst>
                    <p:tags r:id="rId709"/>
                  </p:custDataLst>
                </p:nvPr>
              </p:nvSpPr>
              <p:spPr bwMode="gray">
                <a:xfrm>
                  <a:off x="4709151" y="2616600"/>
                  <a:ext cx="1410" cy="1573"/>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4" name="Freeform 732"/>
                <p:cNvSpPr>
                  <a:spLocks/>
                </p:cNvSpPr>
                <p:nvPr>
                  <p:custDataLst>
                    <p:tags r:id="rId710"/>
                  </p:custDataLst>
                </p:nvPr>
              </p:nvSpPr>
              <p:spPr bwMode="gray">
                <a:xfrm>
                  <a:off x="6206860" y="2539547"/>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sp>
              <p:nvSpPr>
                <p:cNvPr id="1595" name="Freeform 733"/>
                <p:cNvSpPr>
                  <a:spLocks/>
                </p:cNvSpPr>
                <p:nvPr>
                  <p:custDataLst>
                    <p:tags r:id="rId711"/>
                  </p:custDataLst>
                </p:nvPr>
              </p:nvSpPr>
              <p:spPr bwMode="gray">
                <a:xfrm>
                  <a:off x="6328143" y="2426328"/>
                  <a:ext cx="1410" cy="157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EAEAEA"/>
                </a:solidFill>
                <a:ln w="9525" cmpd="sng">
                  <a:solidFill>
                    <a:srgbClr val="B2B2B2"/>
                  </a:solidFill>
                  <a:round/>
                  <a:headEnd/>
                  <a:tailEnd/>
                </a:ln>
              </p:spPr>
              <p:txBody>
                <a:bodyPr lIns="93296" tIns="46648" rIns="93296" bIns="46648"/>
                <a:lstStyle/>
                <a:p>
                  <a:pPr defTabSz="914400">
                    <a:defRPr/>
                  </a:pPr>
                  <a:endParaRPr lang="en-US" sz="700" b="1" kern="0" smtClean="0">
                    <a:solidFill>
                      <a:sysClr val="windowText" lastClr="000000"/>
                    </a:solidFill>
                    <a:latin typeface="Calibri"/>
                    <a:ea typeface="MS PGothic" charset="0"/>
                  </a:endParaRPr>
                </a:p>
              </p:txBody>
            </p:sp>
          </p:grpSp>
          <p:sp>
            <p:nvSpPr>
              <p:cNvPr id="807" name="TextBox 806"/>
              <p:cNvSpPr txBox="1"/>
              <p:nvPr/>
            </p:nvSpPr>
            <p:spPr>
              <a:xfrm>
                <a:off x="986876" y="3174800"/>
                <a:ext cx="440834"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Enggano</a:t>
                </a:r>
                <a:endParaRPr lang="en-AU" sz="700" b="1" dirty="0">
                  <a:solidFill>
                    <a:srgbClr val="008000"/>
                  </a:solidFill>
                  <a:latin typeface="Calibri"/>
                  <a:ea typeface="MS PGothic" charset="0"/>
                </a:endParaRPr>
              </a:p>
            </p:txBody>
          </p:sp>
          <p:sp>
            <p:nvSpPr>
              <p:cNvPr id="808" name="TextBox 807"/>
              <p:cNvSpPr txBox="1"/>
              <p:nvPr/>
            </p:nvSpPr>
            <p:spPr>
              <a:xfrm>
                <a:off x="2122900" y="4065478"/>
                <a:ext cx="445265"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Kertajati</a:t>
                </a:r>
                <a:endParaRPr lang="en-AU" sz="700" b="1" dirty="0">
                  <a:solidFill>
                    <a:srgbClr val="008000"/>
                  </a:solidFill>
                  <a:latin typeface="Calibri"/>
                  <a:ea typeface="MS PGothic" charset="0"/>
                </a:endParaRPr>
              </a:p>
            </p:txBody>
          </p:sp>
          <p:sp>
            <p:nvSpPr>
              <p:cNvPr id="809" name="TextBox 808"/>
              <p:cNvSpPr txBox="1"/>
              <p:nvPr/>
            </p:nvSpPr>
            <p:spPr>
              <a:xfrm>
                <a:off x="3194551" y="2418142"/>
                <a:ext cx="618053"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Singkawang</a:t>
                </a:r>
                <a:endParaRPr lang="en-AU" sz="700" b="1" dirty="0">
                  <a:solidFill>
                    <a:srgbClr val="008000"/>
                  </a:solidFill>
                  <a:latin typeface="Calibri"/>
                  <a:ea typeface="MS PGothic" charset="0"/>
                </a:endParaRPr>
              </a:p>
            </p:txBody>
          </p:sp>
          <p:sp>
            <p:nvSpPr>
              <p:cNvPr id="810" name="TextBox 809"/>
              <p:cNvSpPr txBox="1"/>
              <p:nvPr/>
            </p:nvSpPr>
            <p:spPr>
              <a:xfrm>
                <a:off x="3638409" y="2783181"/>
                <a:ext cx="637562" cy="290027"/>
              </a:xfrm>
              <a:prstGeom prst="rect">
                <a:avLst/>
              </a:prstGeom>
              <a:noFill/>
            </p:spPr>
            <p:txBody>
              <a:bodyPr wrap="squar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Muara</a:t>
                </a:r>
                <a:r>
                  <a:rPr lang="en-AU" sz="700" b="1" dirty="0" smtClean="0">
                    <a:solidFill>
                      <a:srgbClr val="008000"/>
                    </a:solidFill>
                    <a:latin typeface="Calibri"/>
                    <a:ea typeface="MS PGothic" charset="0"/>
                  </a:rPr>
                  <a:t> </a:t>
                </a:r>
                <a:r>
                  <a:rPr lang="en-AU" sz="700" b="1" dirty="0" err="1" smtClean="0">
                    <a:solidFill>
                      <a:srgbClr val="008000"/>
                    </a:solidFill>
                    <a:latin typeface="Calibri"/>
                    <a:ea typeface="MS PGothic" charset="0"/>
                  </a:rPr>
                  <a:t>Teweh</a:t>
                </a:r>
                <a:endParaRPr lang="en-AU" sz="700" b="1" dirty="0">
                  <a:solidFill>
                    <a:srgbClr val="008000"/>
                  </a:solidFill>
                  <a:latin typeface="Calibri"/>
                  <a:ea typeface="MS PGothic" charset="0"/>
                </a:endParaRPr>
              </a:p>
            </p:txBody>
          </p:sp>
          <p:sp>
            <p:nvSpPr>
              <p:cNvPr id="811" name="TextBox 810"/>
              <p:cNvSpPr txBox="1"/>
              <p:nvPr/>
            </p:nvSpPr>
            <p:spPr>
              <a:xfrm>
                <a:off x="6373405" y="1587098"/>
                <a:ext cx="438619"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Miangas</a:t>
                </a:r>
                <a:endParaRPr lang="en-AU" sz="700" b="1" dirty="0">
                  <a:solidFill>
                    <a:srgbClr val="008000"/>
                  </a:solidFill>
                  <a:latin typeface="Calibri"/>
                  <a:ea typeface="MS PGothic" charset="0"/>
                </a:endParaRPr>
              </a:p>
            </p:txBody>
          </p:sp>
          <p:sp>
            <p:nvSpPr>
              <p:cNvPr id="812" name="TextBox 811"/>
              <p:cNvSpPr txBox="1"/>
              <p:nvPr/>
            </p:nvSpPr>
            <p:spPr>
              <a:xfrm>
                <a:off x="4571998" y="2086688"/>
                <a:ext cx="447480"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Maratua</a:t>
                </a:r>
                <a:endParaRPr lang="en-AU" sz="700" b="1" dirty="0">
                  <a:solidFill>
                    <a:srgbClr val="008000"/>
                  </a:solidFill>
                  <a:latin typeface="Calibri"/>
                  <a:ea typeface="MS PGothic" charset="0"/>
                </a:endParaRPr>
              </a:p>
            </p:txBody>
          </p:sp>
          <p:sp>
            <p:nvSpPr>
              <p:cNvPr id="813" name="TextBox 812"/>
              <p:cNvSpPr txBox="1"/>
              <p:nvPr/>
            </p:nvSpPr>
            <p:spPr>
              <a:xfrm>
                <a:off x="5134654" y="2951360"/>
                <a:ext cx="628068" cy="290027"/>
              </a:xfrm>
              <a:prstGeom prst="rect">
                <a:avLst/>
              </a:prstGeom>
              <a:noFill/>
            </p:spPr>
            <p:txBody>
              <a:bodyPr wrap="squar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Tojo</a:t>
                </a:r>
                <a:r>
                  <a:rPr lang="en-AU" sz="700" b="1" dirty="0" smtClean="0">
                    <a:solidFill>
                      <a:srgbClr val="008000"/>
                    </a:solidFill>
                    <a:latin typeface="Calibri"/>
                    <a:ea typeface="MS PGothic" charset="0"/>
                  </a:rPr>
                  <a:t> </a:t>
                </a:r>
                <a:r>
                  <a:rPr lang="en-AU" sz="700" b="1" dirty="0" err="1" smtClean="0">
                    <a:solidFill>
                      <a:srgbClr val="008000"/>
                    </a:solidFill>
                    <a:latin typeface="Calibri"/>
                    <a:ea typeface="MS PGothic" charset="0"/>
                  </a:rPr>
                  <a:t>Una-Una</a:t>
                </a:r>
                <a:endParaRPr lang="en-AU" sz="700" b="1" dirty="0">
                  <a:solidFill>
                    <a:srgbClr val="008000"/>
                  </a:solidFill>
                  <a:latin typeface="Calibri"/>
                  <a:ea typeface="MS PGothic" charset="0"/>
                </a:endParaRPr>
              </a:p>
            </p:txBody>
          </p:sp>
          <p:sp>
            <p:nvSpPr>
              <p:cNvPr id="814" name="TextBox 813"/>
              <p:cNvSpPr txBox="1"/>
              <p:nvPr/>
            </p:nvSpPr>
            <p:spPr>
              <a:xfrm>
                <a:off x="5410746" y="2459444"/>
                <a:ext cx="529444"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Pohuwato</a:t>
                </a:r>
                <a:endParaRPr lang="en-AU" sz="700" b="1" dirty="0">
                  <a:solidFill>
                    <a:srgbClr val="008000"/>
                  </a:solidFill>
                  <a:latin typeface="Calibri"/>
                  <a:ea typeface="MS PGothic" charset="0"/>
                </a:endParaRPr>
              </a:p>
            </p:txBody>
          </p:sp>
          <p:sp>
            <p:nvSpPr>
              <p:cNvPr id="815" name="TextBox 814"/>
              <p:cNvSpPr txBox="1"/>
              <p:nvPr/>
            </p:nvSpPr>
            <p:spPr>
              <a:xfrm>
                <a:off x="6087614" y="4320928"/>
                <a:ext cx="237032"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8000"/>
                    </a:solidFill>
                    <a:latin typeface="Calibri"/>
                    <a:ea typeface="MS PGothic" charset="0"/>
                  </a:rPr>
                  <a:t>Moa</a:t>
                </a:r>
                <a:endParaRPr lang="en-AU" sz="700" b="1" dirty="0">
                  <a:solidFill>
                    <a:srgbClr val="008000"/>
                  </a:solidFill>
                  <a:latin typeface="Calibri"/>
                  <a:ea typeface="MS PGothic" charset="0"/>
                </a:endParaRPr>
              </a:p>
            </p:txBody>
          </p:sp>
          <p:sp>
            <p:nvSpPr>
              <p:cNvPr id="816" name="TextBox 815"/>
              <p:cNvSpPr txBox="1"/>
              <p:nvPr/>
            </p:nvSpPr>
            <p:spPr>
              <a:xfrm>
                <a:off x="6621989" y="3477432"/>
                <a:ext cx="529444"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Namniwel</a:t>
                </a:r>
                <a:endParaRPr lang="en-AU" sz="700" b="1" dirty="0">
                  <a:solidFill>
                    <a:srgbClr val="008000"/>
                  </a:solidFill>
                  <a:latin typeface="Calibri"/>
                  <a:ea typeface="MS PGothic" charset="0"/>
                </a:endParaRPr>
              </a:p>
            </p:txBody>
          </p:sp>
          <p:sp>
            <p:nvSpPr>
              <p:cNvPr id="817" name="TextBox 816"/>
              <p:cNvSpPr txBox="1"/>
              <p:nvPr/>
            </p:nvSpPr>
            <p:spPr>
              <a:xfrm>
                <a:off x="8316393" y="3122417"/>
                <a:ext cx="261398"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Taria</a:t>
                </a:r>
                <a:endParaRPr lang="en-AU" sz="700" b="1" dirty="0">
                  <a:solidFill>
                    <a:srgbClr val="008000"/>
                  </a:solidFill>
                  <a:latin typeface="Calibri"/>
                  <a:ea typeface="MS PGothic" charset="0"/>
                </a:endParaRPr>
              </a:p>
            </p:txBody>
          </p:sp>
          <p:sp>
            <p:nvSpPr>
              <p:cNvPr id="818" name="TextBox 817"/>
              <p:cNvSpPr txBox="1"/>
              <p:nvPr/>
            </p:nvSpPr>
            <p:spPr>
              <a:xfrm>
                <a:off x="8331983" y="3450887"/>
                <a:ext cx="420897"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Kenyam</a:t>
                </a:r>
                <a:endParaRPr lang="en-AU" sz="700" b="1" dirty="0">
                  <a:solidFill>
                    <a:srgbClr val="008000"/>
                  </a:solidFill>
                  <a:latin typeface="Calibri"/>
                  <a:ea typeface="MS PGothic" charset="0"/>
                </a:endParaRPr>
              </a:p>
            </p:txBody>
          </p:sp>
          <p:sp>
            <p:nvSpPr>
              <p:cNvPr id="819" name="TextBox 818"/>
              <p:cNvSpPr txBox="1"/>
              <p:nvPr/>
            </p:nvSpPr>
            <p:spPr>
              <a:xfrm>
                <a:off x="8625886" y="3673456"/>
                <a:ext cx="268045"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8000"/>
                    </a:solidFill>
                    <a:latin typeface="Calibri"/>
                    <a:ea typeface="MS PGothic" charset="0"/>
                  </a:rPr>
                  <a:t>Aboy</a:t>
                </a:r>
                <a:endParaRPr lang="en-AU" sz="700" b="1" dirty="0">
                  <a:solidFill>
                    <a:srgbClr val="008000"/>
                  </a:solidFill>
                  <a:latin typeface="Calibri"/>
                  <a:ea typeface="MS PGothic" charset="0"/>
                </a:endParaRPr>
              </a:p>
            </p:txBody>
          </p:sp>
          <p:sp>
            <p:nvSpPr>
              <p:cNvPr id="860" name="TextBox 859"/>
              <p:cNvSpPr txBox="1"/>
              <p:nvPr/>
            </p:nvSpPr>
            <p:spPr>
              <a:xfrm>
                <a:off x="4977612" y="3316540"/>
                <a:ext cx="662358" cy="290027"/>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8000"/>
                    </a:solidFill>
                    <a:latin typeface="Calibri"/>
                    <a:ea typeface="MS PGothic" charset="0"/>
                  </a:rPr>
                  <a:t>Sultan </a:t>
                </a:r>
              </a:p>
              <a:p>
                <a:pPr defTabSz="914400" fontAlgn="base">
                  <a:spcBef>
                    <a:spcPct val="0"/>
                  </a:spcBef>
                  <a:spcAft>
                    <a:spcPct val="0"/>
                  </a:spcAft>
                </a:pPr>
                <a:r>
                  <a:rPr lang="en-AU" sz="700" b="1" dirty="0" err="1" smtClean="0">
                    <a:solidFill>
                      <a:srgbClr val="008000"/>
                    </a:solidFill>
                    <a:latin typeface="Calibri"/>
                    <a:ea typeface="MS PGothic" charset="0"/>
                  </a:rPr>
                  <a:t>Hassanuddin</a:t>
                </a:r>
                <a:endParaRPr lang="en-AU" sz="700" b="1" dirty="0">
                  <a:solidFill>
                    <a:srgbClr val="008000"/>
                  </a:solidFill>
                  <a:latin typeface="Calibri"/>
                  <a:ea typeface="MS PGothic" charset="0"/>
                </a:endParaRPr>
              </a:p>
            </p:txBody>
          </p:sp>
          <p:sp>
            <p:nvSpPr>
              <p:cNvPr id="861" name="TextBox 860"/>
              <p:cNvSpPr txBox="1"/>
              <p:nvPr/>
            </p:nvSpPr>
            <p:spPr>
              <a:xfrm>
                <a:off x="687056" y="1295399"/>
                <a:ext cx="609192"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Banda Aceh</a:t>
                </a:r>
                <a:endParaRPr lang="en-AU" sz="700" b="1" dirty="0">
                  <a:solidFill>
                    <a:srgbClr val="000090"/>
                  </a:solidFill>
                  <a:latin typeface="Calibri"/>
                  <a:ea typeface="MS PGothic" charset="0"/>
                </a:endParaRPr>
              </a:p>
            </p:txBody>
          </p:sp>
          <p:sp>
            <p:nvSpPr>
              <p:cNvPr id="862" name="TextBox 861"/>
              <p:cNvSpPr txBox="1"/>
              <p:nvPr/>
            </p:nvSpPr>
            <p:spPr>
              <a:xfrm>
                <a:off x="1219198" y="1676398"/>
                <a:ext cx="445265"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Belawan</a:t>
                </a:r>
                <a:endParaRPr lang="en-AU" sz="700" b="1" dirty="0">
                  <a:solidFill>
                    <a:srgbClr val="000090"/>
                  </a:solidFill>
                  <a:latin typeface="Calibri"/>
                  <a:ea typeface="MS PGothic" charset="0"/>
                </a:endParaRPr>
              </a:p>
            </p:txBody>
          </p:sp>
          <p:sp>
            <p:nvSpPr>
              <p:cNvPr id="863" name="TextBox 862"/>
              <p:cNvSpPr txBox="1"/>
              <p:nvPr/>
            </p:nvSpPr>
            <p:spPr>
              <a:xfrm>
                <a:off x="1447799" y="1934289"/>
                <a:ext cx="73324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Kuala </a:t>
                </a:r>
                <a:r>
                  <a:rPr lang="en-AU" sz="700" b="1" dirty="0" err="1" smtClean="0">
                    <a:solidFill>
                      <a:srgbClr val="000090"/>
                    </a:solidFill>
                    <a:latin typeface="Calibri"/>
                    <a:ea typeface="MS PGothic" charset="0"/>
                  </a:rPr>
                  <a:t>Tanjung</a:t>
                </a:r>
                <a:endParaRPr lang="en-AU" sz="700" b="1" dirty="0">
                  <a:solidFill>
                    <a:srgbClr val="000090"/>
                  </a:solidFill>
                  <a:latin typeface="Calibri"/>
                  <a:ea typeface="MS PGothic" charset="0"/>
                </a:endParaRPr>
              </a:p>
            </p:txBody>
          </p:sp>
          <p:sp>
            <p:nvSpPr>
              <p:cNvPr id="864" name="TextBox 863"/>
              <p:cNvSpPr txBox="1"/>
              <p:nvPr/>
            </p:nvSpPr>
            <p:spPr>
              <a:xfrm>
                <a:off x="1820690" y="2239089"/>
                <a:ext cx="338933"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Dumai</a:t>
                </a:r>
                <a:endParaRPr lang="en-AU" sz="700" b="1" dirty="0">
                  <a:solidFill>
                    <a:srgbClr val="000090"/>
                  </a:solidFill>
                  <a:latin typeface="Calibri"/>
                  <a:ea typeface="MS PGothic" charset="0"/>
                </a:endParaRPr>
              </a:p>
            </p:txBody>
          </p:sp>
          <p:sp>
            <p:nvSpPr>
              <p:cNvPr id="865" name="TextBox 864"/>
              <p:cNvSpPr txBox="1"/>
              <p:nvPr/>
            </p:nvSpPr>
            <p:spPr>
              <a:xfrm>
                <a:off x="2133603" y="2438401"/>
                <a:ext cx="33671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Batam</a:t>
                </a:r>
                <a:endParaRPr lang="en-AU" sz="700" b="1" dirty="0">
                  <a:solidFill>
                    <a:srgbClr val="000090"/>
                  </a:solidFill>
                  <a:latin typeface="Calibri"/>
                  <a:ea typeface="MS PGothic" charset="0"/>
                </a:endParaRPr>
              </a:p>
            </p:txBody>
          </p:sp>
          <p:sp>
            <p:nvSpPr>
              <p:cNvPr id="866" name="TextBox 865"/>
              <p:cNvSpPr txBox="1"/>
              <p:nvPr/>
            </p:nvSpPr>
            <p:spPr>
              <a:xfrm>
                <a:off x="2526020" y="2971799"/>
                <a:ext cx="407606" cy="290027"/>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Pangkal</a:t>
                </a:r>
                <a:endParaRPr lang="en-AU" sz="700" b="1" dirty="0">
                  <a:solidFill>
                    <a:srgbClr val="000090"/>
                  </a:solidFill>
                  <a:latin typeface="Calibri"/>
                  <a:ea typeface="MS PGothic" charset="0"/>
                </a:endParaRPr>
              </a:p>
              <a:p>
                <a:pPr defTabSz="914400" fontAlgn="base">
                  <a:spcBef>
                    <a:spcPct val="0"/>
                  </a:spcBef>
                  <a:spcAft>
                    <a:spcPct val="0"/>
                  </a:spcAft>
                </a:pPr>
                <a:r>
                  <a:rPr lang="en-AU" sz="700" b="1" dirty="0" smtClean="0">
                    <a:solidFill>
                      <a:srgbClr val="000090"/>
                    </a:solidFill>
                    <a:latin typeface="Calibri"/>
                    <a:ea typeface="MS PGothic" charset="0"/>
                  </a:rPr>
                  <a:t>Pinang</a:t>
                </a:r>
                <a:endParaRPr lang="en-AU" sz="700" b="1" dirty="0">
                  <a:solidFill>
                    <a:srgbClr val="000090"/>
                  </a:solidFill>
                  <a:latin typeface="Calibri"/>
                  <a:ea typeface="MS PGothic" charset="0"/>
                </a:endParaRPr>
              </a:p>
            </p:txBody>
          </p:sp>
          <p:sp>
            <p:nvSpPr>
              <p:cNvPr id="867" name="TextBox 866"/>
              <p:cNvSpPr txBox="1"/>
              <p:nvPr/>
            </p:nvSpPr>
            <p:spPr>
              <a:xfrm>
                <a:off x="2514598" y="2165525"/>
                <a:ext cx="522798"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Pontianak</a:t>
                </a:r>
                <a:endParaRPr lang="en-AU" sz="700" b="1" dirty="0">
                  <a:solidFill>
                    <a:srgbClr val="000090"/>
                  </a:solidFill>
                  <a:latin typeface="Calibri"/>
                  <a:ea typeface="MS PGothic" charset="0"/>
                </a:endParaRPr>
              </a:p>
            </p:txBody>
          </p:sp>
          <p:sp>
            <p:nvSpPr>
              <p:cNvPr id="868" name="TextBox 867"/>
              <p:cNvSpPr txBox="1"/>
              <p:nvPr/>
            </p:nvSpPr>
            <p:spPr>
              <a:xfrm>
                <a:off x="1752598" y="3733800"/>
                <a:ext cx="414251"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Panjang</a:t>
                </a:r>
                <a:endParaRPr lang="en-AU" sz="700" b="1" dirty="0">
                  <a:solidFill>
                    <a:srgbClr val="000090"/>
                  </a:solidFill>
                  <a:latin typeface="Calibri"/>
                  <a:ea typeface="MS PGothic" charset="0"/>
                </a:endParaRPr>
              </a:p>
            </p:txBody>
          </p:sp>
          <p:sp>
            <p:nvSpPr>
              <p:cNvPr id="869" name="TextBox 868"/>
              <p:cNvSpPr txBox="1"/>
              <p:nvPr/>
            </p:nvSpPr>
            <p:spPr>
              <a:xfrm>
                <a:off x="822872" y="2743198"/>
                <a:ext cx="383238"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Padang</a:t>
                </a:r>
                <a:endParaRPr lang="en-AU" sz="700" b="1" dirty="0">
                  <a:solidFill>
                    <a:srgbClr val="000090"/>
                  </a:solidFill>
                  <a:latin typeface="Calibri"/>
                  <a:ea typeface="MS PGothic" charset="0"/>
                </a:endParaRPr>
              </a:p>
            </p:txBody>
          </p:sp>
          <p:sp>
            <p:nvSpPr>
              <p:cNvPr id="870" name="TextBox 869"/>
              <p:cNvSpPr txBox="1"/>
              <p:nvPr/>
            </p:nvSpPr>
            <p:spPr>
              <a:xfrm>
                <a:off x="2727397" y="3810000"/>
                <a:ext cx="423112" cy="145013"/>
              </a:xfrm>
              <a:prstGeom prst="rect">
                <a:avLst/>
              </a:prstGeom>
              <a:noFill/>
            </p:spPr>
            <p:txBody>
              <a:bodyPr wrap="none" lIns="0" tIns="0" rIns="0" bIns="0" rtlCol="0">
                <a:spAutoFit/>
              </a:bodyPr>
              <a:lstStyle/>
              <a:p>
                <a:pPr defTabSz="914400" fontAlgn="base">
                  <a:spcBef>
                    <a:spcPct val="0"/>
                  </a:spcBef>
                  <a:spcAft>
                    <a:spcPct val="0"/>
                  </a:spcAft>
                </a:pPr>
                <a:r>
                  <a:rPr lang="en-AU" sz="700" b="1" smtClean="0">
                    <a:solidFill>
                      <a:srgbClr val="000090"/>
                    </a:solidFill>
                    <a:latin typeface="Calibri"/>
                    <a:ea typeface="MS PGothic" charset="0"/>
                  </a:rPr>
                  <a:t>Tj. </a:t>
                </a:r>
                <a:r>
                  <a:rPr lang="en-AU" sz="700" b="1" dirty="0" err="1" smtClean="0">
                    <a:solidFill>
                      <a:srgbClr val="000090"/>
                    </a:solidFill>
                    <a:latin typeface="Calibri"/>
                    <a:ea typeface="MS PGothic" charset="0"/>
                  </a:rPr>
                  <a:t>Priok</a:t>
                </a:r>
                <a:endParaRPr lang="en-AU" sz="700" b="1" dirty="0">
                  <a:solidFill>
                    <a:srgbClr val="000090"/>
                  </a:solidFill>
                  <a:latin typeface="Calibri"/>
                  <a:ea typeface="MS PGothic" charset="0"/>
                </a:endParaRPr>
              </a:p>
            </p:txBody>
          </p:sp>
          <p:sp>
            <p:nvSpPr>
              <p:cNvPr id="871" name="TextBox 870"/>
              <p:cNvSpPr txBox="1"/>
              <p:nvPr/>
            </p:nvSpPr>
            <p:spPr>
              <a:xfrm>
                <a:off x="2392419" y="4267199"/>
                <a:ext cx="36994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Cilacap</a:t>
                </a:r>
                <a:endParaRPr lang="en-AU" sz="700" b="1" dirty="0">
                  <a:solidFill>
                    <a:srgbClr val="000090"/>
                  </a:solidFill>
                  <a:latin typeface="Calibri"/>
                  <a:ea typeface="MS PGothic" charset="0"/>
                </a:endParaRPr>
              </a:p>
            </p:txBody>
          </p:sp>
          <p:sp>
            <p:nvSpPr>
              <p:cNvPr id="872" name="TextBox 871"/>
              <p:cNvSpPr txBox="1"/>
              <p:nvPr/>
            </p:nvSpPr>
            <p:spPr>
              <a:xfrm>
                <a:off x="3722624" y="3994325"/>
                <a:ext cx="449695"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Tj</a:t>
                </a:r>
                <a:r>
                  <a:rPr lang="en-AU" sz="700" b="1" dirty="0" smtClean="0">
                    <a:solidFill>
                      <a:srgbClr val="000090"/>
                    </a:solidFill>
                    <a:latin typeface="Calibri"/>
                    <a:ea typeface="MS PGothic" charset="0"/>
                  </a:rPr>
                  <a:t>. Perak</a:t>
                </a:r>
                <a:endParaRPr lang="en-AU" sz="700" b="1" dirty="0">
                  <a:solidFill>
                    <a:srgbClr val="000090"/>
                  </a:solidFill>
                  <a:latin typeface="Calibri"/>
                  <a:ea typeface="MS PGothic" charset="0"/>
                </a:endParaRPr>
              </a:p>
            </p:txBody>
          </p:sp>
          <p:sp>
            <p:nvSpPr>
              <p:cNvPr id="873" name="TextBox 872"/>
              <p:cNvSpPr txBox="1"/>
              <p:nvPr/>
            </p:nvSpPr>
            <p:spPr>
              <a:xfrm>
                <a:off x="4038603" y="4495800"/>
                <a:ext cx="414251"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Lombok</a:t>
                </a:r>
                <a:endParaRPr lang="en-AU" sz="700" b="1" dirty="0">
                  <a:solidFill>
                    <a:srgbClr val="000090"/>
                  </a:solidFill>
                  <a:latin typeface="Calibri"/>
                  <a:ea typeface="MS PGothic" charset="0"/>
                </a:endParaRPr>
              </a:p>
            </p:txBody>
          </p:sp>
          <p:sp>
            <p:nvSpPr>
              <p:cNvPr id="874" name="TextBox 873"/>
              <p:cNvSpPr txBox="1"/>
              <p:nvPr/>
            </p:nvSpPr>
            <p:spPr>
              <a:xfrm>
                <a:off x="5229174" y="4766262"/>
                <a:ext cx="389884"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Kupang</a:t>
                </a:r>
                <a:endParaRPr lang="en-AU" sz="700" b="1" dirty="0">
                  <a:solidFill>
                    <a:srgbClr val="000090"/>
                  </a:solidFill>
                  <a:latin typeface="Calibri"/>
                  <a:ea typeface="MS PGothic" charset="0"/>
                </a:endParaRPr>
              </a:p>
            </p:txBody>
          </p:sp>
          <p:sp>
            <p:nvSpPr>
              <p:cNvPr id="875" name="TextBox 874"/>
              <p:cNvSpPr txBox="1"/>
              <p:nvPr/>
            </p:nvSpPr>
            <p:spPr>
              <a:xfrm>
                <a:off x="3276603" y="3352800"/>
                <a:ext cx="697802"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Palangkaraya</a:t>
                </a:r>
                <a:endParaRPr lang="en-AU" sz="700" b="1" dirty="0">
                  <a:solidFill>
                    <a:srgbClr val="000090"/>
                  </a:solidFill>
                  <a:latin typeface="Calibri"/>
                  <a:ea typeface="MS PGothic" charset="0"/>
                </a:endParaRPr>
              </a:p>
            </p:txBody>
          </p:sp>
          <p:sp>
            <p:nvSpPr>
              <p:cNvPr id="876" name="TextBox 875"/>
              <p:cNvSpPr txBox="1"/>
              <p:nvPr/>
            </p:nvSpPr>
            <p:spPr>
              <a:xfrm>
                <a:off x="3994919" y="3305889"/>
                <a:ext cx="64463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Banjarmasin</a:t>
                </a:r>
                <a:endParaRPr lang="en-AU" sz="700" b="1" dirty="0">
                  <a:solidFill>
                    <a:srgbClr val="000090"/>
                  </a:solidFill>
                  <a:latin typeface="Calibri"/>
                  <a:ea typeface="MS PGothic" charset="0"/>
                </a:endParaRPr>
              </a:p>
            </p:txBody>
          </p:sp>
          <p:sp>
            <p:nvSpPr>
              <p:cNvPr id="877" name="TextBox 876"/>
              <p:cNvSpPr txBox="1"/>
              <p:nvPr/>
            </p:nvSpPr>
            <p:spPr>
              <a:xfrm>
                <a:off x="4363630" y="3714220"/>
                <a:ext cx="496215"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Makassar</a:t>
                </a:r>
                <a:endParaRPr lang="en-AU" sz="700" b="1" dirty="0">
                  <a:solidFill>
                    <a:srgbClr val="000090"/>
                  </a:solidFill>
                  <a:latin typeface="Calibri"/>
                  <a:ea typeface="MS PGothic" charset="0"/>
                </a:endParaRPr>
              </a:p>
            </p:txBody>
          </p:sp>
          <p:sp>
            <p:nvSpPr>
              <p:cNvPr id="878" name="TextBox 877"/>
              <p:cNvSpPr txBox="1"/>
              <p:nvPr/>
            </p:nvSpPr>
            <p:spPr>
              <a:xfrm>
                <a:off x="4419599" y="2590799"/>
                <a:ext cx="32785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Maloy</a:t>
                </a:r>
                <a:endParaRPr lang="en-AU" sz="700" b="1" dirty="0">
                  <a:solidFill>
                    <a:srgbClr val="000090"/>
                  </a:solidFill>
                  <a:latin typeface="Calibri"/>
                  <a:ea typeface="MS PGothic" charset="0"/>
                </a:endParaRPr>
              </a:p>
            </p:txBody>
          </p:sp>
          <p:sp>
            <p:nvSpPr>
              <p:cNvPr id="879" name="TextBox 878"/>
              <p:cNvSpPr txBox="1"/>
              <p:nvPr/>
            </p:nvSpPr>
            <p:spPr>
              <a:xfrm>
                <a:off x="6019802" y="2209799"/>
                <a:ext cx="334503"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Bitung</a:t>
                </a:r>
                <a:endParaRPr lang="en-AU" sz="700" b="1" dirty="0">
                  <a:solidFill>
                    <a:srgbClr val="000090"/>
                  </a:solidFill>
                  <a:latin typeface="Calibri"/>
                  <a:ea typeface="MS PGothic" charset="0"/>
                </a:endParaRPr>
              </a:p>
            </p:txBody>
          </p:sp>
          <p:sp>
            <p:nvSpPr>
              <p:cNvPr id="880" name="TextBox 879"/>
              <p:cNvSpPr txBox="1"/>
              <p:nvPr/>
            </p:nvSpPr>
            <p:spPr>
              <a:xfrm>
                <a:off x="6019802" y="2620087"/>
                <a:ext cx="569318"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Halmahera</a:t>
                </a:r>
                <a:endParaRPr lang="en-AU" sz="700" b="1" dirty="0">
                  <a:solidFill>
                    <a:srgbClr val="000090"/>
                  </a:solidFill>
                  <a:latin typeface="Calibri"/>
                  <a:ea typeface="MS PGothic" charset="0"/>
                </a:endParaRPr>
              </a:p>
            </p:txBody>
          </p:sp>
          <p:sp>
            <p:nvSpPr>
              <p:cNvPr id="881" name="TextBox 880"/>
              <p:cNvSpPr txBox="1"/>
              <p:nvPr/>
            </p:nvSpPr>
            <p:spPr>
              <a:xfrm>
                <a:off x="6781794" y="2912768"/>
                <a:ext cx="361086"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Sorong</a:t>
                </a:r>
                <a:endParaRPr lang="en-AU" sz="700" b="1" dirty="0">
                  <a:solidFill>
                    <a:srgbClr val="000090"/>
                  </a:solidFill>
                  <a:latin typeface="Calibri"/>
                  <a:ea typeface="MS PGothic" charset="0"/>
                </a:endParaRPr>
              </a:p>
            </p:txBody>
          </p:sp>
          <p:sp>
            <p:nvSpPr>
              <p:cNvPr id="882" name="TextBox 881"/>
              <p:cNvSpPr txBox="1"/>
              <p:nvPr/>
            </p:nvSpPr>
            <p:spPr>
              <a:xfrm>
                <a:off x="8290539" y="2836349"/>
                <a:ext cx="465202"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Jayapura</a:t>
                </a:r>
                <a:endParaRPr lang="en-AU" sz="700" b="1" dirty="0">
                  <a:solidFill>
                    <a:srgbClr val="000090"/>
                  </a:solidFill>
                  <a:latin typeface="Calibri"/>
                  <a:ea typeface="MS PGothic" charset="0"/>
                </a:endParaRPr>
              </a:p>
            </p:txBody>
          </p:sp>
          <p:sp>
            <p:nvSpPr>
              <p:cNvPr id="883" name="TextBox 882"/>
              <p:cNvSpPr txBox="1"/>
              <p:nvPr/>
            </p:nvSpPr>
            <p:spPr>
              <a:xfrm>
                <a:off x="7931841" y="4190772"/>
                <a:ext cx="465202"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err="1" smtClean="0">
                    <a:solidFill>
                      <a:srgbClr val="000090"/>
                    </a:solidFill>
                    <a:latin typeface="Calibri"/>
                    <a:ea typeface="MS PGothic" charset="0"/>
                  </a:rPr>
                  <a:t>Merauke</a:t>
                </a:r>
                <a:endParaRPr lang="en-AU" sz="700" b="1" dirty="0">
                  <a:solidFill>
                    <a:srgbClr val="000090"/>
                  </a:solidFill>
                  <a:latin typeface="Calibri"/>
                  <a:ea typeface="MS PGothic" charset="0"/>
                </a:endParaRPr>
              </a:p>
            </p:txBody>
          </p:sp>
          <p:sp>
            <p:nvSpPr>
              <p:cNvPr id="884" name="TextBox 883"/>
              <p:cNvSpPr txBox="1"/>
              <p:nvPr/>
            </p:nvSpPr>
            <p:spPr>
              <a:xfrm>
                <a:off x="6248402" y="3382089"/>
                <a:ext cx="376591" cy="145013"/>
              </a:xfrm>
              <a:prstGeom prst="rect">
                <a:avLst/>
              </a:prstGeom>
              <a:noFill/>
            </p:spPr>
            <p:txBody>
              <a:bodyPr wrap="none" lIns="0" tIns="0" rIns="0" bIns="0" rtlCol="0">
                <a:spAutoFit/>
              </a:bodyPr>
              <a:lstStyle/>
              <a:p>
                <a:pPr defTabSz="914400" fontAlgn="base">
                  <a:spcBef>
                    <a:spcPct val="0"/>
                  </a:spcBef>
                  <a:spcAft>
                    <a:spcPct val="0"/>
                  </a:spcAft>
                </a:pPr>
                <a:r>
                  <a:rPr lang="en-AU" sz="700" b="1" dirty="0" smtClean="0">
                    <a:solidFill>
                      <a:srgbClr val="000090"/>
                    </a:solidFill>
                    <a:latin typeface="Calibri"/>
                    <a:ea typeface="MS PGothic" charset="0"/>
                  </a:rPr>
                  <a:t>Ambon</a:t>
                </a:r>
                <a:endParaRPr lang="en-AU" sz="700" b="1" dirty="0">
                  <a:solidFill>
                    <a:srgbClr val="000090"/>
                  </a:solidFill>
                  <a:latin typeface="Calibri"/>
                  <a:ea typeface="MS PGothic" charset="0"/>
                </a:endParaRPr>
              </a:p>
            </p:txBody>
          </p:sp>
          <p:sp>
            <p:nvSpPr>
              <p:cNvPr id="820" name="TextBox 819"/>
              <p:cNvSpPr txBox="1"/>
              <p:nvPr/>
            </p:nvSpPr>
            <p:spPr>
              <a:xfrm>
                <a:off x="8500992" y="4139499"/>
                <a:ext cx="460773" cy="290027"/>
              </a:xfrm>
              <a:prstGeom prst="rect">
                <a:avLst/>
              </a:prstGeom>
              <a:noFill/>
            </p:spPr>
            <p:txBody>
              <a:bodyPr wrap="none" lIns="0" tIns="0" rIns="0" bIns="0" rtlCol="0">
                <a:spAutoFit/>
              </a:bodyPr>
              <a:lstStyle/>
              <a:p>
                <a:pPr algn="ctr" defTabSz="914400" fontAlgn="base">
                  <a:spcBef>
                    <a:spcPct val="0"/>
                  </a:spcBef>
                  <a:spcAft>
                    <a:spcPct val="0"/>
                  </a:spcAft>
                </a:pPr>
                <a:r>
                  <a:rPr lang="en-AU" sz="700" b="1" dirty="0" err="1" smtClean="0">
                    <a:solidFill>
                      <a:srgbClr val="008000"/>
                    </a:solidFill>
                    <a:latin typeface="Calibri"/>
                    <a:ea typeface="MS PGothic" charset="0"/>
                  </a:rPr>
                  <a:t>Koroway</a:t>
                </a:r>
                <a:endParaRPr lang="en-AU" sz="700" b="1" dirty="0" smtClean="0">
                  <a:solidFill>
                    <a:srgbClr val="008000"/>
                  </a:solidFill>
                  <a:latin typeface="Calibri"/>
                  <a:ea typeface="MS PGothic" charset="0"/>
                </a:endParaRPr>
              </a:p>
              <a:p>
                <a:pPr algn="ctr" defTabSz="914400" fontAlgn="base">
                  <a:spcBef>
                    <a:spcPct val="0"/>
                  </a:spcBef>
                  <a:spcAft>
                    <a:spcPct val="0"/>
                  </a:spcAft>
                </a:pPr>
                <a:r>
                  <a:rPr lang="en-AU" sz="700" b="1" dirty="0" err="1" smtClean="0">
                    <a:solidFill>
                      <a:srgbClr val="008000"/>
                    </a:solidFill>
                    <a:latin typeface="Calibri"/>
                    <a:ea typeface="MS PGothic" charset="0"/>
                  </a:rPr>
                  <a:t>Batu</a:t>
                </a:r>
                <a:endParaRPr lang="en-AU" sz="700" b="1" dirty="0">
                  <a:solidFill>
                    <a:srgbClr val="008000"/>
                  </a:solidFill>
                  <a:latin typeface="Calibri"/>
                  <a:ea typeface="MS PGothic" charset="0"/>
                </a:endParaRPr>
              </a:p>
            </p:txBody>
          </p:sp>
        </p:grpSp>
        <p:pic>
          <p:nvPicPr>
            <p:cNvPr id="34" name="Picture 33"/>
            <p:cNvPicPr>
              <a:picLocks noChangeAspect="1"/>
            </p:cNvPicPr>
            <p:nvPr/>
          </p:nvPicPr>
          <p:blipFill>
            <a:blip r:embed="rId714" cstate="print"/>
            <a:stretch>
              <a:fillRect/>
            </a:stretch>
          </p:blipFill>
          <p:spPr>
            <a:xfrm>
              <a:off x="2027903" y="3349983"/>
              <a:ext cx="158037" cy="158037"/>
            </a:xfrm>
            <a:prstGeom prst="rect">
              <a:avLst/>
            </a:prstGeom>
          </p:spPr>
        </p:pic>
        <p:pic>
          <p:nvPicPr>
            <p:cNvPr id="1597" name="Picture 1596"/>
            <p:cNvPicPr>
              <a:picLocks noChangeAspect="1"/>
            </p:cNvPicPr>
            <p:nvPr/>
          </p:nvPicPr>
          <p:blipFill>
            <a:blip r:embed="rId714" cstate="print"/>
            <a:stretch>
              <a:fillRect/>
            </a:stretch>
          </p:blipFill>
          <p:spPr>
            <a:xfrm>
              <a:off x="1896829" y="3082794"/>
              <a:ext cx="158037" cy="158037"/>
            </a:xfrm>
            <a:prstGeom prst="rect">
              <a:avLst/>
            </a:prstGeom>
          </p:spPr>
        </p:pic>
        <p:pic>
          <p:nvPicPr>
            <p:cNvPr id="1599" name="Picture 1598"/>
            <p:cNvPicPr>
              <a:picLocks noChangeAspect="1"/>
            </p:cNvPicPr>
            <p:nvPr/>
          </p:nvPicPr>
          <p:blipFill>
            <a:blip r:embed="rId714" cstate="print"/>
            <a:stretch>
              <a:fillRect/>
            </a:stretch>
          </p:blipFill>
          <p:spPr>
            <a:xfrm>
              <a:off x="2622523" y="3230218"/>
              <a:ext cx="158037" cy="158037"/>
            </a:xfrm>
            <a:prstGeom prst="rect">
              <a:avLst/>
            </a:prstGeom>
          </p:spPr>
        </p:pic>
        <p:pic>
          <p:nvPicPr>
            <p:cNvPr id="1600" name="Picture 1599"/>
            <p:cNvPicPr>
              <a:picLocks noChangeAspect="1"/>
            </p:cNvPicPr>
            <p:nvPr/>
          </p:nvPicPr>
          <p:blipFill>
            <a:blip r:embed="rId714" cstate="print"/>
            <a:stretch>
              <a:fillRect/>
            </a:stretch>
          </p:blipFill>
          <p:spPr>
            <a:xfrm>
              <a:off x="3121437" y="3434342"/>
              <a:ext cx="158037" cy="158037"/>
            </a:xfrm>
            <a:prstGeom prst="rect">
              <a:avLst/>
            </a:prstGeom>
          </p:spPr>
        </p:pic>
        <p:pic>
          <p:nvPicPr>
            <p:cNvPr id="1601" name="Picture 1600"/>
            <p:cNvPicPr>
              <a:picLocks noChangeAspect="1"/>
            </p:cNvPicPr>
            <p:nvPr/>
          </p:nvPicPr>
          <p:blipFill>
            <a:blip r:embed="rId714" cstate="print"/>
            <a:stretch>
              <a:fillRect/>
            </a:stretch>
          </p:blipFill>
          <p:spPr>
            <a:xfrm>
              <a:off x="4141944" y="3695167"/>
              <a:ext cx="158037" cy="158037"/>
            </a:xfrm>
            <a:prstGeom prst="rect">
              <a:avLst/>
            </a:prstGeom>
          </p:spPr>
        </p:pic>
        <p:pic>
          <p:nvPicPr>
            <p:cNvPr id="1602" name="Picture 1601"/>
            <p:cNvPicPr>
              <a:picLocks noChangeAspect="1"/>
            </p:cNvPicPr>
            <p:nvPr/>
          </p:nvPicPr>
          <p:blipFill>
            <a:blip r:embed="rId714" cstate="print"/>
            <a:stretch>
              <a:fillRect/>
            </a:stretch>
          </p:blipFill>
          <p:spPr>
            <a:xfrm>
              <a:off x="4856298" y="2629186"/>
              <a:ext cx="158037" cy="158037"/>
            </a:xfrm>
            <a:prstGeom prst="rect">
              <a:avLst/>
            </a:prstGeom>
          </p:spPr>
        </p:pic>
        <p:pic>
          <p:nvPicPr>
            <p:cNvPr id="1604" name="Picture 1603"/>
            <p:cNvPicPr>
              <a:picLocks noChangeAspect="1"/>
            </p:cNvPicPr>
            <p:nvPr/>
          </p:nvPicPr>
          <p:blipFill>
            <a:blip r:embed="rId714" cstate="print"/>
            <a:stretch>
              <a:fillRect/>
            </a:stretch>
          </p:blipFill>
          <p:spPr>
            <a:xfrm>
              <a:off x="5139772" y="2266299"/>
              <a:ext cx="158037" cy="158037"/>
            </a:xfrm>
            <a:prstGeom prst="rect">
              <a:avLst/>
            </a:prstGeom>
          </p:spPr>
        </p:pic>
        <p:pic>
          <p:nvPicPr>
            <p:cNvPr id="1605" name="Picture 1604"/>
            <p:cNvPicPr>
              <a:picLocks noChangeAspect="1"/>
            </p:cNvPicPr>
            <p:nvPr/>
          </p:nvPicPr>
          <p:blipFill>
            <a:blip r:embed="rId714" cstate="print"/>
            <a:stretch>
              <a:fillRect/>
            </a:stretch>
          </p:blipFill>
          <p:spPr>
            <a:xfrm>
              <a:off x="6432414" y="2470422"/>
              <a:ext cx="158037" cy="158037"/>
            </a:xfrm>
            <a:prstGeom prst="rect">
              <a:avLst/>
            </a:prstGeom>
          </p:spPr>
        </p:pic>
        <p:pic>
          <p:nvPicPr>
            <p:cNvPr id="1606" name="Picture 1605"/>
            <p:cNvPicPr>
              <a:picLocks noChangeAspect="1"/>
            </p:cNvPicPr>
            <p:nvPr/>
          </p:nvPicPr>
          <p:blipFill>
            <a:blip r:embed="rId714" cstate="print"/>
            <a:stretch>
              <a:fillRect/>
            </a:stretch>
          </p:blipFill>
          <p:spPr>
            <a:xfrm>
              <a:off x="6228312" y="3343620"/>
              <a:ext cx="158037" cy="158037"/>
            </a:xfrm>
            <a:prstGeom prst="rect">
              <a:avLst/>
            </a:prstGeom>
          </p:spPr>
        </p:pic>
        <p:pic>
          <p:nvPicPr>
            <p:cNvPr id="1607" name="Picture 1606"/>
            <p:cNvPicPr>
              <a:picLocks noChangeAspect="1"/>
            </p:cNvPicPr>
            <p:nvPr/>
          </p:nvPicPr>
          <p:blipFill>
            <a:blip r:embed="rId714" cstate="print"/>
            <a:stretch>
              <a:fillRect/>
            </a:stretch>
          </p:blipFill>
          <p:spPr>
            <a:xfrm>
              <a:off x="4611834" y="2010450"/>
              <a:ext cx="158037" cy="158037"/>
            </a:xfrm>
            <a:prstGeom prst="rect">
              <a:avLst/>
            </a:prstGeom>
          </p:spPr>
        </p:pic>
        <p:pic>
          <p:nvPicPr>
            <p:cNvPr id="1608" name="Picture 1607"/>
            <p:cNvPicPr>
              <a:picLocks noChangeAspect="1"/>
            </p:cNvPicPr>
            <p:nvPr/>
          </p:nvPicPr>
          <p:blipFill>
            <a:blip r:embed="rId714" cstate="print"/>
            <a:stretch>
              <a:fillRect/>
            </a:stretch>
          </p:blipFill>
          <p:spPr>
            <a:xfrm>
              <a:off x="3557311" y="2894989"/>
              <a:ext cx="158037" cy="158037"/>
            </a:xfrm>
            <a:prstGeom prst="rect">
              <a:avLst/>
            </a:prstGeom>
          </p:spPr>
        </p:pic>
        <p:pic>
          <p:nvPicPr>
            <p:cNvPr id="1609" name="Picture 1608"/>
            <p:cNvPicPr>
              <a:picLocks noChangeAspect="1"/>
            </p:cNvPicPr>
            <p:nvPr/>
          </p:nvPicPr>
          <p:blipFill>
            <a:blip r:embed="rId714" cstate="print"/>
            <a:stretch>
              <a:fillRect/>
            </a:stretch>
          </p:blipFill>
          <p:spPr>
            <a:xfrm>
              <a:off x="3126431" y="2566122"/>
              <a:ext cx="158037" cy="158037"/>
            </a:xfrm>
            <a:prstGeom prst="rect">
              <a:avLst/>
            </a:prstGeom>
          </p:spPr>
        </p:pic>
        <p:pic>
          <p:nvPicPr>
            <p:cNvPr id="1610" name="Picture 1609"/>
            <p:cNvPicPr>
              <a:picLocks noChangeAspect="1"/>
            </p:cNvPicPr>
            <p:nvPr/>
          </p:nvPicPr>
          <p:blipFill>
            <a:blip r:embed="rId714" cstate="print"/>
            <a:stretch>
              <a:fillRect/>
            </a:stretch>
          </p:blipFill>
          <p:spPr>
            <a:xfrm>
              <a:off x="3324186" y="2004088"/>
              <a:ext cx="158037" cy="158037"/>
            </a:xfrm>
            <a:prstGeom prst="rect">
              <a:avLst/>
            </a:prstGeom>
          </p:spPr>
        </p:pic>
        <p:pic>
          <p:nvPicPr>
            <p:cNvPr id="1611" name="Picture 1610"/>
            <p:cNvPicPr>
              <a:picLocks noChangeAspect="1"/>
            </p:cNvPicPr>
            <p:nvPr/>
          </p:nvPicPr>
          <p:blipFill>
            <a:blip r:embed="rId714" cstate="print"/>
            <a:stretch>
              <a:fillRect/>
            </a:stretch>
          </p:blipFill>
          <p:spPr>
            <a:xfrm>
              <a:off x="2700544" y="2593779"/>
              <a:ext cx="158037" cy="158037"/>
            </a:xfrm>
            <a:prstGeom prst="rect">
              <a:avLst/>
            </a:prstGeom>
          </p:spPr>
        </p:pic>
        <p:pic>
          <p:nvPicPr>
            <p:cNvPr id="1612" name="Picture 1611"/>
            <p:cNvPicPr>
              <a:picLocks noChangeAspect="1"/>
            </p:cNvPicPr>
            <p:nvPr/>
          </p:nvPicPr>
          <p:blipFill>
            <a:blip r:embed="rId714" cstate="print"/>
            <a:stretch>
              <a:fillRect/>
            </a:stretch>
          </p:blipFill>
          <p:spPr>
            <a:xfrm>
              <a:off x="2110918" y="1902026"/>
              <a:ext cx="158037" cy="158037"/>
            </a:xfrm>
            <a:prstGeom prst="rect">
              <a:avLst/>
            </a:prstGeom>
          </p:spPr>
        </p:pic>
        <p:pic>
          <p:nvPicPr>
            <p:cNvPr id="1613" name="Picture 1612"/>
            <p:cNvPicPr>
              <a:picLocks noChangeAspect="1"/>
            </p:cNvPicPr>
            <p:nvPr/>
          </p:nvPicPr>
          <p:blipFill>
            <a:blip r:embed="rId714" cstate="print"/>
            <a:stretch>
              <a:fillRect/>
            </a:stretch>
          </p:blipFill>
          <p:spPr>
            <a:xfrm>
              <a:off x="4333354" y="1822644"/>
              <a:ext cx="158037" cy="158037"/>
            </a:xfrm>
            <a:prstGeom prst="rect">
              <a:avLst/>
            </a:prstGeom>
          </p:spPr>
        </p:pic>
        <p:pic>
          <p:nvPicPr>
            <p:cNvPr id="1615" name="Picture 1614"/>
            <p:cNvPicPr>
              <a:picLocks noChangeAspect="1"/>
            </p:cNvPicPr>
            <p:nvPr/>
          </p:nvPicPr>
          <p:blipFill>
            <a:blip r:embed="rId714" cstate="print"/>
            <a:stretch>
              <a:fillRect/>
            </a:stretch>
          </p:blipFill>
          <p:spPr>
            <a:xfrm>
              <a:off x="1731738" y="2464059"/>
              <a:ext cx="158037" cy="158037"/>
            </a:xfrm>
            <a:prstGeom prst="rect">
              <a:avLst/>
            </a:prstGeom>
          </p:spPr>
        </p:pic>
        <p:pic>
          <p:nvPicPr>
            <p:cNvPr id="1616" name="Picture 1615"/>
            <p:cNvPicPr>
              <a:picLocks noChangeAspect="1"/>
            </p:cNvPicPr>
            <p:nvPr/>
          </p:nvPicPr>
          <p:blipFill>
            <a:blip r:embed="rId714" cstate="print"/>
            <a:stretch>
              <a:fillRect/>
            </a:stretch>
          </p:blipFill>
          <p:spPr>
            <a:xfrm>
              <a:off x="1652365" y="3008390"/>
              <a:ext cx="158037" cy="158037"/>
            </a:xfrm>
            <a:prstGeom prst="rect">
              <a:avLst/>
            </a:prstGeom>
          </p:spPr>
        </p:pic>
        <p:pic>
          <p:nvPicPr>
            <p:cNvPr id="1617" name="Picture 1616"/>
            <p:cNvPicPr>
              <a:picLocks noChangeAspect="1"/>
            </p:cNvPicPr>
            <p:nvPr/>
          </p:nvPicPr>
          <p:blipFill>
            <a:blip r:embed="rId714" cstate="print"/>
            <a:stretch>
              <a:fillRect/>
            </a:stretch>
          </p:blipFill>
          <p:spPr>
            <a:xfrm>
              <a:off x="1459603" y="1999110"/>
              <a:ext cx="158037" cy="158037"/>
            </a:xfrm>
            <a:prstGeom prst="rect">
              <a:avLst/>
            </a:prstGeom>
          </p:spPr>
        </p:pic>
        <p:pic>
          <p:nvPicPr>
            <p:cNvPr id="1618" name="Picture 1617"/>
            <p:cNvPicPr>
              <a:picLocks noChangeAspect="1"/>
            </p:cNvPicPr>
            <p:nvPr/>
          </p:nvPicPr>
          <p:blipFill>
            <a:blip r:embed="rId714" cstate="print"/>
            <a:stretch>
              <a:fillRect/>
            </a:stretch>
          </p:blipFill>
          <p:spPr>
            <a:xfrm>
              <a:off x="1244163" y="1874368"/>
              <a:ext cx="158037" cy="158037"/>
            </a:xfrm>
            <a:prstGeom prst="rect">
              <a:avLst/>
            </a:prstGeom>
          </p:spPr>
        </p:pic>
        <p:pic>
          <p:nvPicPr>
            <p:cNvPr id="1619" name="Picture 1618"/>
            <p:cNvPicPr>
              <a:picLocks noChangeAspect="1"/>
            </p:cNvPicPr>
            <p:nvPr/>
          </p:nvPicPr>
          <p:blipFill>
            <a:blip r:embed="rId714" cstate="print"/>
            <a:stretch>
              <a:fillRect/>
            </a:stretch>
          </p:blipFill>
          <p:spPr>
            <a:xfrm>
              <a:off x="943005" y="2242233"/>
              <a:ext cx="158037" cy="158037"/>
            </a:xfrm>
            <a:prstGeom prst="rect">
              <a:avLst/>
            </a:prstGeom>
          </p:spPr>
        </p:pic>
        <p:pic>
          <p:nvPicPr>
            <p:cNvPr id="1620" name="Picture 1619"/>
            <p:cNvPicPr>
              <a:picLocks noChangeAspect="1"/>
            </p:cNvPicPr>
            <p:nvPr/>
          </p:nvPicPr>
          <p:blipFill>
            <a:blip r:embed="rId714" cstate="print"/>
            <a:stretch>
              <a:fillRect/>
            </a:stretch>
          </p:blipFill>
          <p:spPr>
            <a:xfrm>
              <a:off x="954344" y="1629860"/>
              <a:ext cx="158037" cy="158037"/>
            </a:xfrm>
            <a:prstGeom prst="rect">
              <a:avLst/>
            </a:prstGeom>
          </p:spPr>
        </p:pic>
        <p:pic>
          <p:nvPicPr>
            <p:cNvPr id="1621" name="Picture 1620"/>
            <p:cNvPicPr>
              <a:picLocks noChangeAspect="1"/>
            </p:cNvPicPr>
            <p:nvPr/>
          </p:nvPicPr>
          <p:blipFill>
            <a:blip r:embed="rId714" cstate="print"/>
            <a:stretch>
              <a:fillRect/>
            </a:stretch>
          </p:blipFill>
          <p:spPr>
            <a:xfrm>
              <a:off x="789253" y="1464734"/>
              <a:ext cx="158037" cy="158037"/>
            </a:xfrm>
            <a:prstGeom prst="rect">
              <a:avLst/>
            </a:prstGeom>
          </p:spPr>
        </p:pic>
        <p:pic>
          <p:nvPicPr>
            <p:cNvPr id="1622" name="Picture 1621"/>
            <p:cNvPicPr>
              <a:picLocks noChangeAspect="1"/>
            </p:cNvPicPr>
            <p:nvPr/>
          </p:nvPicPr>
          <p:blipFill>
            <a:blip r:embed="rId714" cstate="print"/>
            <a:stretch>
              <a:fillRect/>
            </a:stretch>
          </p:blipFill>
          <p:spPr>
            <a:xfrm>
              <a:off x="340688" y="1140844"/>
              <a:ext cx="158037" cy="158037"/>
            </a:xfrm>
            <a:prstGeom prst="rect">
              <a:avLst/>
            </a:prstGeom>
          </p:spPr>
        </p:pic>
        <p:pic>
          <p:nvPicPr>
            <p:cNvPr id="35" name="Picture 34"/>
            <p:cNvPicPr>
              <a:picLocks noChangeAspect="1"/>
            </p:cNvPicPr>
            <p:nvPr/>
          </p:nvPicPr>
          <p:blipFill>
            <a:blip r:embed="rId715" cstate="print"/>
            <a:stretch>
              <a:fillRect/>
            </a:stretch>
          </p:blipFill>
          <p:spPr>
            <a:xfrm>
              <a:off x="4565027" y="3324498"/>
              <a:ext cx="186321" cy="186321"/>
            </a:xfrm>
            <a:prstGeom prst="rect">
              <a:avLst/>
            </a:prstGeom>
          </p:spPr>
        </p:pic>
        <p:pic>
          <p:nvPicPr>
            <p:cNvPr id="1624" name="Picture 1623"/>
            <p:cNvPicPr>
              <a:picLocks noChangeAspect="1"/>
            </p:cNvPicPr>
            <p:nvPr/>
          </p:nvPicPr>
          <p:blipFill>
            <a:blip r:embed="rId715" cstate="print"/>
            <a:stretch>
              <a:fillRect/>
            </a:stretch>
          </p:blipFill>
          <p:spPr>
            <a:xfrm>
              <a:off x="1939381" y="3204733"/>
              <a:ext cx="186321" cy="186321"/>
            </a:xfrm>
            <a:prstGeom prst="rect">
              <a:avLst/>
            </a:prstGeom>
          </p:spPr>
        </p:pic>
        <p:pic>
          <p:nvPicPr>
            <p:cNvPr id="1625" name="Picture 1624"/>
            <p:cNvPicPr>
              <a:picLocks noChangeAspect="1"/>
            </p:cNvPicPr>
            <p:nvPr/>
          </p:nvPicPr>
          <p:blipFill>
            <a:blip r:embed="rId715" cstate="print"/>
            <a:stretch>
              <a:fillRect/>
            </a:stretch>
          </p:blipFill>
          <p:spPr>
            <a:xfrm>
              <a:off x="1032264" y="2456278"/>
              <a:ext cx="186321" cy="186321"/>
            </a:xfrm>
            <a:prstGeom prst="rect">
              <a:avLst/>
            </a:prstGeom>
          </p:spPr>
        </p:pic>
        <p:pic>
          <p:nvPicPr>
            <p:cNvPr id="1626" name="Picture 1625"/>
            <p:cNvPicPr>
              <a:picLocks noChangeAspect="1"/>
            </p:cNvPicPr>
            <p:nvPr/>
          </p:nvPicPr>
          <p:blipFill>
            <a:blip r:embed="rId715" cstate="print"/>
            <a:stretch>
              <a:fillRect/>
            </a:stretch>
          </p:blipFill>
          <p:spPr>
            <a:xfrm>
              <a:off x="2200177" y="1979989"/>
              <a:ext cx="186321" cy="186321"/>
            </a:xfrm>
            <a:prstGeom prst="rect">
              <a:avLst/>
            </a:prstGeom>
          </p:spPr>
        </p:pic>
        <p:pic>
          <p:nvPicPr>
            <p:cNvPr id="1627" name="Picture 1626"/>
            <p:cNvPicPr>
              <a:picLocks noChangeAspect="1"/>
            </p:cNvPicPr>
            <p:nvPr/>
          </p:nvPicPr>
          <p:blipFill>
            <a:blip r:embed="rId715" cstate="print"/>
            <a:stretch>
              <a:fillRect/>
            </a:stretch>
          </p:blipFill>
          <p:spPr>
            <a:xfrm>
              <a:off x="2556678" y="2302492"/>
              <a:ext cx="186321" cy="186321"/>
            </a:xfrm>
            <a:prstGeom prst="rect">
              <a:avLst/>
            </a:prstGeom>
          </p:spPr>
        </p:pic>
        <p:pic>
          <p:nvPicPr>
            <p:cNvPr id="1628" name="Picture 1627"/>
            <p:cNvPicPr>
              <a:picLocks noChangeAspect="1"/>
            </p:cNvPicPr>
            <p:nvPr/>
          </p:nvPicPr>
          <p:blipFill>
            <a:blip r:embed="rId715" cstate="print"/>
            <a:stretch>
              <a:fillRect/>
            </a:stretch>
          </p:blipFill>
          <p:spPr>
            <a:xfrm>
              <a:off x="3452456" y="1860223"/>
              <a:ext cx="186321" cy="186321"/>
            </a:xfrm>
            <a:prstGeom prst="rect">
              <a:avLst/>
            </a:prstGeom>
          </p:spPr>
        </p:pic>
        <p:pic>
          <p:nvPicPr>
            <p:cNvPr id="1629" name="Picture 1628"/>
            <p:cNvPicPr>
              <a:picLocks noChangeAspect="1"/>
            </p:cNvPicPr>
            <p:nvPr/>
          </p:nvPicPr>
          <p:blipFill>
            <a:blip r:embed="rId715" cstate="print"/>
            <a:stretch>
              <a:fillRect/>
            </a:stretch>
          </p:blipFill>
          <p:spPr>
            <a:xfrm>
              <a:off x="3865653" y="1989943"/>
              <a:ext cx="186321" cy="186321"/>
            </a:xfrm>
            <a:prstGeom prst="rect">
              <a:avLst/>
            </a:prstGeom>
          </p:spPr>
        </p:pic>
        <p:pic>
          <p:nvPicPr>
            <p:cNvPr id="1630" name="Picture 1629"/>
            <p:cNvPicPr>
              <a:picLocks noChangeAspect="1"/>
            </p:cNvPicPr>
            <p:nvPr/>
          </p:nvPicPr>
          <p:blipFill>
            <a:blip r:embed="rId715" cstate="print"/>
            <a:stretch>
              <a:fillRect/>
            </a:stretch>
          </p:blipFill>
          <p:spPr>
            <a:xfrm>
              <a:off x="3899669" y="2262108"/>
              <a:ext cx="186321" cy="186321"/>
            </a:xfrm>
            <a:prstGeom prst="rect">
              <a:avLst/>
            </a:prstGeom>
          </p:spPr>
        </p:pic>
        <p:pic>
          <p:nvPicPr>
            <p:cNvPr id="1631" name="Picture 1630"/>
            <p:cNvPicPr>
              <a:picLocks noChangeAspect="1"/>
            </p:cNvPicPr>
            <p:nvPr/>
          </p:nvPicPr>
          <p:blipFill>
            <a:blip r:embed="rId715" cstate="print"/>
            <a:stretch>
              <a:fillRect/>
            </a:stretch>
          </p:blipFill>
          <p:spPr>
            <a:xfrm>
              <a:off x="3536823" y="2693036"/>
              <a:ext cx="186321" cy="186321"/>
            </a:xfrm>
            <a:prstGeom prst="rect">
              <a:avLst/>
            </a:prstGeom>
          </p:spPr>
        </p:pic>
        <p:pic>
          <p:nvPicPr>
            <p:cNvPr id="1632" name="Picture 1631"/>
            <p:cNvPicPr>
              <a:picLocks noChangeAspect="1"/>
            </p:cNvPicPr>
            <p:nvPr/>
          </p:nvPicPr>
          <p:blipFill>
            <a:blip r:embed="rId715" cstate="print"/>
            <a:stretch>
              <a:fillRect/>
            </a:stretch>
          </p:blipFill>
          <p:spPr>
            <a:xfrm>
              <a:off x="4955545" y="2660401"/>
              <a:ext cx="186321" cy="186321"/>
            </a:xfrm>
            <a:prstGeom prst="rect">
              <a:avLst/>
            </a:prstGeom>
          </p:spPr>
        </p:pic>
        <p:pic>
          <p:nvPicPr>
            <p:cNvPr id="1633" name="Picture 1632"/>
            <p:cNvPicPr>
              <a:picLocks noChangeAspect="1"/>
            </p:cNvPicPr>
            <p:nvPr/>
          </p:nvPicPr>
          <p:blipFill>
            <a:blip r:embed="rId715" cstate="print"/>
            <a:stretch>
              <a:fillRect/>
            </a:stretch>
          </p:blipFill>
          <p:spPr>
            <a:xfrm>
              <a:off x="4511973" y="1343550"/>
              <a:ext cx="186321" cy="186321"/>
            </a:xfrm>
            <a:prstGeom prst="rect">
              <a:avLst/>
            </a:prstGeom>
          </p:spPr>
        </p:pic>
        <p:pic>
          <p:nvPicPr>
            <p:cNvPr id="1634" name="Picture 1633"/>
            <p:cNvPicPr>
              <a:picLocks noChangeAspect="1"/>
            </p:cNvPicPr>
            <p:nvPr/>
          </p:nvPicPr>
          <p:blipFill>
            <a:blip r:embed="rId715" cstate="print"/>
            <a:stretch>
              <a:fillRect/>
            </a:stretch>
          </p:blipFill>
          <p:spPr>
            <a:xfrm>
              <a:off x="6003723" y="2540635"/>
              <a:ext cx="186321" cy="186321"/>
            </a:xfrm>
            <a:prstGeom prst="rect">
              <a:avLst/>
            </a:prstGeom>
          </p:spPr>
        </p:pic>
        <p:pic>
          <p:nvPicPr>
            <p:cNvPr id="1635" name="Picture 1634"/>
            <p:cNvPicPr>
              <a:picLocks noChangeAspect="1"/>
            </p:cNvPicPr>
            <p:nvPr/>
          </p:nvPicPr>
          <p:blipFill>
            <a:blip r:embed="rId715" cstate="print"/>
            <a:stretch>
              <a:fillRect/>
            </a:stretch>
          </p:blipFill>
          <p:spPr>
            <a:xfrm>
              <a:off x="6020055" y="2817775"/>
              <a:ext cx="186321" cy="186321"/>
            </a:xfrm>
            <a:prstGeom prst="rect">
              <a:avLst/>
            </a:prstGeom>
          </p:spPr>
        </p:pic>
        <p:pic>
          <p:nvPicPr>
            <p:cNvPr id="1636" name="Picture 1635"/>
            <p:cNvPicPr>
              <a:picLocks noChangeAspect="1"/>
            </p:cNvPicPr>
            <p:nvPr/>
          </p:nvPicPr>
          <p:blipFill>
            <a:blip r:embed="rId715" cstate="print"/>
            <a:stretch>
              <a:fillRect/>
            </a:stretch>
          </p:blipFill>
          <p:spPr>
            <a:xfrm>
              <a:off x="6229150" y="2992855"/>
              <a:ext cx="186321" cy="186321"/>
            </a:xfrm>
            <a:prstGeom prst="rect">
              <a:avLst/>
            </a:prstGeom>
          </p:spPr>
        </p:pic>
        <p:pic>
          <p:nvPicPr>
            <p:cNvPr id="1637" name="Picture 1636"/>
            <p:cNvPicPr>
              <a:picLocks noChangeAspect="1"/>
            </p:cNvPicPr>
            <p:nvPr/>
          </p:nvPicPr>
          <p:blipFill>
            <a:blip r:embed="rId715" cstate="print"/>
            <a:stretch>
              <a:fillRect/>
            </a:stretch>
          </p:blipFill>
          <p:spPr>
            <a:xfrm>
              <a:off x="6302177" y="3201955"/>
              <a:ext cx="186321" cy="186321"/>
            </a:xfrm>
            <a:prstGeom prst="rect">
              <a:avLst/>
            </a:prstGeom>
          </p:spPr>
        </p:pic>
      </p:grpSp>
      <p:grpSp>
        <p:nvGrpSpPr>
          <p:cNvPr id="6" name="Group 36"/>
          <p:cNvGrpSpPr/>
          <p:nvPr/>
        </p:nvGrpSpPr>
        <p:grpSpPr>
          <a:xfrm>
            <a:off x="6320521" y="1256477"/>
            <a:ext cx="674714" cy="707165"/>
            <a:chOff x="1802895" y="4195886"/>
            <a:chExt cx="1145235" cy="1168042"/>
          </a:xfrm>
        </p:grpSpPr>
        <p:sp>
          <p:nvSpPr>
            <p:cNvPr id="1640" name="Teardrop 1639"/>
            <p:cNvSpPr/>
            <p:nvPr/>
          </p:nvSpPr>
          <p:spPr>
            <a:xfrm>
              <a:off x="1802895" y="4195886"/>
              <a:ext cx="1145235" cy="1168042"/>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pic>
          <p:nvPicPr>
            <p:cNvPr id="1641" name="Picture 1640"/>
            <p:cNvPicPr>
              <a:picLocks noChangeAspect="1"/>
            </p:cNvPicPr>
            <p:nvPr/>
          </p:nvPicPr>
          <p:blipFill>
            <a:blip r:embed="rId716" cstate="print"/>
            <a:stretch>
              <a:fillRect/>
            </a:stretch>
          </p:blipFill>
          <p:spPr>
            <a:xfrm>
              <a:off x="2054430" y="4384046"/>
              <a:ext cx="719055" cy="719055"/>
            </a:xfrm>
            <a:prstGeom prst="rect">
              <a:avLst/>
            </a:prstGeom>
          </p:spPr>
        </p:pic>
      </p:grpSp>
      <p:sp>
        <p:nvSpPr>
          <p:cNvPr id="1643" name="TextBox 1642"/>
          <p:cNvSpPr txBox="1"/>
          <p:nvPr/>
        </p:nvSpPr>
        <p:spPr>
          <a:xfrm>
            <a:off x="6927735" y="1208831"/>
            <a:ext cx="2183622" cy="1477327"/>
          </a:xfrm>
          <a:prstGeom prst="rect">
            <a:avLst/>
          </a:prstGeom>
          <a:noFill/>
        </p:spPr>
        <p:txBody>
          <a:bodyPr wrap="square" rtlCol="0">
            <a:spAutoFit/>
          </a:bodyPr>
          <a:lstStyle/>
          <a:p>
            <a:pPr defTabSz="914400" fontAlgn="base">
              <a:lnSpc>
                <a:spcPct val="90000"/>
              </a:lnSpc>
              <a:spcBef>
                <a:spcPct val="0"/>
              </a:spcBef>
              <a:spcAft>
                <a:spcPct val="0"/>
              </a:spcAft>
            </a:pPr>
            <a:r>
              <a:rPr lang="en-US" sz="1000" b="1" i="1" dirty="0">
                <a:solidFill>
                  <a:srgbClr val="000000"/>
                </a:solidFill>
                <a:latin typeface="Arial"/>
                <a:ea typeface="MS PGothic" charset="0"/>
                <a:cs typeface="Arial"/>
              </a:rPr>
              <a:t>S</a:t>
            </a:r>
            <a:r>
              <a:rPr lang="en-US" sz="1000" b="1" i="1" dirty="0" smtClean="0">
                <a:solidFill>
                  <a:srgbClr val="000000"/>
                </a:solidFill>
                <a:latin typeface="Arial"/>
                <a:ea typeface="MS PGothic" charset="0"/>
                <a:cs typeface="Arial"/>
              </a:rPr>
              <a:t>ea toll concept </a:t>
            </a:r>
            <a:r>
              <a:rPr lang="en-US" sz="1000" i="1" dirty="0" smtClean="0">
                <a:solidFill>
                  <a:srgbClr val="000000"/>
                </a:solidFill>
                <a:latin typeface="Arial"/>
                <a:ea typeface="MS PGothic" charset="0"/>
                <a:cs typeface="Arial"/>
              </a:rPr>
              <a:t>as a means to support Indonesia in becoming the world maritime axis. </a:t>
            </a:r>
            <a:endParaRPr lang="en-US" sz="1000" dirty="0" smtClean="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develop </a:t>
            </a:r>
            <a:r>
              <a:rPr lang="en-US" sz="1050" b="1" dirty="0" smtClean="0">
                <a:solidFill>
                  <a:srgbClr val="000000"/>
                </a:solidFill>
                <a:latin typeface="Arial"/>
                <a:ea typeface="MS PGothic" charset="0"/>
                <a:cs typeface="Arial"/>
              </a:rPr>
              <a:t>24 new seaports </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increase number of substantial vessels (pioneer cargo, transport vessels, pioneer crossing vessels)</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develop 60 crossing ports</a:t>
            </a:r>
          </a:p>
        </p:txBody>
      </p:sp>
      <p:cxnSp>
        <p:nvCxnSpPr>
          <p:cNvPr id="1596" name="Straight Connector 1595"/>
          <p:cNvCxnSpPr/>
          <p:nvPr/>
        </p:nvCxnSpPr>
        <p:spPr>
          <a:xfrm flipV="1">
            <a:off x="7012728" y="1699327"/>
            <a:ext cx="2004139" cy="7072"/>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sp>
        <p:nvSpPr>
          <p:cNvPr id="1649" name="TextBox 1648"/>
          <p:cNvSpPr txBox="1"/>
          <p:nvPr/>
        </p:nvSpPr>
        <p:spPr>
          <a:xfrm>
            <a:off x="6927732" y="2767123"/>
            <a:ext cx="2082880" cy="1315745"/>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Strengthen connectivity </a:t>
            </a:r>
            <a:r>
              <a:rPr lang="en-US" sz="1000" i="1" dirty="0">
                <a:solidFill>
                  <a:srgbClr val="000000"/>
                </a:solidFill>
                <a:latin typeface="Arial"/>
                <a:ea typeface="MS PGothic" charset="0"/>
                <a:cs typeface="Arial"/>
              </a:rPr>
              <a:t>through </a:t>
            </a:r>
            <a:r>
              <a:rPr lang="en-US" sz="1000" b="1" i="1" dirty="0">
                <a:solidFill>
                  <a:srgbClr val="000000"/>
                </a:solidFill>
                <a:latin typeface="Arial"/>
                <a:ea typeface="MS PGothic" charset="0"/>
                <a:cs typeface="Arial"/>
              </a:rPr>
              <a:t>air transport </a:t>
            </a:r>
            <a:r>
              <a:rPr lang="en-US" sz="1000" b="1" i="1" dirty="0" smtClean="0">
                <a:solidFill>
                  <a:srgbClr val="000000"/>
                </a:solidFill>
                <a:latin typeface="Arial"/>
                <a:ea typeface="MS PGothic" charset="0"/>
                <a:cs typeface="Arial"/>
              </a:rPr>
              <a:t>infrastructure </a:t>
            </a:r>
            <a:r>
              <a:rPr lang="en-US" sz="1000" i="1" dirty="0" smtClean="0">
                <a:solidFill>
                  <a:srgbClr val="000000"/>
                </a:solidFill>
                <a:latin typeface="Arial"/>
                <a:ea typeface="MS PGothic" charset="0"/>
                <a:cs typeface="Arial"/>
              </a:rPr>
              <a:t>development</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develop </a:t>
            </a:r>
            <a:r>
              <a:rPr lang="en-US" sz="1050" b="1" dirty="0">
                <a:solidFill>
                  <a:srgbClr val="000000"/>
                </a:solidFill>
                <a:latin typeface="Arial"/>
                <a:ea typeface="MS PGothic" charset="0"/>
                <a:cs typeface="Arial"/>
              </a:rPr>
              <a:t>15 new airports</a:t>
            </a: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develop </a:t>
            </a:r>
            <a:r>
              <a:rPr lang="en-US" sz="1050" dirty="0" smtClean="0">
                <a:solidFill>
                  <a:srgbClr val="000000"/>
                </a:solidFill>
                <a:latin typeface="Arial"/>
                <a:ea typeface="MS PGothic" charset="0"/>
                <a:cs typeface="Arial"/>
              </a:rPr>
              <a:t>air cargo facilities in </a:t>
            </a:r>
            <a:r>
              <a:rPr lang="en-US" sz="1050" dirty="0">
                <a:solidFill>
                  <a:srgbClr val="000000"/>
                </a:solidFill>
                <a:latin typeface="Arial"/>
                <a:ea typeface="MS PGothic" charset="0"/>
                <a:cs typeface="Arial"/>
              </a:rPr>
              <a:t>6 locations </a:t>
            </a:r>
            <a:endParaRPr lang="en-US" sz="1050" dirty="0" smtClean="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increase </a:t>
            </a:r>
            <a:r>
              <a:rPr lang="en-US" sz="1050" dirty="0">
                <a:solidFill>
                  <a:srgbClr val="000000"/>
                </a:solidFill>
                <a:latin typeface="Arial"/>
                <a:ea typeface="MS PGothic" charset="0"/>
                <a:cs typeface="Arial"/>
              </a:rPr>
              <a:t>number of </a:t>
            </a:r>
            <a:r>
              <a:rPr lang="en-US" sz="1050" dirty="0" smtClean="0">
                <a:solidFill>
                  <a:srgbClr val="000000"/>
                </a:solidFill>
                <a:latin typeface="Arial"/>
                <a:ea typeface="MS PGothic" charset="0"/>
                <a:cs typeface="Arial"/>
              </a:rPr>
              <a:t>pioneer airplanes</a:t>
            </a:r>
            <a:endParaRPr lang="en-US" sz="1050" dirty="0">
              <a:solidFill>
                <a:srgbClr val="000000"/>
              </a:solidFill>
              <a:latin typeface="Arial"/>
              <a:ea typeface="MS PGothic" charset="0"/>
              <a:cs typeface="Arial"/>
            </a:endParaRPr>
          </a:p>
        </p:txBody>
      </p:sp>
      <p:grpSp>
        <p:nvGrpSpPr>
          <p:cNvPr id="7" name="Group 1681"/>
          <p:cNvGrpSpPr/>
          <p:nvPr/>
        </p:nvGrpSpPr>
        <p:grpSpPr>
          <a:xfrm>
            <a:off x="6320521" y="2814746"/>
            <a:ext cx="674714" cy="707165"/>
            <a:chOff x="6885118" y="2741613"/>
            <a:chExt cx="730940" cy="707165"/>
          </a:xfrm>
        </p:grpSpPr>
        <p:sp>
          <p:nvSpPr>
            <p:cNvPr id="1647" name="Teardrop 1646"/>
            <p:cNvSpPr/>
            <p:nvPr/>
          </p:nvSpPr>
          <p:spPr>
            <a:xfrm>
              <a:off x="6885118" y="2741613"/>
              <a:ext cx="730940"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pic>
          <p:nvPicPr>
            <p:cNvPr id="1644" name="Picture 1643"/>
            <p:cNvPicPr>
              <a:picLocks noChangeAspect="1"/>
            </p:cNvPicPr>
            <p:nvPr/>
          </p:nvPicPr>
          <p:blipFill>
            <a:blip r:embed="rId717" cstate="print"/>
            <a:stretch>
              <a:fillRect/>
            </a:stretch>
          </p:blipFill>
          <p:spPr>
            <a:xfrm>
              <a:off x="7011689" y="2822996"/>
              <a:ext cx="531596" cy="531596"/>
            </a:xfrm>
            <a:prstGeom prst="rect">
              <a:avLst/>
            </a:prstGeom>
          </p:spPr>
        </p:pic>
      </p:grpSp>
      <p:cxnSp>
        <p:nvCxnSpPr>
          <p:cNvPr id="1656" name="Straight Connector 1655"/>
          <p:cNvCxnSpPr/>
          <p:nvPr/>
        </p:nvCxnSpPr>
        <p:spPr>
          <a:xfrm flipV="1">
            <a:off x="7069655" y="3249308"/>
            <a:ext cx="1929954" cy="4065"/>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sp>
        <p:nvSpPr>
          <p:cNvPr id="1657" name="Teardrop 1656"/>
          <p:cNvSpPr/>
          <p:nvPr/>
        </p:nvSpPr>
        <p:spPr>
          <a:xfrm>
            <a:off x="73267" y="4220857"/>
            <a:ext cx="674714"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1658" name="TextBox 1657"/>
          <p:cNvSpPr txBox="1"/>
          <p:nvPr/>
        </p:nvSpPr>
        <p:spPr>
          <a:xfrm>
            <a:off x="699089" y="4184570"/>
            <a:ext cx="2440935" cy="1177245"/>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Improve transport efficiency by </a:t>
            </a:r>
            <a:r>
              <a:rPr lang="en-US" sz="1000" b="1" i="1" dirty="0" smtClean="0">
                <a:solidFill>
                  <a:srgbClr val="000000"/>
                </a:solidFill>
                <a:latin typeface="Arial"/>
                <a:ea typeface="MS PGothic" charset="0"/>
                <a:cs typeface="Arial"/>
              </a:rPr>
              <a:t>road development and maintenance</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develop </a:t>
            </a:r>
            <a:r>
              <a:rPr lang="en-US" sz="1050" b="1" dirty="0">
                <a:solidFill>
                  <a:srgbClr val="000000"/>
                </a:solidFill>
                <a:latin typeface="Arial"/>
                <a:ea typeface="MS PGothic" charset="0"/>
                <a:cs typeface="Arial"/>
              </a:rPr>
              <a:t>2,650 km of new roads </a:t>
            </a:r>
            <a:endParaRPr lang="en-US" sz="1050" dirty="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d</a:t>
            </a:r>
            <a:r>
              <a:rPr lang="en-US" sz="1050" dirty="0" smtClean="0">
                <a:solidFill>
                  <a:srgbClr val="000000"/>
                </a:solidFill>
                <a:latin typeface="Arial"/>
                <a:ea typeface="MS PGothic" charset="0"/>
                <a:cs typeface="Arial"/>
              </a:rPr>
              <a:t>evelop </a:t>
            </a:r>
            <a:r>
              <a:rPr lang="en-US" sz="1050" b="1" dirty="0" smtClean="0">
                <a:solidFill>
                  <a:srgbClr val="000000"/>
                </a:solidFill>
                <a:latin typeface="Arial"/>
                <a:ea typeface="MS PGothic" charset="0"/>
                <a:cs typeface="Arial"/>
              </a:rPr>
              <a:t>1,000 km of new toll roads</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rehabilitate </a:t>
            </a:r>
            <a:r>
              <a:rPr lang="en-US" sz="1050" b="1" dirty="0" smtClean="0">
                <a:solidFill>
                  <a:srgbClr val="000000"/>
                </a:solidFill>
                <a:latin typeface="Arial"/>
                <a:ea typeface="MS PGothic" charset="0"/>
                <a:cs typeface="Arial"/>
              </a:rPr>
              <a:t>46,770 km of existing road</a:t>
            </a:r>
            <a:endParaRPr lang="en-US" sz="1050" b="1" dirty="0">
              <a:solidFill>
                <a:srgbClr val="000000"/>
              </a:solidFill>
              <a:latin typeface="Arial"/>
              <a:ea typeface="MS PGothic" charset="0"/>
              <a:cs typeface="Arial"/>
            </a:endParaRPr>
          </a:p>
        </p:txBody>
      </p:sp>
      <p:cxnSp>
        <p:nvCxnSpPr>
          <p:cNvPr id="1660" name="Straight Connector 1659"/>
          <p:cNvCxnSpPr/>
          <p:nvPr/>
        </p:nvCxnSpPr>
        <p:spPr>
          <a:xfrm>
            <a:off x="788992" y="4523407"/>
            <a:ext cx="2225428" cy="1387"/>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pic>
        <p:nvPicPr>
          <p:cNvPr id="1650" name="Picture 1649"/>
          <p:cNvPicPr>
            <a:picLocks noChangeAspect="1"/>
          </p:cNvPicPr>
          <p:nvPr/>
        </p:nvPicPr>
        <p:blipFill>
          <a:blip r:embed="rId718" cstate="print"/>
          <a:stretch>
            <a:fillRect/>
          </a:stretch>
        </p:blipFill>
        <p:spPr>
          <a:xfrm>
            <a:off x="171354" y="4251860"/>
            <a:ext cx="490704" cy="531596"/>
          </a:xfrm>
          <a:prstGeom prst="rect">
            <a:avLst/>
          </a:prstGeom>
        </p:spPr>
      </p:pic>
      <p:sp>
        <p:nvSpPr>
          <p:cNvPr id="1662" name="Teardrop 1661"/>
          <p:cNvSpPr/>
          <p:nvPr/>
        </p:nvSpPr>
        <p:spPr>
          <a:xfrm>
            <a:off x="3186497" y="4203153"/>
            <a:ext cx="674714"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1663" name="TextBox 1662"/>
          <p:cNvSpPr txBox="1"/>
          <p:nvPr/>
        </p:nvSpPr>
        <p:spPr>
          <a:xfrm>
            <a:off x="3801855" y="4166872"/>
            <a:ext cx="2499126" cy="1015663"/>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Reduce logistic cost by improving </a:t>
            </a:r>
            <a:r>
              <a:rPr lang="en-US" sz="1000" b="1" i="1" dirty="0" smtClean="0">
                <a:solidFill>
                  <a:srgbClr val="000000"/>
                </a:solidFill>
                <a:latin typeface="Arial"/>
                <a:ea typeface="MS PGothic" charset="0"/>
                <a:cs typeface="Arial"/>
              </a:rPr>
              <a:t>railway infrastructure </a:t>
            </a:r>
          </a:p>
          <a:p>
            <a:pPr defTabSz="914400" fontAlgn="base">
              <a:spcBef>
                <a:spcPct val="0"/>
              </a:spcBef>
              <a:buClr>
                <a:srgbClr val="000000"/>
              </a:buClr>
              <a:defRPr/>
            </a:pPr>
            <a:r>
              <a:rPr lang="en-US" sz="1050" kern="0" dirty="0">
                <a:solidFill>
                  <a:srgbClr val="000000"/>
                </a:solidFill>
                <a:latin typeface="Arial"/>
                <a:ea typeface="MS PGothic" charset="0"/>
                <a:cs typeface="Arial"/>
              </a:rPr>
              <a:t>d</a:t>
            </a:r>
            <a:r>
              <a:rPr lang="en-US" sz="1050" kern="0" dirty="0" smtClean="0">
                <a:solidFill>
                  <a:srgbClr val="000000"/>
                </a:solidFill>
                <a:latin typeface="Arial"/>
                <a:ea typeface="MS PGothic" charset="0"/>
                <a:cs typeface="Arial"/>
              </a:rPr>
              <a:t>evelop new </a:t>
            </a:r>
            <a:r>
              <a:rPr lang="en-US" sz="1050" kern="0" dirty="0">
                <a:solidFill>
                  <a:srgbClr val="000000"/>
                </a:solidFill>
                <a:latin typeface="Arial"/>
                <a:ea typeface="MS PGothic" charset="0"/>
                <a:cs typeface="Arial"/>
              </a:rPr>
              <a:t>tracks in Java, Sumatra, Sulawesi, and Kalimantan:</a:t>
            </a:r>
          </a:p>
          <a:p>
            <a:pPr marL="228600" indent="-228600" defTabSz="914400" fontAlgn="base">
              <a:spcBef>
                <a:spcPct val="0"/>
              </a:spcBef>
              <a:buClr>
                <a:srgbClr val="000000"/>
              </a:buClr>
              <a:buFont typeface="Wingdings" charset="2"/>
              <a:buChar char="§"/>
              <a:defRPr/>
            </a:pPr>
            <a:r>
              <a:rPr lang="en-US" sz="1050" b="1" kern="0" dirty="0">
                <a:solidFill>
                  <a:srgbClr val="000000"/>
                </a:solidFill>
                <a:latin typeface="Arial"/>
                <a:ea typeface="MS PGothic" charset="0"/>
                <a:cs typeface="Arial"/>
              </a:rPr>
              <a:t>2,159 km inter-urban railways</a:t>
            </a:r>
          </a:p>
          <a:p>
            <a:pPr marL="228600" indent="-228600" defTabSz="914400" fontAlgn="base">
              <a:spcBef>
                <a:spcPct val="0"/>
              </a:spcBef>
              <a:buClr>
                <a:srgbClr val="000000"/>
              </a:buClr>
              <a:buFont typeface="Wingdings" charset="2"/>
              <a:buChar char="§"/>
              <a:defRPr/>
            </a:pPr>
            <a:r>
              <a:rPr lang="en-US" sz="1050" b="1" kern="0" dirty="0">
                <a:solidFill>
                  <a:srgbClr val="000000"/>
                </a:solidFill>
                <a:latin typeface="Arial"/>
                <a:ea typeface="MS PGothic" charset="0"/>
                <a:cs typeface="Arial"/>
              </a:rPr>
              <a:t>1,099 km urban railways</a:t>
            </a:r>
          </a:p>
        </p:txBody>
      </p:sp>
      <p:cxnSp>
        <p:nvCxnSpPr>
          <p:cNvPr id="1664" name="Straight Connector 1663"/>
          <p:cNvCxnSpPr/>
          <p:nvPr/>
        </p:nvCxnSpPr>
        <p:spPr>
          <a:xfrm flipV="1">
            <a:off x="3881310" y="4513408"/>
            <a:ext cx="2315017" cy="0"/>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pic>
        <p:nvPicPr>
          <p:cNvPr id="1661" name="Picture 1660"/>
          <p:cNvPicPr>
            <a:picLocks noChangeAspect="1"/>
          </p:cNvPicPr>
          <p:nvPr/>
        </p:nvPicPr>
        <p:blipFill>
          <a:blip r:embed="rId719" cstate="print"/>
          <a:stretch>
            <a:fillRect/>
          </a:stretch>
        </p:blipFill>
        <p:spPr>
          <a:xfrm>
            <a:off x="3345698" y="4325822"/>
            <a:ext cx="380194" cy="429040"/>
          </a:xfrm>
          <a:prstGeom prst="rect">
            <a:avLst/>
          </a:prstGeom>
        </p:spPr>
      </p:pic>
      <p:sp>
        <p:nvSpPr>
          <p:cNvPr id="1672" name="TextBox 1671"/>
          <p:cNvSpPr txBox="1"/>
          <p:nvPr/>
        </p:nvSpPr>
        <p:spPr>
          <a:xfrm>
            <a:off x="6927732" y="4161866"/>
            <a:ext cx="2082880" cy="1038746"/>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Develop </a:t>
            </a:r>
            <a:r>
              <a:rPr lang="en-US" sz="1000" b="1" i="1" dirty="0" smtClean="0">
                <a:solidFill>
                  <a:srgbClr val="000000"/>
                </a:solidFill>
                <a:latin typeface="Arial"/>
                <a:ea typeface="MS PGothic" charset="0"/>
                <a:cs typeface="Arial"/>
              </a:rPr>
              <a:t>urban transport</a:t>
            </a: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d</a:t>
            </a:r>
            <a:r>
              <a:rPr lang="en-US" sz="1050" dirty="0" smtClean="0">
                <a:solidFill>
                  <a:srgbClr val="000000"/>
                </a:solidFill>
                <a:latin typeface="Arial"/>
                <a:ea typeface="MS PGothic" charset="0"/>
                <a:cs typeface="Arial"/>
              </a:rPr>
              <a:t>evelop Bus </a:t>
            </a:r>
            <a:r>
              <a:rPr lang="en-US" sz="1050" dirty="0">
                <a:solidFill>
                  <a:srgbClr val="000000"/>
                </a:solidFill>
                <a:latin typeface="Arial"/>
                <a:ea typeface="MS PGothic" charset="0"/>
                <a:cs typeface="Arial"/>
              </a:rPr>
              <a:t>Rapid Transit </a:t>
            </a:r>
            <a:r>
              <a:rPr lang="en-US" sz="1050" b="1" dirty="0">
                <a:solidFill>
                  <a:srgbClr val="000000"/>
                </a:solidFill>
                <a:latin typeface="Arial"/>
                <a:ea typeface="MS PGothic" charset="0"/>
                <a:cs typeface="Arial"/>
              </a:rPr>
              <a:t>(BRT) in 29 </a:t>
            </a:r>
            <a:r>
              <a:rPr lang="en-US" sz="1050" b="1" dirty="0" smtClean="0">
                <a:solidFill>
                  <a:srgbClr val="000000"/>
                </a:solidFill>
                <a:latin typeface="Arial"/>
                <a:ea typeface="MS PGothic" charset="0"/>
                <a:cs typeface="Arial"/>
              </a:rPr>
              <a:t>cities</a:t>
            </a:r>
            <a:endParaRPr lang="en-US" sz="1050" b="1" dirty="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d</a:t>
            </a:r>
            <a:r>
              <a:rPr lang="en-US" sz="1050" dirty="0" smtClean="0">
                <a:solidFill>
                  <a:srgbClr val="000000"/>
                </a:solidFill>
                <a:latin typeface="Arial"/>
                <a:ea typeface="MS PGothic" charset="0"/>
                <a:cs typeface="Arial"/>
              </a:rPr>
              <a:t>evelop Mass </a:t>
            </a:r>
            <a:r>
              <a:rPr lang="en-US" sz="1050" dirty="0">
                <a:solidFill>
                  <a:srgbClr val="000000"/>
                </a:solidFill>
                <a:latin typeface="Arial"/>
                <a:ea typeface="MS PGothic" charset="0"/>
                <a:cs typeface="Arial"/>
              </a:rPr>
              <a:t>Rapid Transit </a:t>
            </a:r>
            <a:r>
              <a:rPr lang="en-US" sz="1050" b="1" dirty="0">
                <a:solidFill>
                  <a:srgbClr val="000000"/>
                </a:solidFill>
                <a:latin typeface="Arial"/>
                <a:ea typeface="MS PGothic" charset="0"/>
                <a:cs typeface="Arial"/>
              </a:rPr>
              <a:t>(MRT) in 6 metropolis and 17 </a:t>
            </a:r>
            <a:r>
              <a:rPr lang="en-US" sz="1050" b="1" dirty="0" smtClean="0">
                <a:solidFill>
                  <a:srgbClr val="000000"/>
                </a:solidFill>
                <a:latin typeface="Arial"/>
                <a:ea typeface="MS PGothic" charset="0"/>
                <a:cs typeface="Arial"/>
              </a:rPr>
              <a:t>large cities</a:t>
            </a:r>
            <a:r>
              <a:rPr lang="en-US" sz="1050" b="1" dirty="0">
                <a:solidFill>
                  <a:srgbClr val="000000"/>
                </a:solidFill>
                <a:latin typeface="Arial"/>
                <a:ea typeface="MS PGothic" charset="0"/>
                <a:cs typeface="Arial"/>
              </a:rPr>
              <a:t>.</a:t>
            </a:r>
          </a:p>
        </p:txBody>
      </p:sp>
      <p:cxnSp>
        <p:nvCxnSpPr>
          <p:cNvPr id="1674" name="Straight Connector 1673"/>
          <p:cNvCxnSpPr/>
          <p:nvPr/>
        </p:nvCxnSpPr>
        <p:spPr>
          <a:xfrm>
            <a:off x="7042870" y="4364600"/>
            <a:ext cx="1988680" cy="0"/>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grpSp>
        <p:nvGrpSpPr>
          <p:cNvPr id="8" name="Group 1676"/>
          <p:cNvGrpSpPr/>
          <p:nvPr/>
        </p:nvGrpSpPr>
        <p:grpSpPr>
          <a:xfrm>
            <a:off x="6310414" y="4230634"/>
            <a:ext cx="674714" cy="707165"/>
            <a:chOff x="6867433" y="4186793"/>
            <a:chExt cx="730940" cy="707165"/>
          </a:xfrm>
        </p:grpSpPr>
        <p:sp>
          <p:nvSpPr>
            <p:cNvPr id="1671" name="Teardrop 1670"/>
            <p:cNvSpPr/>
            <p:nvPr/>
          </p:nvSpPr>
          <p:spPr>
            <a:xfrm>
              <a:off x="6867433" y="4186793"/>
              <a:ext cx="730940"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pic>
          <p:nvPicPr>
            <p:cNvPr id="1668" name="Picture 1667"/>
            <p:cNvPicPr>
              <a:picLocks noChangeAspect="1"/>
            </p:cNvPicPr>
            <p:nvPr/>
          </p:nvPicPr>
          <p:blipFill>
            <a:blip r:embed="rId720" cstate="print"/>
            <a:stretch>
              <a:fillRect/>
            </a:stretch>
          </p:blipFill>
          <p:spPr>
            <a:xfrm>
              <a:off x="6973148" y="4258678"/>
              <a:ext cx="517966" cy="517966"/>
            </a:xfrm>
            <a:prstGeom prst="rect">
              <a:avLst/>
            </a:prstGeom>
          </p:spPr>
        </p:pic>
      </p:grpSp>
      <p:sp>
        <p:nvSpPr>
          <p:cNvPr id="1684" name="Teardrop 1683"/>
          <p:cNvSpPr/>
          <p:nvPr/>
        </p:nvSpPr>
        <p:spPr>
          <a:xfrm>
            <a:off x="143364" y="5602655"/>
            <a:ext cx="674714"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1685" name="TextBox 1684"/>
          <p:cNvSpPr txBox="1"/>
          <p:nvPr/>
        </p:nvSpPr>
        <p:spPr>
          <a:xfrm>
            <a:off x="769181" y="5531429"/>
            <a:ext cx="2440935" cy="830997"/>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Achieve electrification ratio of 96.6% by 2019 through generating capacity improvement </a:t>
            </a:r>
            <a:endParaRPr lang="en-US" sz="1000" b="1" i="1" dirty="0" smtClean="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d</a:t>
            </a:r>
            <a:r>
              <a:rPr lang="en-US" sz="1050" dirty="0" smtClean="0">
                <a:solidFill>
                  <a:srgbClr val="000000"/>
                </a:solidFill>
                <a:latin typeface="Arial"/>
                <a:ea typeface="MS PGothic" charset="0"/>
                <a:cs typeface="Arial"/>
              </a:rPr>
              <a:t>evelop </a:t>
            </a:r>
            <a:r>
              <a:rPr lang="en-US" sz="1050" b="1" dirty="0" smtClean="0">
                <a:solidFill>
                  <a:srgbClr val="000000"/>
                </a:solidFill>
                <a:latin typeface="Arial"/>
                <a:ea typeface="MS PGothic" charset="0"/>
                <a:cs typeface="Arial"/>
              </a:rPr>
              <a:t>power plants with total capacity of 35,000 MW</a:t>
            </a:r>
            <a:endParaRPr lang="en-US" sz="1050" dirty="0">
              <a:solidFill>
                <a:srgbClr val="000000"/>
              </a:solidFill>
              <a:latin typeface="Arial"/>
              <a:ea typeface="MS PGothic" charset="0"/>
              <a:cs typeface="Arial"/>
            </a:endParaRPr>
          </a:p>
        </p:txBody>
      </p:sp>
      <p:cxnSp>
        <p:nvCxnSpPr>
          <p:cNvPr id="1686" name="Straight Connector 1685"/>
          <p:cNvCxnSpPr/>
          <p:nvPr/>
        </p:nvCxnSpPr>
        <p:spPr>
          <a:xfrm>
            <a:off x="859088" y="6020169"/>
            <a:ext cx="2225428" cy="1387"/>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pic>
        <p:nvPicPr>
          <p:cNvPr id="1675" name="Picture 1674"/>
          <p:cNvPicPr>
            <a:picLocks noChangeAspect="1"/>
          </p:cNvPicPr>
          <p:nvPr/>
        </p:nvPicPr>
        <p:blipFill>
          <a:blip r:embed="rId721" cstate="print"/>
          <a:stretch>
            <a:fillRect/>
          </a:stretch>
        </p:blipFill>
        <p:spPr>
          <a:xfrm>
            <a:off x="162445" y="5595385"/>
            <a:ext cx="609379" cy="660161"/>
          </a:xfrm>
          <a:prstGeom prst="rect">
            <a:avLst/>
          </a:prstGeom>
        </p:spPr>
      </p:pic>
      <p:sp>
        <p:nvSpPr>
          <p:cNvPr id="1694" name="TextBox 1693"/>
          <p:cNvSpPr txBox="1"/>
          <p:nvPr/>
        </p:nvSpPr>
        <p:spPr>
          <a:xfrm>
            <a:off x="6927732" y="5572265"/>
            <a:ext cx="2082880" cy="1154162"/>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Ensure </a:t>
            </a:r>
            <a:r>
              <a:rPr lang="en-US" sz="1000" i="1" dirty="0">
                <a:solidFill>
                  <a:srgbClr val="000000"/>
                </a:solidFill>
                <a:latin typeface="Arial"/>
                <a:ea typeface="MS PGothic" charset="0"/>
                <a:cs typeface="Arial"/>
              </a:rPr>
              <a:t>efficiency of fuel </a:t>
            </a:r>
            <a:r>
              <a:rPr lang="en-US" sz="1000" i="1" dirty="0" smtClean="0">
                <a:solidFill>
                  <a:srgbClr val="000000"/>
                </a:solidFill>
                <a:latin typeface="Arial"/>
                <a:ea typeface="MS PGothic" charset="0"/>
                <a:cs typeface="Arial"/>
              </a:rPr>
              <a:t>production</a:t>
            </a:r>
            <a:r>
              <a:rPr lang="en-US" sz="1000" i="1" dirty="0">
                <a:solidFill>
                  <a:srgbClr val="000000"/>
                </a:solidFill>
                <a:latin typeface="Arial"/>
                <a:ea typeface="MS PGothic" charset="0"/>
                <a:cs typeface="Arial"/>
              </a:rPr>
              <a:t> </a:t>
            </a:r>
            <a:r>
              <a:rPr lang="en-US" sz="1000" i="1" dirty="0" smtClean="0">
                <a:solidFill>
                  <a:srgbClr val="000000"/>
                </a:solidFill>
                <a:latin typeface="Arial"/>
                <a:ea typeface="MS PGothic" charset="0"/>
                <a:cs typeface="Arial"/>
              </a:rPr>
              <a:t>by </a:t>
            </a:r>
            <a:r>
              <a:rPr lang="en-US" sz="1000" b="1" i="1" dirty="0" smtClean="0">
                <a:solidFill>
                  <a:srgbClr val="000000"/>
                </a:solidFill>
                <a:latin typeface="Arial"/>
                <a:ea typeface="MS PGothic" charset="0"/>
                <a:cs typeface="Arial"/>
              </a:rPr>
              <a:t>optimizing </a:t>
            </a:r>
            <a:br>
              <a:rPr lang="en-US" sz="1000" b="1" i="1" dirty="0" smtClean="0">
                <a:solidFill>
                  <a:srgbClr val="000000"/>
                </a:solidFill>
                <a:latin typeface="Arial"/>
                <a:ea typeface="MS PGothic" charset="0"/>
                <a:cs typeface="Arial"/>
              </a:rPr>
            </a:br>
            <a:r>
              <a:rPr lang="en-US" sz="1000" b="1" i="1" dirty="0" smtClean="0">
                <a:solidFill>
                  <a:srgbClr val="000000"/>
                </a:solidFill>
                <a:latin typeface="Arial"/>
                <a:ea typeface="MS PGothic" charset="0"/>
                <a:cs typeface="Arial"/>
              </a:rPr>
              <a:t>domestic refineries</a:t>
            </a: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build </a:t>
            </a:r>
            <a:r>
              <a:rPr lang="en-US" sz="1050" b="1" dirty="0">
                <a:solidFill>
                  <a:srgbClr val="000000"/>
                </a:solidFill>
                <a:latin typeface="Arial"/>
                <a:ea typeface="MS PGothic" charset="0"/>
                <a:cs typeface="Arial"/>
              </a:rPr>
              <a:t>new oil refineries of 2x300,000 </a:t>
            </a:r>
            <a:r>
              <a:rPr lang="en-US" sz="1050" b="1" dirty="0" smtClean="0">
                <a:solidFill>
                  <a:srgbClr val="000000"/>
                </a:solidFill>
                <a:latin typeface="Arial"/>
                <a:ea typeface="MS PGothic" charset="0"/>
                <a:cs typeface="Arial"/>
              </a:rPr>
              <a:t>barrels</a:t>
            </a:r>
            <a:endParaRPr lang="en-US" sz="1050" dirty="0">
              <a:solidFill>
                <a:srgbClr val="000000"/>
              </a:solidFill>
              <a:latin typeface="Arial"/>
              <a:ea typeface="MS PGothic" charset="0"/>
              <a:cs typeface="Arial"/>
            </a:endParaRP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Expand existing refineries</a:t>
            </a:r>
            <a:r>
              <a:rPr lang="en-US" sz="1050" dirty="0">
                <a:solidFill>
                  <a:srgbClr val="000000"/>
                </a:solidFill>
                <a:latin typeface="Arial"/>
                <a:ea typeface="MS PGothic" charset="0"/>
                <a:cs typeface="Arial"/>
              </a:rPr>
              <a:t> </a:t>
            </a:r>
            <a:r>
              <a:rPr lang="en-US" sz="1050" dirty="0" smtClean="0">
                <a:solidFill>
                  <a:srgbClr val="000000"/>
                </a:solidFill>
                <a:latin typeface="Arial"/>
                <a:ea typeface="MS PGothic" charset="0"/>
                <a:cs typeface="Arial"/>
              </a:rPr>
              <a:t>in </a:t>
            </a:r>
            <a:r>
              <a:rPr lang="en-US" sz="1050" dirty="0" err="1">
                <a:solidFill>
                  <a:srgbClr val="000000"/>
                </a:solidFill>
                <a:latin typeface="Arial"/>
                <a:ea typeface="MS PGothic" charset="0"/>
                <a:cs typeface="Arial"/>
              </a:rPr>
              <a:t>Cilacap</a:t>
            </a:r>
            <a:r>
              <a:rPr lang="en-US" sz="1050" dirty="0">
                <a:solidFill>
                  <a:srgbClr val="000000"/>
                </a:solidFill>
                <a:latin typeface="Arial"/>
                <a:ea typeface="MS PGothic" charset="0"/>
                <a:cs typeface="Arial"/>
              </a:rPr>
              <a:t> and </a:t>
            </a:r>
            <a:r>
              <a:rPr lang="en-US" sz="1050" dirty="0" err="1" smtClean="0">
                <a:solidFill>
                  <a:srgbClr val="000000"/>
                </a:solidFill>
                <a:latin typeface="Arial"/>
                <a:ea typeface="MS PGothic" charset="0"/>
                <a:cs typeface="Arial"/>
              </a:rPr>
              <a:t>Balongan</a:t>
            </a:r>
            <a:endParaRPr lang="en-US" sz="1050" dirty="0">
              <a:solidFill>
                <a:srgbClr val="000000"/>
              </a:solidFill>
              <a:latin typeface="Arial"/>
              <a:ea typeface="MS PGothic" charset="0"/>
              <a:cs typeface="Arial"/>
            </a:endParaRPr>
          </a:p>
        </p:txBody>
      </p:sp>
      <p:cxnSp>
        <p:nvCxnSpPr>
          <p:cNvPr id="1695" name="Straight Connector 1694"/>
          <p:cNvCxnSpPr/>
          <p:nvPr/>
        </p:nvCxnSpPr>
        <p:spPr>
          <a:xfrm>
            <a:off x="7005610" y="6037787"/>
            <a:ext cx="1988680" cy="0"/>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grpSp>
        <p:nvGrpSpPr>
          <p:cNvPr id="9" name="Group 1696"/>
          <p:cNvGrpSpPr/>
          <p:nvPr/>
        </p:nvGrpSpPr>
        <p:grpSpPr>
          <a:xfrm>
            <a:off x="6303654" y="5604521"/>
            <a:ext cx="674714" cy="707165"/>
            <a:chOff x="6847231" y="5314452"/>
            <a:chExt cx="730940" cy="707165"/>
          </a:xfrm>
        </p:grpSpPr>
        <p:sp>
          <p:nvSpPr>
            <p:cNvPr id="1693" name="Teardrop 1692"/>
            <p:cNvSpPr/>
            <p:nvPr/>
          </p:nvSpPr>
          <p:spPr>
            <a:xfrm>
              <a:off x="6847231" y="5314452"/>
              <a:ext cx="730940"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pic>
          <p:nvPicPr>
            <p:cNvPr id="1683" name="Picture 1682"/>
            <p:cNvPicPr>
              <a:picLocks noChangeAspect="1"/>
            </p:cNvPicPr>
            <p:nvPr/>
          </p:nvPicPr>
          <p:blipFill>
            <a:blip r:embed="rId722" cstate="print"/>
            <a:stretch>
              <a:fillRect/>
            </a:stretch>
          </p:blipFill>
          <p:spPr>
            <a:xfrm>
              <a:off x="7026098" y="5461337"/>
              <a:ext cx="409907" cy="409907"/>
            </a:xfrm>
            <a:prstGeom prst="rect">
              <a:avLst/>
            </a:prstGeom>
          </p:spPr>
        </p:pic>
      </p:grpSp>
      <p:sp>
        <p:nvSpPr>
          <p:cNvPr id="1698" name="TextBox 1697"/>
          <p:cNvSpPr txBox="1"/>
          <p:nvPr/>
        </p:nvSpPr>
        <p:spPr>
          <a:xfrm>
            <a:off x="-37218" y="5250684"/>
            <a:ext cx="1212191" cy="261610"/>
          </a:xfrm>
          <a:prstGeom prst="rect">
            <a:avLst/>
          </a:prstGeom>
          <a:solidFill>
            <a:srgbClr val="56748B"/>
          </a:solidFill>
        </p:spPr>
        <p:txBody>
          <a:bodyPr wrap="none" rtlCol="0" anchor="ctr">
            <a:spAutoFit/>
          </a:bodyPr>
          <a:lstStyle/>
          <a:p>
            <a:pPr defTabSz="914400" fontAlgn="base">
              <a:spcBef>
                <a:spcPct val="0"/>
              </a:spcBef>
              <a:spcAft>
                <a:spcPct val="0"/>
              </a:spcAft>
            </a:pPr>
            <a:r>
              <a:rPr lang="en-US" sz="1100" b="1" dirty="0" smtClean="0">
                <a:solidFill>
                  <a:srgbClr val="FFFFFF"/>
                </a:solidFill>
                <a:effectLst>
                  <a:outerShdw blurRad="38100" dist="38100" dir="2700000" algn="tl">
                    <a:srgbClr val="000000">
                      <a:alpha val="43137"/>
                    </a:srgbClr>
                  </a:outerShdw>
                </a:effectLst>
                <a:latin typeface="Arial"/>
                <a:ea typeface="MS PGothic" charset="0"/>
                <a:cs typeface="Arial"/>
              </a:rPr>
              <a:t>Energy Related</a:t>
            </a:r>
            <a:endParaRPr lang="en-US" sz="1100" b="1" dirty="0">
              <a:solidFill>
                <a:srgbClr val="FFFFFF"/>
              </a:solidFill>
              <a:effectLst>
                <a:outerShdw blurRad="38100" dist="38100" dir="2700000" algn="tl">
                  <a:srgbClr val="000000">
                    <a:alpha val="43137"/>
                  </a:srgbClr>
                </a:outerShdw>
              </a:effectLst>
              <a:latin typeface="Arial"/>
              <a:ea typeface="MS PGothic" charset="0"/>
              <a:cs typeface="Arial"/>
            </a:endParaRPr>
          </a:p>
        </p:txBody>
      </p:sp>
      <p:sp>
        <p:nvSpPr>
          <p:cNvPr id="1707" name="TextBox 1706"/>
          <p:cNvSpPr txBox="1"/>
          <p:nvPr/>
        </p:nvSpPr>
        <p:spPr>
          <a:xfrm>
            <a:off x="6141833" y="907980"/>
            <a:ext cx="1273105" cy="261610"/>
          </a:xfrm>
          <a:prstGeom prst="rect">
            <a:avLst/>
          </a:prstGeom>
          <a:solidFill>
            <a:srgbClr val="0A4C88"/>
          </a:solidFill>
        </p:spPr>
        <p:txBody>
          <a:bodyPr wrap="none" rtlCol="0" anchor="ctr">
            <a:spAutoFit/>
          </a:bodyPr>
          <a:lstStyle/>
          <a:p>
            <a:pPr defTabSz="914400" fontAlgn="base">
              <a:spcBef>
                <a:spcPct val="0"/>
              </a:spcBef>
              <a:spcAft>
                <a:spcPct val="0"/>
              </a:spcAft>
            </a:pPr>
            <a:r>
              <a:rPr lang="en-US" sz="1100" b="1" dirty="0" smtClean="0">
                <a:solidFill>
                  <a:srgbClr val="FFFFFF"/>
                </a:solidFill>
                <a:effectLst>
                  <a:outerShdw blurRad="38100" dist="38100" dir="2700000" algn="tl">
                    <a:srgbClr val="000000">
                      <a:alpha val="43137"/>
                    </a:srgbClr>
                  </a:outerShdw>
                </a:effectLst>
                <a:latin typeface="Arial"/>
                <a:ea typeface="MS PGothic" charset="0"/>
                <a:cs typeface="Arial"/>
              </a:rPr>
              <a:t>Logistic Related</a:t>
            </a:r>
            <a:endParaRPr lang="en-US" sz="1100" b="1" dirty="0">
              <a:solidFill>
                <a:srgbClr val="FFFFFF"/>
              </a:solidFill>
              <a:effectLst>
                <a:outerShdw blurRad="38100" dist="38100" dir="2700000" algn="tl">
                  <a:srgbClr val="000000">
                    <a:alpha val="43137"/>
                  </a:srgbClr>
                </a:outerShdw>
              </a:effectLst>
              <a:latin typeface="Arial"/>
              <a:ea typeface="MS PGothic" charset="0"/>
              <a:cs typeface="Arial"/>
            </a:endParaRPr>
          </a:p>
        </p:txBody>
      </p:sp>
      <p:sp>
        <p:nvSpPr>
          <p:cNvPr id="1700" name="TextBox 1699"/>
          <p:cNvSpPr txBox="1"/>
          <p:nvPr/>
        </p:nvSpPr>
        <p:spPr>
          <a:xfrm>
            <a:off x="4882983" y="3563201"/>
            <a:ext cx="1399958" cy="355482"/>
          </a:xfrm>
          <a:prstGeom prst="rect">
            <a:avLst/>
          </a:prstGeom>
          <a:noFill/>
        </p:spPr>
        <p:txBody>
          <a:bodyPr wrap="square" rtlCol="0">
            <a:spAutoFit/>
          </a:bodyPr>
          <a:lstStyle/>
          <a:p>
            <a:pPr algn="r" defTabSz="914400" fontAlgn="base">
              <a:lnSpc>
                <a:spcPct val="90000"/>
              </a:lnSpc>
              <a:spcBef>
                <a:spcPct val="0"/>
              </a:spcBef>
              <a:spcAft>
                <a:spcPct val="0"/>
              </a:spcAft>
            </a:pPr>
            <a:r>
              <a:rPr lang="en-US" sz="700" b="1" dirty="0" smtClean="0">
                <a:solidFill>
                  <a:srgbClr val="000000"/>
                </a:solidFill>
                <a:latin typeface="Arial"/>
                <a:ea typeface="MS PGothic" charset="0"/>
                <a:cs typeface="Arial"/>
              </a:rPr>
              <a:t>Location of 24 new seaports &amp; 15 new airports</a:t>
            </a:r>
          </a:p>
          <a:p>
            <a:pPr algn="r" defTabSz="914400" fontAlgn="base">
              <a:lnSpc>
                <a:spcPct val="90000"/>
              </a:lnSpc>
              <a:spcBef>
                <a:spcPct val="0"/>
              </a:spcBef>
              <a:spcAft>
                <a:spcPct val="0"/>
              </a:spcAft>
            </a:pPr>
            <a:r>
              <a:rPr lang="en-US" sz="500" dirty="0" smtClean="0">
                <a:solidFill>
                  <a:srgbClr val="000000"/>
                </a:solidFill>
                <a:latin typeface="Arial"/>
                <a:ea typeface="MS PGothic" charset="0"/>
                <a:cs typeface="Arial"/>
              </a:rPr>
              <a:t>Source: </a:t>
            </a:r>
            <a:r>
              <a:rPr lang="en-US" sz="500" dirty="0" err="1" smtClean="0">
                <a:solidFill>
                  <a:srgbClr val="000000"/>
                </a:solidFill>
                <a:latin typeface="Arial"/>
                <a:ea typeface="MS PGothic" charset="0"/>
                <a:cs typeface="Arial"/>
              </a:rPr>
              <a:t>Bappenas</a:t>
            </a:r>
            <a:endParaRPr lang="en-US" sz="500" dirty="0">
              <a:solidFill>
                <a:srgbClr val="000000"/>
              </a:solidFill>
              <a:latin typeface="Arial"/>
              <a:ea typeface="MS PGothic" charset="0"/>
              <a:cs typeface="Arial"/>
            </a:endParaRPr>
          </a:p>
        </p:txBody>
      </p:sp>
      <p:sp>
        <p:nvSpPr>
          <p:cNvPr id="840" name="Teardrop 839"/>
          <p:cNvSpPr/>
          <p:nvPr/>
        </p:nvSpPr>
        <p:spPr>
          <a:xfrm>
            <a:off x="3255119" y="5595385"/>
            <a:ext cx="674714" cy="707165"/>
          </a:xfrm>
          <a:prstGeom prst="teardrop">
            <a:avLst/>
          </a:prstGeom>
          <a:solidFill>
            <a:srgbClr val="DCE6F2"/>
          </a:solidFill>
        </p:spPr>
        <p:style>
          <a:lnRef idx="2">
            <a:schemeClr val="accent1"/>
          </a:lnRef>
          <a:fillRef idx="1">
            <a:schemeClr val="lt1"/>
          </a:fillRef>
          <a:effectRef idx="0">
            <a:schemeClr val="accent1"/>
          </a:effectRef>
          <a:fontRef idx="minor">
            <a:schemeClr val="dk1"/>
          </a:fontRef>
        </p:style>
        <p:txBody>
          <a:bodyPr rtlCol="0" anchor="ctr"/>
          <a:lstStyle/>
          <a:p>
            <a:pPr algn="ctr" defTabSz="914400" fontAlgn="base">
              <a:spcBef>
                <a:spcPct val="0"/>
              </a:spcBef>
              <a:spcAft>
                <a:spcPct val="0"/>
              </a:spcAft>
            </a:pPr>
            <a:endParaRPr lang="en-US" sz="1400">
              <a:solidFill>
                <a:srgbClr val="000000"/>
              </a:solidFill>
              <a:latin typeface="Arial"/>
              <a:cs typeface="Arial"/>
            </a:endParaRPr>
          </a:p>
        </p:txBody>
      </p:sp>
      <p:sp>
        <p:nvSpPr>
          <p:cNvPr id="841" name="TextBox 840"/>
          <p:cNvSpPr txBox="1"/>
          <p:nvPr/>
        </p:nvSpPr>
        <p:spPr>
          <a:xfrm>
            <a:off x="3880937" y="5531416"/>
            <a:ext cx="2440935" cy="1338828"/>
          </a:xfrm>
          <a:prstGeom prst="rect">
            <a:avLst/>
          </a:prstGeom>
          <a:noFill/>
        </p:spPr>
        <p:txBody>
          <a:bodyPr wrap="square" rtlCol="0">
            <a:spAutoFit/>
          </a:bodyPr>
          <a:lstStyle/>
          <a:p>
            <a:pPr defTabSz="914400" fontAlgn="base">
              <a:lnSpc>
                <a:spcPct val="90000"/>
              </a:lnSpc>
              <a:spcBef>
                <a:spcPct val="0"/>
              </a:spcBef>
              <a:spcAft>
                <a:spcPct val="0"/>
              </a:spcAft>
            </a:pPr>
            <a:r>
              <a:rPr lang="en-US" sz="1000" i="1" dirty="0" smtClean="0">
                <a:solidFill>
                  <a:srgbClr val="000000"/>
                </a:solidFill>
                <a:latin typeface="Arial"/>
                <a:ea typeface="MS PGothic" charset="0"/>
                <a:cs typeface="Arial"/>
              </a:rPr>
              <a:t>Achieving </a:t>
            </a:r>
            <a:r>
              <a:rPr lang="en-US" sz="1000" i="1" dirty="0">
                <a:solidFill>
                  <a:srgbClr val="000000"/>
                </a:solidFill>
                <a:latin typeface="Arial"/>
                <a:ea typeface="MS PGothic" charset="0"/>
                <a:cs typeface="Arial"/>
              </a:rPr>
              <a:t>food </a:t>
            </a:r>
            <a:r>
              <a:rPr lang="en-US" sz="1000" i="1" dirty="0" smtClean="0">
                <a:solidFill>
                  <a:srgbClr val="000000"/>
                </a:solidFill>
                <a:latin typeface="Arial"/>
                <a:ea typeface="MS PGothic" charset="0"/>
                <a:cs typeface="Arial"/>
              </a:rPr>
              <a:t>sovereignty through </a:t>
            </a:r>
            <a:r>
              <a:rPr lang="en-US" sz="1000" b="1" i="1" dirty="0" smtClean="0">
                <a:solidFill>
                  <a:srgbClr val="000000"/>
                </a:solidFill>
                <a:latin typeface="Arial"/>
                <a:ea typeface="MS PGothic" charset="0"/>
                <a:cs typeface="Arial"/>
              </a:rPr>
              <a:t>irrigation system improvement</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develop </a:t>
            </a:r>
            <a:r>
              <a:rPr lang="en-US" sz="1050" b="1" dirty="0" smtClean="0">
                <a:solidFill>
                  <a:srgbClr val="000000"/>
                </a:solidFill>
                <a:latin typeface="Arial"/>
                <a:ea typeface="MS PGothic" charset="0"/>
                <a:cs typeface="Arial"/>
              </a:rPr>
              <a:t>33 </a:t>
            </a:r>
            <a:r>
              <a:rPr lang="en-US" sz="1050" b="1" dirty="0">
                <a:solidFill>
                  <a:srgbClr val="000000"/>
                </a:solidFill>
                <a:latin typeface="Arial"/>
                <a:ea typeface="MS PGothic" charset="0"/>
                <a:cs typeface="Arial"/>
              </a:rPr>
              <a:t>new dams </a:t>
            </a:r>
            <a:r>
              <a:rPr lang="en-US" sz="1050" b="1" dirty="0" smtClean="0">
                <a:solidFill>
                  <a:srgbClr val="000000"/>
                </a:solidFill>
                <a:latin typeface="Arial"/>
                <a:ea typeface="MS PGothic" charset="0"/>
                <a:cs typeface="Arial"/>
              </a:rPr>
              <a:t>and 30 </a:t>
            </a:r>
            <a:r>
              <a:rPr lang="en-US" sz="1050" b="1" dirty="0">
                <a:solidFill>
                  <a:srgbClr val="000000"/>
                </a:solidFill>
                <a:latin typeface="Arial"/>
                <a:ea typeface="MS PGothic" charset="0"/>
                <a:cs typeface="Arial"/>
              </a:rPr>
              <a:t>hydropower plants</a:t>
            </a:r>
          </a:p>
          <a:p>
            <a:pPr marL="171450" indent="-171450" defTabSz="914400" fontAlgn="base">
              <a:spcBef>
                <a:spcPct val="0"/>
              </a:spcBef>
              <a:spcAft>
                <a:spcPct val="0"/>
              </a:spcAft>
              <a:buFont typeface="Arial"/>
              <a:buChar char="•"/>
            </a:pPr>
            <a:r>
              <a:rPr lang="en-US" sz="1050" dirty="0" smtClean="0">
                <a:solidFill>
                  <a:srgbClr val="000000"/>
                </a:solidFill>
                <a:latin typeface="Arial"/>
                <a:ea typeface="MS PGothic" charset="0"/>
                <a:cs typeface="Arial"/>
              </a:rPr>
              <a:t>expand 1 million ha irrigation system </a:t>
            </a:r>
          </a:p>
          <a:p>
            <a:pPr marL="171450" indent="-171450" defTabSz="914400" fontAlgn="base">
              <a:spcBef>
                <a:spcPct val="0"/>
              </a:spcBef>
              <a:spcAft>
                <a:spcPct val="0"/>
              </a:spcAft>
              <a:buFont typeface="Arial"/>
              <a:buChar char="•"/>
            </a:pPr>
            <a:r>
              <a:rPr lang="en-US" sz="1050" dirty="0">
                <a:solidFill>
                  <a:srgbClr val="000000"/>
                </a:solidFill>
                <a:latin typeface="Arial"/>
                <a:ea typeface="MS PGothic" charset="0"/>
                <a:cs typeface="Arial"/>
              </a:rPr>
              <a:t>r</a:t>
            </a:r>
            <a:r>
              <a:rPr lang="en-US" sz="1050" dirty="0" smtClean="0">
                <a:solidFill>
                  <a:srgbClr val="000000"/>
                </a:solidFill>
                <a:latin typeface="Arial"/>
                <a:ea typeface="MS PGothic" charset="0"/>
                <a:cs typeface="Arial"/>
              </a:rPr>
              <a:t>ehabilitate existing </a:t>
            </a:r>
            <a:r>
              <a:rPr lang="en-US" sz="1050" dirty="0">
                <a:solidFill>
                  <a:srgbClr val="000000"/>
                </a:solidFill>
                <a:latin typeface="Arial"/>
                <a:ea typeface="MS PGothic" charset="0"/>
                <a:cs typeface="Arial"/>
              </a:rPr>
              <a:t>irrigation </a:t>
            </a:r>
            <a:r>
              <a:rPr lang="en-US" sz="1050" dirty="0" smtClean="0">
                <a:solidFill>
                  <a:srgbClr val="000000"/>
                </a:solidFill>
                <a:latin typeface="Arial"/>
                <a:ea typeface="MS PGothic" charset="0"/>
                <a:cs typeface="Arial"/>
              </a:rPr>
              <a:t>system  </a:t>
            </a:r>
            <a:endParaRPr lang="en-US" sz="1050" dirty="0">
              <a:solidFill>
                <a:srgbClr val="000000"/>
              </a:solidFill>
              <a:latin typeface="Arial"/>
              <a:ea typeface="MS PGothic" charset="0"/>
              <a:cs typeface="Arial"/>
            </a:endParaRPr>
          </a:p>
        </p:txBody>
      </p:sp>
      <p:cxnSp>
        <p:nvCxnSpPr>
          <p:cNvPr id="842" name="Straight Connector 841"/>
          <p:cNvCxnSpPr/>
          <p:nvPr/>
        </p:nvCxnSpPr>
        <p:spPr>
          <a:xfrm>
            <a:off x="3970843" y="5879113"/>
            <a:ext cx="2225428" cy="1387"/>
          </a:xfrm>
          <a:prstGeom prst="line">
            <a:avLst/>
          </a:prstGeom>
          <a:ln w="19050" cmpd="sng">
            <a:solidFill>
              <a:srgbClr val="1E3D5F"/>
            </a:solidFill>
          </a:ln>
        </p:spPr>
        <p:style>
          <a:lnRef idx="1">
            <a:schemeClr val="accent6"/>
          </a:lnRef>
          <a:fillRef idx="0">
            <a:schemeClr val="accent6"/>
          </a:fillRef>
          <a:effectRef idx="0">
            <a:schemeClr val="accent6"/>
          </a:effectRef>
          <a:fontRef idx="minor">
            <a:schemeClr val="tx1"/>
          </a:fontRef>
        </p:style>
      </p:cxnSp>
      <p:pic>
        <p:nvPicPr>
          <p:cNvPr id="843" name="Picture 842"/>
          <p:cNvPicPr>
            <a:picLocks noChangeAspect="1"/>
          </p:cNvPicPr>
          <p:nvPr/>
        </p:nvPicPr>
        <p:blipFill>
          <a:blip r:embed="rId723" cstate="print"/>
          <a:stretch>
            <a:fillRect/>
          </a:stretch>
        </p:blipFill>
        <p:spPr>
          <a:xfrm>
            <a:off x="3381375" y="5693278"/>
            <a:ext cx="446094" cy="483269"/>
          </a:xfrm>
          <a:prstGeom prst="rect">
            <a:avLst/>
          </a:prstGeom>
        </p:spPr>
      </p:pic>
      <p:sp>
        <p:nvSpPr>
          <p:cNvPr id="844" name="Title 1"/>
          <p:cNvSpPr txBox="1">
            <a:spLocks/>
          </p:cNvSpPr>
          <p:nvPr/>
        </p:nvSpPr>
        <p:spPr>
          <a:xfrm>
            <a:off x="6" y="-99391"/>
            <a:ext cx="8094853" cy="984885"/>
          </a:xfrm>
          <a:prstGeom prst="rect">
            <a:avLst/>
          </a:prstGeom>
        </p:spPr>
        <p:txBody>
          <a:bodyPr vert="horz" lIns="107287" tIns="53643" rIns="107287" bIns="53643" rtlCol="0" anchor="ctr">
            <a:noAutofit/>
          </a:bodyPr>
          <a:lstStyle>
            <a:lvl1pPr algn="ctr" defTabSz="1072866" rtl="0" eaLnBrk="1" latinLnBrk="0" hangingPunct="1">
              <a:spcBef>
                <a:spcPct val="0"/>
              </a:spcBef>
              <a:buNone/>
              <a:defRPr sz="5200" kern="1200">
                <a:solidFill>
                  <a:schemeClr val="tx1"/>
                </a:solidFill>
                <a:latin typeface="+mj-lt"/>
                <a:ea typeface="+mj-ea"/>
                <a:cs typeface="+mj-cs"/>
              </a:defRPr>
            </a:lvl1pPr>
          </a:lstStyle>
          <a:p>
            <a:pPr algn="l">
              <a:lnSpc>
                <a:spcPct val="80000"/>
              </a:lnSpc>
            </a:pPr>
            <a:r>
              <a:rPr lang="id-ID" sz="2000" b="1" dirty="0">
                <a:solidFill>
                  <a:prstClr val="black"/>
                </a:solidFill>
                <a:latin typeface="Arial"/>
                <a:cs typeface="Arial"/>
              </a:rPr>
              <a:t>PLANNING TARGET: </a:t>
            </a:r>
            <a:r>
              <a:rPr lang="en-US" sz="2000" b="1" dirty="0">
                <a:solidFill>
                  <a:prstClr val="black"/>
                </a:solidFill>
                <a:latin typeface="Arial"/>
                <a:cs typeface="Arial"/>
              </a:rPr>
              <a:t>The New Government aims to achieve economic growth of 6-7% p.a. in 2015-2019</a:t>
            </a:r>
            <a:r>
              <a:rPr lang="id-ID" sz="2000" b="1" dirty="0">
                <a:solidFill>
                  <a:prstClr val="black"/>
                </a:solidFill>
                <a:latin typeface="Arial"/>
                <a:cs typeface="Arial"/>
              </a:rPr>
              <a:t>, t</a:t>
            </a:r>
            <a:r>
              <a:rPr lang="en-US" sz="2000" b="1" dirty="0">
                <a:solidFill>
                  <a:prstClr val="black"/>
                </a:solidFill>
                <a:latin typeface="Arial"/>
                <a:cs typeface="Arial"/>
              </a:rPr>
              <a:t>o do so, rigorous infrastructure development is needed</a:t>
            </a:r>
          </a:p>
        </p:txBody>
      </p:sp>
      <p:sp>
        <p:nvSpPr>
          <p:cNvPr id="845" name="Rectangle 844"/>
          <p:cNvSpPr/>
          <p:nvPr/>
        </p:nvSpPr>
        <p:spPr>
          <a:xfrm>
            <a:off x="0" y="814188"/>
            <a:ext cx="9144000" cy="22524"/>
          </a:xfrm>
          <a:prstGeom prst="rect">
            <a:avLst/>
          </a:prstGeom>
          <a:solidFill>
            <a:schemeClr val="tx2">
              <a:lumMod val="50000"/>
            </a:schemeClr>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846" name="Picture 10" descr="garuda.png"/>
          <p:cNvPicPr>
            <a:picLocks noChangeAspect="1"/>
          </p:cNvPicPr>
          <p:nvPr/>
        </p:nvPicPr>
        <p:blipFill>
          <a:blip r:embed="rId724" cstate="print">
            <a:extLst>
              <a:ext uri="{28A0092B-C50C-407E-A947-70E740481C1C}">
                <a14:useLocalDpi xmlns:a14="http://schemas.microsoft.com/office/drawing/2010/main"/>
              </a:ext>
            </a:extLst>
          </a:blip>
          <a:srcRect/>
          <a:stretch>
            <a:fillRect/>
          </a:stretch>
        </p:blipFill>
        <p:spPr bwMode="auto">
          <a:xfrm>
            <a:off x="8294260" y="44664"/>
            <a:ext cx="701204" cy="687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7" name="Slide Number Placeholder 3"/>
          <p:cNvSpPr>
            <a:spLocks noGrp="1"/>
          </p:cNvSpPr>
          <p:nvPr>
            <p:ph type="sldNum" sz="quarter" idx="11"/>
          </p:nvPr>
        </p:nvSpPr>
        <p:spPr>
          <a:xfrm>
            <a:off x="8600391" y="6492916"/>
            <a:ext cx="521660" cy="365125"/>
          </a:xfrm>
          <a:noFill/>
        </p:spPr>
        <p:txBody>
          <a:bodyPr/>
          <a:lstStyle>
            <a:lvl1pPr defTabSz="912813" eaLnBrk="0" hangingPunct="0">
              <a:defRPr sz="1600">
                <a:solidFill>
                  <a:schemeClr val="tx1"/>
                </a:solidFill>
                <a:latin typeface="Arial" charset="0"/>
                <a:ea typeface="MS PGothic" charset="0"/>
                <a:cs typeface="MS PGothic" charset="0"/>
              </a:defRPr>
            </a:lvl1pPr>
            <a:lvl2pPr marL="742950" indent="-285750" defTabSz="912813" eaLnBrk="0" hangingPunct="0">
              <a:defRPr sz="1600">
                <a:solidFill>
                  <a:schemeClr val="tx1"/>
                </a:solidFill>
                <a:latin typeface="Arial" charset="0"/>
                <a:ea typeface="MS PGothic" charset="0"/>
                <a:cs typeface="MS PGothic" charset="0"/>
              </a:defRPr>
            </a:lvl2pPr>
            <a:lvl3pPr marL="1143000" indent="-228600" defTabSz="912813" eaLnBrk="0" hangingPunct="0">
              <a:defRPr sz="1600">
                <a:solidFill>
                  <a:schemeClr val="tx1"/>
                </a:solidFill>
                <a:latin typeface="Arial" charset="0"/>
                <a:ea typeface="MS PGothic" charset="0"/>
                <a:cs typeface="MS PGothic" charset="0"/>
              </a:defRPr>
            </a:lvl3pPr>
            <a:lvl4pPr marL="1600200" indent="-228600" defTabSz="912813" eaLnBrk="0" hangingPunct="0">
              <a:defRPr sz="1600">
                <a:solidFill>
                  <a:schemeClr val="tx1"/>
                </a:solidFill>
                <a:latin typeface="Arial" charset="0"/>
                <a:ea typeface="MS PGothic" charset="0"/>
                <a:cs typeface="MS PGothic" charset="0"/>
              </a:defRPr>
            </a:lvl4pPr>
            <a:lvl5pPr marL="2057400" indent="-228600" defTabSz="912813" eaLnBrk="0" hangingPunct="0">
              <a:defRPr sz="1600">
                <a:solidFill>
                  <a:schemeClr val="tx1"/>
                </a:solidFill>
                <a:latin typeface="Arial" charset="0"/>
                <a:ea typeface="MS PGothic" charset="0"/>
                <a:cs typeface="MS PGothic" charset="0"/>
              </a:defRPr>
            </a:lvl5pPr>
            <a:lvl6pPr marL="25146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6pPr>
            <a:lvl7pPr marL="29718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7pPr>
            <a:lvl8pPr marL="34290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8pPr>
            <a:lvl9pPr marL="38862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9pPr>
          </a:lstStyle>
          <a:p>
            <a:pPr eaLnBrk="1" hangingPunct="1"/>
            <a:fld id="{AC8BFEA0-C8CC-5142-B3BC-9A51F1C26312}" type="slidenum">
              <a:rPr lang="en-US" sz="1100" b="1">
                <a:solidFill>
                  <a:srgbClr val="000000"/>
                </a:solidFill>
              </a:rPr>
              <a:pPr eaLnBrk="1" hangingPunct="1"/>
              <a:t>45</a:t>
            </a:fld>
            <a:endParaRPr lang="en-US" sz="1100" b="1">
              <a:solidFill>
                <a:srgbClr val="000000"/>
              </a:solidFill>
            </a:endParaRPr>
          </a:p>
        </p:txBody>
      </p:sp>
    </p:spTree>
    <p:extLst>
      <p:ext uri="{BB962C8B-B14F-4D97-AF65-F5344CB8AC3E}">
        <p14:creationId xmlns:p14="http://schemas.microsoft.com/office/powerpoint/2010/main" val="29104722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64123" y="4826000"/>
            <a:ext cx="8792308" cy="16256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Title 1"/>
          <p:cNvSpPr>
            <a:spLocks noGrp="1"/>
          </p:cNvSpPr>
          <p:nvPr>
            <p:ph type="title"/>
          </p:nvPr>
        </p:nvSpPr>
        <p:spPr>
          <a:xfrm>
            <a:off x="121641" y="0"/>
            <a:ext cx="7920403" cy="584775"/>
          </a:xfrm>
        </p:spPr>
        <p:txBody>
          <a:bodyPr>
            <a:noAutofit/>
          </a:bodyPr>
          <a:lstStyle/>
          <a:p>
            <a:r>
              <a:rPr lang="en-US" sz="2000" dirty="0"/>
              <a:t>Project</a:t>
            </a:r>
            <a:r>
              <a:rPr lang="id-ID" sz="2000" dirty="0"/>
              <a:t> potentially</a:t>
            </a:r>
            <a:r>
              <a:rPr lang="en-US" sz="2000" dirty="0"/>
              <a:t> ready for tender in Q3 </a:t>
            </a:r>
            <a:r>
              <a:rPr lang="en-US" sz="2000" dirty="0" smtClean="0"/>
              <a:t>2015</a:t>
            </a:r>
            <a:br>
              <a:rPr lang="en-US" sz="2000" dirty="0" smtClean="0"/>
            </a:br>
            <a:r>
              <a:rPr lang="en-US" sz="2000" dirty="0" smtClean="0"/>
              <a:t>Express Line </a:t>
            </a:r>
            <a:r>
              <a:rPr lang="en-US" sz="2000" dirty="0" err="1" smtClean="0"/>
              <a:t>Soekarno</a:t>
            </a:r>
            <a:r>
              <a:rPr lang="en-US" sz="2000" dirty="0" err="1"/>
              <a:t>-</a:t>
            </a:r>
            <a:r>
              <a:rPr lang="en-US" sz="2000" dirty="0" err="1" smtClean="0"/>
              <a:t>Hatta</a:t>
            </a:r>
            <a:r>
              <a:rPr lang="en-US" sz="2000" dirty="0" smtClean="0"/>
              <a:t> International Airport Access Railway </a:t>
            </a:r>
            <a:endParaRPr lang="en-US" sz="2000" dirty="0"/>
          </a:p>
        </p:txBody>
      </p:sp>
      <p:sp>
        <p:nvSpPr>
          <p:cNvPr id="90" name="Chevron 89"/>
          <p:cNvSpPr/>
          <p:nvPr/>
        </p:nvSpPr>
        <p:spPr>
          <a:xfrm>
            <a:off x="5168403" y="5269450"/>
            <a:ext cx="1974414" cy="793404"/>
          </a:xfrm>
          <a:prstGeom prst="chevron">
            <a:avLst/>
          </a:prstGeom>
          <a:solidFill>
            <a:srgbClr val="56748B"/>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bg1"/>
              </a:solidFill>
            </a:endParaRPr>
          </a:p>
        </p:txBody>
      </p:sp>
      <p:pic>
        <p:nvPicPr>
          <p:cNvPr id="91" name="Picture 90" descr="Screen Shot 2015-02-22 at 15.14.49.png"/>
          <p:cNvPicPr>
            <a:picLocks noChangeAspect="1"/>
          </p:cNvPicPr>
          <p:nvPr/>
        </p:nvPicPr>
        <p:blipFill>
          <a:blip r:embed="rId2">
            <a:alphaModFix amt="46000"/>
            <a:extLst>
              <a:ext uri="{28A0092B-C50C-407E-A947-70E740481C1C}">
                <a14:useLocalDpi xmlns:a14="http://schemas.microsoft.com/office/drawing/2010/main" val="0"/>
              </a:ext>
            </a:extLst>
          </a:blip>
          <a:stretch>
            <a:fillRect/>
          </a:stretch>
        </p:blipFill>
        <p:spPr>
          <a:xfrm>
            <a:off x="155622" y="1556792"/>
            <a:ext cx="4220562" cy="3088942"/>
          </a:xfrm>
          <a:prstGeom prst="rect">
            <a:avLst/>
          </a:prstGeom>
        </p:spPr>
      </p:pic>
      <p:sp>
        <p:nvSpPr>
          <p:cNvPr id="92" name="Rectangle 156"/>
          <p:cNvSpPr>
            <a:spLocks noChangeArrowheads="1"/>
          </p:cNvSpPr>
          <p:nvPr/>
        </p:nvSpPr>
        <p:spPr bwMode="auto">
          <a:xfrm>
            <a:off x="181920" y="1172671"/>
            <a:ext cx="4179345" cy="324605"/>
          </a:xfrm>
          <a:prstGeom prst="rect">
            <a:avLst/>
          </a:prstGeom>
          <a:solidFill>
            <a:srgbClr val="183D64"/>
          </a:solidFill>
          <a:ln w="12700">
            <a:noFill/>
            <a:miter lim="800000"/>
            <a:headEnd/>
            <a:tailEnd/>
          </a:ln>
        </p:spPr>
        <p:txBody>
          <a:bodyPr anchor="ctr" anchorCtr="1"/>
          <a:lstStyle/>
          <a:p>
            <a:pPr algn="ctr" defTabSz="950913" fontAlgn="auto">
              <a:spcBef>
                <a:spcPts val="0"/>
              </a:spcBef>
              <a:spcAft>
                <a:spcPts val="0"/>
              </a:spcAft>
              <a:defRPr/>
            </a:pPr>
            <a:r>
              <a:rPr lang="en-US" sz="1600" b="1" kern="0" dirty="0" smtClean="0">
                <a:solidFill>
                  <a:sysClr val="window" lastClr="FFFFFF"/>
                </a:solidFill>
                <a:latin typeface="Arial"/>
                <a:ea typeface="ＭＳ Ｐゴシック" charset="-128"/>
                <a:cs typeface="Arial"/>
              </a:rPr>
              <a:t>Airport Access Railway – Express Line</a:t>
            </a:r>
            <a:endParaRPr lang="en-GB" sz="1600" b="1" kern="0" dirty="0">
              <a:solidFill>
                <a:sysClr val="window" lastClr="FFFFFF"/>
              </a:solidFill>
              <a:latin typeface="Arial"/>
              <a:ea typeface="ＭＳ Ｐゴシック" charset="-128"/>
              <a:cs typeface="Arial"/>
            </a:endParaRPr>
          </a:p>
        </p:txBody>
      </p:sp>
      <p:sp>
        <p:nvSpPr>
          <p:cNvPr id="93" name="Rectangle 156"/>
          <p:cNvSpPr>
            <a:spLocks noChangeArrowheads="1"/>
          </p:cNvSpPr>
          <p:nvPr/>
        </p:nvSpPr>
        <p:spPr bwMode="auto">
          <a:xfrm>
            <a:off x="171816" y="1162745"/>
            <a:ext cx="4200780" cy="2490701"/>
          </a:xfrm>
          <a:prstGeom prst="rect">
            <a:avLst/>
          </a:prstGeom>
          <a:noFill/>
          <a:ln w="12700">
            <a:solidFill>
              <a:srgbClr val="D9D9D9"/>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p>
            <a:pPr algn="ctr" defTabSz="950913" fontAlgn="auto">
              <a:spcBef>
                <a:spcPts val="0"/>
              </a:spcBef>
              <a:spcAft>
                <a:spcPts val="0"/>
              </a:spcAft>
              <a:defRPr/>
            </a:pPr>
            <a:endParaRPr lang="en-GB" sz="1100" b="1" kern="0" dirty="0">
              <a:solidFill>
                <a:sysClr val="window" lastClr="FFFFFF"/>
              </a:solidFill>
              <a:latin typeface="Arial Narrow" charset="0"/>
              <a:ea typeface="ＭＳ Ｐゴシック" charset="-128"/>
              <a:cs typeface="ＭＳ Ｐゴシック" charset="-128"/>
            </a:endParaRPr>
          </a:p>
        </p:txBody>
      </p:sp>
      <p:sp>
        <p:nvSpPr>
          <p:cNvPr id="94" name="Rectangle 156"/>
          <p:cNvSpPr>
            <a:spLocks noChangeArrowheads="1"/>
          </p:cNvSpPr>
          <p:nvPr/>
        </p:nvSpPr>
        <p:spPr bwMode="auto">
          <a:xfrm>
            <a:off x="231943" y="4734279"/>
            <a:ext cx="8640960" cy="392773"/>
          </a:xfrm>
          <a:prstGeom prst="rect">
            <a:avLst/>
          </a:prstGeom>
          <a:solidFill>
            <a:srgbClr val="183D64"/>
          </a:solidFill>
          <a:ln w="12700">
            <a:noFill/>
            <a:miter lim="800000"/>
            <a:headEnd/>
            <a:tailEnd/>
          </a:ln>
        </p:spPr>
        <p:txBody>
          <a:bodyPr anchor="ctr" anchorCtr="1"/>
          <a:lstStyle/>
          <a:p>
            <a:pPr defTabSz="950913" fontAlgn="auto">
              <a:spcBef>
                <a:spcPts val="0"/>
              </a:spcBef>
              <a:spcAft>
                <a:spcPts val="0"/>
              </a:spcAft>
              <a:defRPr/>
            </a:pPr>
            <a:r>
              <a:rPr lang="en-US" sz="1800" b="1" kern="0" dirty="0" smtClean="0">
                <a:solidFill>
                  <a:sysClr val="window" lastClr="FFFFFF"/>
                </a:solidFill>
                <a:latin typeface="Arial"/>
                <a:ea typeface="ＭＳ Ｐゴシック" charset="-128"/>
                <a:cs typeface="Arial"/>
              </a:rPr>
              <a:t>PROJECT SCHEDULE</a:t>
            </a:r>
            <a:endParaRPr lang="en-GB" sz="1800" b="1" kern="0" dirty="0">
              <a:solidFill>
                <a:sysClr val="window" lastClr="FFFFFF"/>
              </a:solidFill>
              <a:latin typeface="Arial"/>
              <a:ea typeface="ＭＳ Ｐゴシック" charset="-128"/>
              <a:cs typeface="Arial"/>
            </a:endParaRPr>
          </a:p>
        </p:txBody>
      </p:sp>
      <p:pic>
        <p:nvPicPr>
          <p:cNvPr id="96" name="Picture 95" descr="EL KA BSH.jpg"/>
          <p:cNvPicPr>
            <a:picLocks noChangeAspect="1"/>
          </p:cNvPicPr>
          <p:nvPr/>
        </p:nvPicPr>
        <p:blipFill rotWithShape="1">
          <a:blip r:embed="rId3" cstate="email">
            <a:extLst>
              <a:ext uri="{28A0092B-C50C-407E-A947-70E740481C1C}">
                <a14:useLocalDpi xmlns:a14="http://schemas.microsoft.com/office/drawing/2010/main" val="0"/>
              </a:ext>
            </a:extLst>
          </a:blip>
          <a:srcRect r="5256" b="8179"/>
          <a:stretch/>
        </p:blipFill>
        <p:spPr>
          <a:xfrm>
            <a:off x="2779402" y="3439633"/>
            <a:ext cx="1580116" cy="1137923"/>
          </a:xfrm>
          <a:prstGeom prst="rect">
            <a:avLst/>
          </a:prstGeom>
        </p:spPr>
      </p:pic>
      <p:sp>
        <p:nvSpPr>
          <p:cNvPr id="97" name="TextBox 96"/>
          <p:cNvSpPr txBox="1"/>
          <p:nvPr/>
        </p:nvSpPr>
        <p:spPr>
          <a:xfrm>
            <a:off x="202638" y="3604838"/>
            <a:ext cx="2721126" cy="1361911"/>
          </a:xfrm>
          <a:prstGeom prst="rect">
            <a:avLst/>
          </a:prstGeom>
          <a:noFill/>
        </p:spPr>
        <p:txBody>
          <a:bodyPr wrap="square" rtlCol="0">
            <a:spAutoFit/>
          </a:bodyPr>
          <a:lstStyle/>
          <a:p>
            <a:r>
              <a:rPr lang="en-US" sz="1200" dirty="0" smtClean="0">
                <a:solidFill>
                  <a:srgbClr val="183D64"/>
                </a:solidFill>
                <a:latin typeface="Arial "/>
                <a:cs typeface="Arial "/>
              </a:rPr>
              <a:t>Improving the accessibility from and to </a:t>
            </a:r>
            <a:r>
              <a:rPr lang="en-US" sz="1200" dirty="0" err="1" smtClean="0">
                <a:solidFill>
                  <a:srgbClr val="183D64"/>
                </a:solidFill>
                <a:latin typeface="Arial "/>
                <a:cs typeface="Arial "/>
              </a:rPr>
              <a:t>Soekarno</a:t>
            </a:r>
            <a:r>
              <a:rPr lang="en-US" sz="1200" dirty="0" smtClean="0">
                <a:solidFill>
                  <a:srgbClr val="183D64"/>
                </a:solidFill>
                <a:latin typeface="Arial "/>
                <a:cs typeface="Arial "/>
              </a:rPr>
              <a:t> </a:t>
            </a:r>
            <a:r>
              <a:rPr lang="en-US" sz="1200" dirty="0" err="1" smtClean="0">
                <a:solidFill>
                  <a:srgbClr val="183D64"/>
                </a:solidFill>
                <a:latin typeface="Arial "/>
                <a:cs typeface="Arial "/>
              </a:rPr>
              <a:t>Hatta</a:t>
            </a:r>
            <a:r>
              <a:rPr lang="en-US" sz="1200" dirty="0" smtClean="0">
                <a:solidFill>
                  <a:srgbClr val="183D64"/>
                </a:solidFill>
                <a:latin typeface="Arial "/>
                <a:cs typeface="Arial "/>
              </a:rPr>
              <a:t> International Airport, by fulfilling level of service of max </a:t>
            </a:r>
          </a:p>
          <a:p>
            <a:r>
              <a:rPr lang="en-US" sz="1200" dirty="0" smtClean="0">
                <a:solidFill>
                  <a:srgbClr val="183D64"/>
                </a:solidFill>
                <a:latin typeface="Arial "/>
                <a:cs typeface="Arial "/>
              </a:rPr>
              <a:t>                 trip from the airport to city center</a:t>
            </a:r>
            <a:endParaRPr lang="en-US" sz="1200" dirty="0">
              <a:solidFill>
                <a:srgbClr val="183D64"/>
              </a:solidFill>
              <a:latin typeface="Arial "/>
              <a:cs typeface="Arial "/>
            </a:endParaRPr>
          </a:p>
          <a:p>
            <a:endParaRPr lang="en-US" sz="1050" dirty="0">
              <a:solidFill>
                <a:srgbClr val="395794"/>
              </a:solidFill>
            </a:endParaRPr>
          </a:p>
        </p:txBody>
      </p:sp>
      <p:sp>
        <p:nvSpPr>
          <p:cNvPr id="102" name="Rectangle 156"/>
          <p:cNvSpPr>
            <a:spLocks noChangeArrowheads="1"/>
          </p:cNvSpPr>
          <p:nvPr/>
        </p:nvSpPr>
        <p:spPr bwMode="auto">
          <a:xfrm>
            <a:off x="4449899" y="1183945"/>
            <a:ext cx="4428192" cy="3394588"/>
          </a:xfrm>
          <a:prstGeom prst="rect">
            <a:avLst/>
          </a:prstGeom>
          <a:solidFill>
            <a:schemeClr val="bg1">
              <a:lumMod val="85000"/>
            </a:schemeClr>
          </a:solidFill>
          <a:ln w="12700">
            <a:solidFill>
              <a:srgbClr val="1E3D5F"/>
            </a:solidFill>
            <a:miter lim="800000"/>
            <a:headEnd/>
            <a:tailEnd/>
          </a:ln>
        </p:spPr>
        <p:txBody>
          <a:bodyPr anchor="ctr" anchorCtr="1"/>
          <a:lstStyle/>
          <a:p>
            <a:pPr algn="ctr" defTabSz="950913" fontAlgn="auto">
              <a:spcBef>
                <a:spcPts val="0"/>
              </a:spcBef>
              <a:spcAft>
                <a:spcPts val="0"/>
              </a:spcAft>
              <a:defRPr/>
            </a:pPr>
            <a:endParaRPr lang="en-GB" sz="1200" b="1" kern="0" dirty="0" smtClean="0">
              <a:solidFill>
                <a:sysClr val="window" lastClr="FFFFFF"/>
              </a:solidFill>
              <a:latin typeface="Arial"/>
              <a:ea typeface="ＭＳ Ｐゴシック" charset="-128"/>
              <a:cs typeface="Arial"/>
            </a:endParaRPr>
          </a:p>
          <a:p>
            <a:pPr algn="ctr" defTabSz="950913" fontAlgn="auto">
              <a:spcBef>
                <a:spcPts val="0"/>
              </a:spcBef>
              <a:spcAft>
                <a:spcPts val="0"/>
              </a:spcAft>
              <a:defRPr/>
            </a:pPr>
            <a:endParaRPr lang="en-GB" sz="1200" b="1" kern="0" dirty="0">
              <a:solidFill>
                <a:sysClr val="window" lastClr="FFFFFF"/>
              </a:solidFill>
              <a:latin typeface="Arial"/>
              <a:ea typeface="ＭＳ Ｐゴシック" charset="-128"/>
              <a:cs typeface="Arial"/>
            </a:endParaRPr>
          </a:p>
        </p:txBody>
      </p:sp>
      <p:pic>
        <p:nvPicPr>
          <p:cNvPr id="113" name="Picture 112" descr="imagefiles_location_map_pin_navy_blue5.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507958" y="2408720"/>
            <a:ext cx="345156" cy="515750"/>
          </a:xfrm>
          <a:prstGeom prst="rect">
            <a:avLst/>
          </a:prstGeom>
        </p:spPr>
      </p:pic>
      <p:sp>
        <p:nvSpPr>
          <p:cNvPr id="132" name="TextBox 131"/>
          <p:cNvSpPr txBox="1"/>
          <p:nvPr/>
        </p:nvSpPr>
        <p:spPr>
          <a:xfrm>
            <a:off x="199302" y="4107361"/>
            <a:ext cx="2607517" cy="369332"/>
          </a:xfrm>
          <a:prstGeom prst="rect">
            <a:avLst/>
          </a:prstGeom>
          <a:noFill/>
        </p:spPr>
        <p:txBody>
          <a:bodyPr wrap="square" rtlCol="0">
            <a:spAutoFit/>
          </a:bodyPr>
          <a:lstStyle/>
          <a:p>
            <a:r>
              <a:rPr lang="en-US" b="1" dirty="0" smtClean="0">
                <a:solidFill>
                  <a:srgbClr val="183D64"/>
                </a:solidFill>
                <a:latin typeface="Arial "/>
                <a:cs typeface="Arial "/>
              </a:rPr>
              <a:t>30 min.</a:t>
            </a:r>
            <a:endParaRPr lang="en-US" sz="1000" b="1" dirty="0" smtClean="0">
              <a:solidFill>
                <a:srgbClr val="183D64"/>
              </a:solidFill>
              <a:latin typeface="Arial "/>
              <a:cs typeface="Arial "/>
            </a:endParaRPr>
          </a:p>
        </p:txBody>
      </p:sp>
      <p:sp>
        <p:nvSpPr>
          <p:cNvPr id="133" name="TextBox 132"/>
          <p:cNvSpPr txBox="1"/>
          <p:nvPr/>
        </p:nvSpPr>
        <p:spPr>
          <a:xfrm>
            <a:off x="4818916" y="2341832"/>
            <a:ext cx="4015762" cy="851259"/>
          </a:xfrm>
          <a:prstGeom prst="rect">
            <a:avLst/>
          </a:prstGeom>
          <a:noFill/>
        </p:spPr>
        <p:txBody>
          <a:bodyPr wrap="square" rtlCol="0">
            <a:spAutoFit/>
          </a:bodyPr>
          <a:lstStyle/>
          <a:p>
            <a:r>
              <a:rPr lang="en-US" sz="1400" b="1" dirty="0" smtClean="0">
                <a:latin typeface="Arial"/>
                <a:cs typeface="Arial"/>
              </a:rPr>
              <a:t>Route</a:t>
            </a:r>
          </a:p>
          <a:p>
            <a:pPr>
              <a:lnSpc>
                <a:spcPct val="90000"/>
              </a:lnSpc>
            </a:pPr>
            <a:r>
              <a:rPr lang="en-US" sz="1300" dirty="0" err="1" smtClean="0">
                <a:latin typeface="Arial"/>
                <a:cs typeface="Arial"/>
              </a:rPr>
              <a:t>Halim</a:t>
            </a:r>
            <a:r>
              <a:rPr lang="en-US" sz="1300" dirty="0" smtClean="0">
                <a:latin typeface="Arial"/>
                <a:cs typeface="Arial"/>
              </a:rPr>
              <a:t> </a:t>
            </a:r>
            <a:r>
              <a:rPr lang="en-US" sz="1300" dirty="0" err="1" smtClean="0">
                <a:latin typeface="Arial"/>
                <a:cs typeface="Arial"/>
              </a:rPr>
              <a:t>Perdanakusuma</a:t>
            </a:r>
            <a:r>
              <a:rPr lang="en-US" sz="1300" dirty="0" smtClean="0">
                <a:latin typeface="Arial"/>
                <a:cs typeface="Arial"/>
              </a:rPr>
              <a:t> Airport – </a:t>
            </a:r>
            <a:r>
              <a:rPr lang="en-US" sz="1300" dirty="0" err="1" smtClean="0">
                <a:latin typeface="Arial"/>
                <a:cs typeface="Arial"/>
              </a:rPr>
              <a:t>Manggarai</a:t>
            </a:r>
            <a:r>
              <a:rPr lang="en-US" sz="1300" dirty="0" smtClean="0">
                <a:latin typeface="Arial"/>
                <a:cs typeface="Arial"/>
              </a:rPr>
              <a:t> – </a:t>
            </a:r>
            <a:r>
              <a:rPr lang="en-US" sz="1300" dirty="0" err="1" smtClean="0">
                <a:latin typeface="Arial"/>
                <a:cs typeface="Arial"/>
              </a:rPr>
              <a:t>Dukuh</a:t>
            </a:r>
            <a:r>
              <a:rPr lang="en-US" sz="1300" dirty="0" smtClean="0">
                <a:latin typeface="Arial"/>
                <a:cs typeface="Arial"/>
              </a:rPr>
              <a:t> </a:t>
            </a:r>
            <a:r>
              <a:rPr lang="en-US" sz="1300" dirty="0" err="1" smtClean="0">
                <a:latin typeface="Arial"/>
                <a:cs typeface="Arial"/>
              </a:rPr>
              <a:t>Atas</a:t>
            </a:r>
            <a:r>
              <a:rPr lang="en-US" sz="1300" dirty="0" smtClean="0">
                <a:latin typeface="Arial"/>
                <a:cs typeface="Arial"/>
              </a:rPr>
              <a:t> – Tanah </a:t>
            </a:r>
            <a:r>
              <a:rPr lang="en-US" sz="1300" dirty="0" err="1" smtClean="0">
                <a:latin typeface="Arial"/>
                <a:cs typeface="Arial"/>
              </a:rPr>
              <a:t>Abang</a:t>
            </a:r>
            <a:r>
              <a:rPr lang="en-US" sz="1300" dirty="0" smtClean="0">
                <a:latin typeface="Arial"/>
                <a:cs typeface="Arial"/>
              </a:rPr>
              <a:t> - </a:t>
            </a:r>
            <a:r>
              <a:rPr lang="en-US" sz="1300" dirty="0" err="1" smtClean="0">
                <a:latin typeface="Arial"/>
                <a:cs typeface="Arial"/>
              </a:rPr>
              <a:t>Pluit</a:t>
            </a:r>
            <a:r>
              <a:rPr lang="en-US" sz="1300" dirty="0" smtClean="0">
                <a:latin typeface="Arial"/>
                <a:cs typeface="Arial"/>
              </a:rPr>
              <a:t> – </a:t>
            </a:r>
            <a:r>
              <a:rPr lang="en-US" sz="1300" dirty="0" err="1" smtClean="0">
                <a:latin typeface="Arial"/>
                <a:cs typeface="Arial"/>
              </a:rPr>
              <a:t>Soekarno</a:t>
            </a:r>
            <a:r>
              <a:rPr lang="en-US" sz="1300" dirty="0" smtClean="0">
                <a:latin typeface="Arial"/>
                <a:cs typeface="Arial"/>
              </a:rPr>
              <a:t> </a:t>
            </a:r>
            <a:r>
              <a:rPr lang="en-US" sz="1300" dirty="0" err="1" smtClean="0">
                <a:latin typeface="Arial"/>
                <a:cs typeface="Arial"/>
              </a:rPr>
              <a:t>Hatta</a:t>
            </a:r>
            <a:r>
              <a:rPr lang="en-US" sz="1300" dirty="0" smtClean="0">
                <a:latin typeface="Arial"/>
                <a:cs typeface="Arial"/>
              </a:rPr>
              <a:t> International Airport</a:t>
            </a:r>
            <a:endParaRPr lang="en-US" sz="1300" dirty="0">
              <a:latin typeface="Arial"/>
              <a:cs typeface="Arial"/>
            </a:endParaRPr>
          </a:p>
        </p:txBody>
      </p:sp>
      <p:sp>
        <p:nvSpPr>
          <p:cNvPr id="134" name="TextBox 133"/>
          <p:cNvSpPr txBox="1"/>
          <p:nvPr/>
        </p:nvSpPr>
        <p:spPr>
          <a:xfrm>
            <a:off x="4814881" y="3176233"/>
            <a:ext cx="4015762" cy="851259"/>
          </a:xfrm>
          <a:prstGeom prst="rect">
            <a:avLst/>
          </a:prstGeom>
          <a:noFill/>
        </p:spPr>
        <p:txBody>
          <a:bodyPr wrap="square" rtlCol="0">
            <a:spAutoFit/>
          </a:bodyPr>
          <a:lstStyle/>
          <a:p>
            <a:r>
              <a:rPr lang="en-US" sz="1400" b="1" dirty="0" smtClean="0">
                <a:latin typeface="Arial"/>
                <a:cs typeface="Arial"/>
              </a:rPr>
              <a:t>Investment Value </a:t>
            </a:r>
          </a:p>
          <a:p>
            <a:pPr>
              <a:lnSpc>
                <a:spcPct val="90000"/>
              </a:lnSpc>
            </a:pPr>
            <a:r>
              <a:rPr lang="en-US" sz="1300" dirty="0" smtClean="0">
                <a:latin typeface="Arial"/>
                <a:cs typeface="Arial"/>
              </a:rPr>
              <a:t>~US$ 2.57 Billion</a:t>
            </a:r>
          </a:p>
          <a:p>
            <a:pPr>
              <a:lnSpc>
                <a:spcPct val="90000"/>
              </a:lnSpc>
            </a:pPr>
            <a:r>
              <a:rPr lang="en-US" sz="1300" dirty="0" smtClean="0">
                <a:latin typeface="Arial"/>
                <a:cs typeface="Arial"/>
              </a:rPr>
              <a:t>Funding scheme &gt;&gt; Potentially through PPP with Government Support (VGF)*</a:t>
            </a:r>
            <a:endParaRPr lang="en-US" sz="1300" dirty="0">
              <a:latin typeface="Arial"/>
              <a:cs typeface="Arial"/>
            </a:endParaRPr>
          </a:p>
        </p:txBody>
      </p:sp>
      <p:cxnSp>
        <p:nvCxnSpPr>
          <p:cNvPr id="135" name="Straight Connector 134"/>
          <p:cNvCxnSpPr/>
          <p:nvPr/>
        </p:nvCxnSpPr>
        <p:spPr>
          <a:xfrm>
            <a:off x="4428192" y="3195895"/>
            <a:ext cx="4486154"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416919" y="4038463"/>
            <a:ext cx="4486154" cy="0"/>
          </a:xfrm>
          <a:prstGeom prst="line">
            <a:avLst/>
          </a:prstGeom>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4837344" y="1158925"/>
            <a:ext cx="3518207" cy="1408078"/>
          </a:xfrm>
          <a:prstGeom prst="rect">
            <a:avLst/>
          </a:prstGeom>
          <a:noFill/>
        </p:spPr>
        <p:txBody>
          <a:bodyPr wrap="none" rtlCol="0">
            <a:spAutoFit/>
          </a:bodyPr>
          <a:lstStyle/>
          <a:p>
            <a:r>
              <a:rPr lang="en-US" sz="1400" b="1" dirty="0" smtClean="0">
                <a:latin typeface="Arial"/>
                <a:cs typeface="Arial"/>
              </a:rPr>
              <a:t>Project Technical Profile</a:t>
            </a:r>
          </a:p>
          <a:p>
            <a:pPr>
              <a:lnSpc>
                <a:spcPct val="90000"/>
              </a:lnSpc>
            </a:pPr>
            <a:r>
              <a:rPr lang="en-US" sz="1300" dirty="0" smtClean="0">
                <a:latin typeface="Arial"/>
                <a:cs typeface="Arial"/>
              </a:rPr>
              <a:t>Type: Elevated Track (dedicated)</a:t>
            </a:r>
          </a:p>
          <a:p>
            <a:pPr>
              <a:lnSpc>
                <a:spcPct val="90000"/>
              </a:lnSpc>
            </a:pPr>
            <a:r>
              <a:rPr lang="en-US" sz="1300" dirty="0" smtClean="0">
                <a:latin typeface="Arial"/>
                <a:cs typeface="Arial"/>
              </a:rPr>
              <a:t>Length of Alignment : 33.86 km</a:t>
            </a:r>
          </a:p>
          <a:p>
            <a:pPr>
              <a:lnSpc>
                <a:spcPct val="90000"/>
              </a:lnSpc>
            </a:pPr>
            <a:r>
              <a:rPr lang="en-US" sz="1300" dirty="0" smtClean="0">
                <a:latin typeface="Arial"/>
                <a:cs typeface="Arial"/>
              </a:rPr>
              <a:t>Width: Standard Gauge 1,435 mm</a:t>
            </a:r>
          </a:p>
          <a:p>
            <a:pPr>
              <a:lnSpc>
                <a:spcPct val="90000"/>
              </a:lnSpc>
            </a:pPr>
            <a:r>
              <a:rPr lang="en-US" sz="1300" dirty="0" smtClean="0">
                <a:latin typeface="Arial"/>
                <a:cs typeface="Arial"/>
              </a:rPr>
              <a:t>Type of Train : Electronic Multiple Unit (EMU)</a:t>
            </a:r>
          </a:p>
          <a:p>
            <a:pPr>
              <a:lnSpc>
                <a:spcPct val="90000"/>
              </a:lnSpc>
            </a:pPr>
            <a:r>
              <a:rPr lang="en-US" sz="1300" dirty="0" smtClean="0">
                <a:latin typeface="Arial"/>
                <a:cs typeface="Arial"/>
              </a:rPr>
              <a:t>Operating Speed : Max. 120 km per hour </a:t>
            </a:r>
          </a:p>
          <a:p>
            <a:endParaRPr lang="en-US" sz="1300" dirty="0" smtClean="0">
              <a:latin typeface="Arial"/>
              <a:cs typeface="Arial"/>
            </a:endParaRPr>
          </a:p>
        </p:txBody>
      </p:sp>
      <p:cxnSp>
        <p:nvCxnSpPr>
          <p:cNvPr id="138" name="Straight Connector 137"/>
          <p:cNvCxnSpPr/>
          <p:nvPr/>
        </p:nvCxnSpPr>
        <p:spPr>
          <a:xfrm>
            <a:off x="4424128" y="2360462"/>
            <a:ext cx="4486154" cy="0"/>
          </a:xfrm>
          <a:prstGeom prst="line">
            <a:avLst/>
          </a:prstGeom>
          <a:ln/>
        </p:spPr>
        <p:style>
          <a:lnRef idx="1">
            <a:schemeClr val="accent1"/>
          </a:lnRef>
          <a:fillRef idx="0">
            <a:schemeClr val="accent1"/>
          </a:fillRef>
          <a:effectRef idx="0">
            <a:schemeClr val="accent1"/>
          </a:effectRef>
          <a:fontRef idx="minor">
            <a:schemeClr val="tx1"/>
          </a:fontRef>
        </p:style>
      </p:cxnSp>
      <p:pic>
        <p:nvPicPr>
          <p:cNvPr id="139" name="Picture 138"/>
          <p:cNvPicPr>
            <a:picLocks noChangeAspect="1"/>
          </p:cNvPicPr>
          <p:nvPr/>
        </p:nvPicPr>
        <p:blipFill>
          <a:blip r:embed="rId5"/>
          <a:stretch>
            <a:fillRect/>
          </a:stretch>
        </p:blipFill>
        <p:spPr>
          <a:xfrm>
            <a:off x="4441600" y="3240694"/>
            <a:ext cx="405540" cy="439335"/>
          </a:xfrm>
          <a:prstGeom prst="rect">
            <a:avLst/>
          </a:prstGeom>
        </p:spPr>
      </p:pic>
      <p:pic>
        <p:nvPicPr>
          <p:cNvPr id="140" name="Picture 139"/>
          <p:cNvPicPr>
            <a:picLocks noChangeAspect="1"/>
          </p:cNvPicPr>
          <p:nvPr/>
        </p:nvPicPr>
        <p:blipFill>
          <a:blip r:embed="rId6"/>
          <a:stretch>
            <a:fillRect/>
          </a:stretch>
        </p:blipFill>
        <p:spPr>
          <a:xfrm>
            <a:off x="4479065" y="1242902"/>
            <a:ext cx="417483" cy="452273"/>
          </a:xfrm>
          <a:prstGeom prst="rect">
            <a:avLst/>
          </a:prstGeom>
        </p:spPr>
      </p:pic>
      <p:pic>
        <p:nvPicPr>
          <p:cNvPr id="141" name="Picture 140"/>
          <p:cNvPicPr>
            <a:picLocks noChangeAspect="1"/>
          </p:cNvPicPr>
          <p:nvPr/>
        </p:nvPicPr>
        <p:blipFill>
          <a:blip r:embed="rId7"/>
          <a:stretch>
            <a:fillRect/>
          </a:stretch>
        </p:blipFill>
        <p:spPr>
          <a:xfrm>
            <a:off x="4448008" y="4019559"/>
            <a:ext cx="421699" cy="468262"/>
          </a:xfrm>
          <a:prstGeom prst="rect">
            <a:avLst/>
          </a:prstGeom>
        </p:spPr>
      </p:pic>
      <p:sp>
        <p:nvSpPr>
          <p:cNvPr id="142" name="TextBox 141"/>
          <p:cNvSpPr txBox="1"/>
          <p:nvPr/>
        </p:nvSpPr>
        <p:spPr>
          <a:xfrm>
            <a:off x="4796342" y="4034229"/>
            <a:ext cx="4015762" cy="491160"/>
          </a:xfrm>
          <a:prstGeom prst="rect">
            <a:avLst/>
          </a:prstGeom>
          <a:noFill/>
        </p:spPr>
        <p:txBody>
          <a:bodyPr wrap="square" rtlCol="0">
            <a:spAutoFit/>
          </a:bodyPr>
          <a:lstStyle/>
          <a:p>
            <a:r>
              <a:rPr lang="en-US" sz="1400" b="1" dirty="0" smtClean="0">
                <a:latin typeface="Arial"/>
                <a:cs typeface="Arial"/>
              </a:rPr>
              <a:t>Government Contracting Agency </a:t>
            </a:r>
          </a:p>
          <a:p>
            <a:pPr>
              <a:lnSpc>
                <a:spcPct val="90000"/>
              </a:lnSpc>
            </a:pPr>
            <a:r>
              <a:rPr lang="en-US" sz="1300" dirty="0" smtClean="0">
                <a:latin typeface="Arial"/>
                <a:cs typeface="Arial"/>
              </a:rPr>
              <a:t>Ministry of Transportation</a:t>
            </a:r>
            <a:endParaRPr lang="en-US" sz="1300" dirty="0">
              <a:latin typeface="Arial"/>
              <a:cs typeface="Arial"/>
            </a:endParaRPr>
          </a:p>
        </p:txBody>
      </p:sp>
      <p:sp>
        <p:nvSpPr>
          <p:cNvPr id="143" name="Pentagon 142"/>
          <p:cNvSpPr/>
          <p:nvPr/>
        </p:nvSpPr>
        <p:spPr>
          <a:xfrm>
            <a:off x="314073" y="5259187"/>
            <a:ext cx="1758895" cy="813930"/>
          </a:xfrm>
          <a:prstGeom prst="homePlate">
            <a:avLst/>
          </a:prstGeom>
          <a:solidFill>
            <a:srgbClr val="56748B"/>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bg1"/>
              </a:solidFill>
            </a:endParaRPr>
          </a:p>
        </p:txBody>
      </p:sp>
      <p:sp>
        <p:nvSpPr>
          <p:cNvPr id="144" name="Chevron 143"/>
          <p:cNvSpPr/>
          <p:nvPr/>
        </p:nvSpPr>
        <p:spPr>
          <a:xfrm>
            <a:off x="1786563" y="5269450"/>
            <a:ext cx="1974414" cy="793404"/>
          </a:xfrm>
          <a:prstGeom prst="chevron">
            <a:avLst/>
          </a:prstGeom>
          <a:solidFill>
            <a:srgbClr val="56748B"/>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bg1"/>
              </a:solidFill>
            </a:endParaRPr>
          </a:p>
        </p:txBody>
      </p:sp>
      <p:sp>
        <p:nvSpPr>
          <p:cNvPr id="145" name="TextBox 144"/>
          <p:cNvSpPr txBox="1"/>
          <p:nvPr/>
        </p:nvSpPr>
        <p:spPr>
          <a:xfrm>
            <a:off x="607590" y="5269718"/>
            <a:ext cx="889987" cy="307777"/>
          </a:xfrm>
          <a:prstGeom prst="rect">
            <a:avLst/>
          </a:prstGeom>
          <a:noFill/>
        </p:spPr>
        <p:txBody>
          <a:bodyPr wrap="none" rtlCol="0">
            <a:spAutoFit/>
          </a:bodyPr>
          <a:lstStyle/>
          <a:p>
            <a:r>
              <a:rPr lang="en-US" sz="1400" b="1" dirty="0" smtClean="0">
                <a:solidFill>
                  <a:schemeClr val="bg1"/>
                </a:solidFill>
                <a:latin typeface="Arial"/>
                <a:cs typeface="Arial"/>
              </a:rPr>
              <a:t>Jul 2015</a:t>
            </a:r>
            <a:endParaRPr lang="en-US" sz="1400" b="1" dirty="0">
              <a:solidFill>
                <a:schemeClr val="bg1"/>
              </a:solidFill>
              <a:latin typeface="Arial"/>
              <a:cs typeface="Arial"/>
            </a:endParaRPr>
          </a:p>
        </p:txBody>
      </p:sp>
      <p:sp>
        <p:nvSpPr>
          <p:cNvPr id="146" name="TextBox 145"/>
          <p:cNvSpPr txBox="1"/>
          <p:nvPr/>
        </p:nvSpPr>
        <p:spPr>
          <a:xfrm>
            <a:off x="373569" y="5622162"/>
            <a:ext cx="1418978" cy="292388"/>
          </a:xfrm>
          <a:prstGeom prst="rect">
            <a:avLst/>
          </a:prstGeom>
          <a:noFill/>
        </p:spPr>
        <p:txBody>
          <a:bodyPr wrap="none" rtlCol="0">
            <a:spAutoFit/>
          </a:bodyPr>
          <a:lstStyle/>
          <a:p>
            <a:r>
              <a:rPr lang="en-US" sz="1300" dirty="0" smtClean="0">
                <a:solidFill>
                  <a:schemeClr val="bg1"/>
                </a:solidFill>
                <a:latin typeface="Arial"/>
                <a:cs typeface="Arial"/>
              </a:rPr>
              <a:t>Pre-Qualification</a:t>
            </a:r>
            <a:endParaRPr lang="en-US" sz="1300" dirty="0">
              <a:solidFill>
                <a:schemeClr val="bg1"/>
              </a:solidFill>
              <a:latin typeface="Arial"/>
              <a:cs typeface="Arial"/>
            </a:endParaRPr>
          </a:p>
        </p:txBody>
      </p:sp>
      <p:sp>
        <p:nvSpPr>
          <p:cNvPr id="147" name="TextBox 146"/>
          <p:cNvSpPr txBox="1"/>
          <p:nvPr/>
        </p:nvSpPr>
        <p:spPr>
          <a:xfrm>
            <a:off x="2300024" y="5269718"/>
            <a:ext cx="960519" cy="307777"/>
          </a:xfrm>
          <a:prstGeom prst="rect">
            <a:avLst/>
          </a:prstGeom>
          <a:noFill/>
        </p:spPr>
        <p:txBody>
          <a:bodyPr wrap="none" rtlCol="0">
            <a:spAutoFit/>
          </a:bodyPr>
          <a:lstStyle/>
          <a:p>
            <a:r>
              <a:rPr lang="en-US" sz="1400" b="1" dirty="0" smtClean="0">
                <a:solidFill>
                  <a:schemeClr val="bg1"/>
                </a:solidFill>
                <a:latin typeface="Arial"/>
                <a:cs typeface="Arial"/>
              </a:rPr>
              <a:t>Sep 2015</a:t>
            </a:r>
            <a:endParaRPr lang="en-US" sz="1400" b="1" dirty="0">
              <a:solidFill>
                <a:schemeClr val="bg1"/>
              </a:solidFill>
              <a:latin typeface="Arial"/>
              <a:cs typeface="Arial"/>
            </a:endParaRPr>
          </a:p>
        </p:txBody>
      </p:sp>
      <p:sp>
        <p:nvSpPr>
          <p:cNvPr id="148" name="TextBox 147"/>
          <p:cNvSpPr txBox="1"/>
          <p:nvPr/>
        </p:nvSpPr>
        <p:spPr>
          <a:xfrm>
            <a:off x="2090304" y="5584239"/>
            <a:ext cx="1340868" cy="419089"/>
          </a:xfrm>
          <a:prstGeom prst="rect">
            <a:avLst/>
          </a:prstGeom>
          <a:noFill/>
        </p:spPr>
        <p:txBody>
          <a:bodyPr wrap="square" rtlCol="0">
            <a:spAutoFit/>
          </a:bodyPr>
          <a:lstStyle/>
          <a:p>
            <a:pPr algn="ctr">
              <a:lnSpc>
                <a:spcPct val="80000"/>
              </a:lnSpc>
            </a:pPr>
            <a:r>
              <a:rPr lang="en-US" sz="1300" dirty="0" smtClean="0">
                <a:solidFill>
                  <a:schemeClr val="bg1"/>
                </a:solidFill>
                <a:latin typeface="Arial"/>
                <a:cs typeface="Arial"/>
              </a:rPr>
              <a:t>Tender Document</a:t>
            </a:r>
            <a:endParaRPr lang="en-US" sz="1300" dirty="0">
              <a:solidFill>
                <a:schemeClr val="bg1"/>
              </a:solidFill>
              <a:latin typeface="Arial"/>
              <a:cs typeface="Arial"/>
            </a:endParaRPr>
          </a:p>
        </p:txBody>
      </p:sp>
      <p:sp>
        <p:nvSpPr>
          <p:cNvPr id="149" name="TextBox 148"/>
          <p:cNvSpPr txBox="1"/>
          <p:nvPr/>
        </p:nvSpPr>
        <p:spPr>
          <a:xfrm>
            <a:off x="5684884" y="5269718"/>
            <a:ext cx="949299" cy="307777"/>
          </a:xfrm>
          <a:prstGeom prst="rect">
            <a:avLst/>
          </a:prstGeom>
          <a:noFill/>
        </p:spPr>
        <p:txBody>
          <a:bodyPr wrap="none" rtlCol="0">
            <a:spAutoFit/>
          </a:bodyPr>
          <a:lstStyle/>
          <a:p>
            <a:r>
              <a:rPr lang="en-US" sz="1400" b="1" dirty="0" smtClean="0">
                <a:solidFill>
                  <a:schemeClr val="bg1"/>
                </a:solidFill>
                <a:latin typeface="Arial"/>
                <a:cs typeface="Arial"/>
              </a:rPr>
              <a:t>Jun 2016</a:t>
            </a:r>
            <a:endParaRPr lang="en-US" sz="1400" b="1" dirty="0">
              <a:solidFill>
                <a:schemeClr val="bg1"/>
              </a:solidFill>
              <a:latin typeface="Arial"/>
              <a:cs typeface="Arial"/>
            </a:endParaRPr>
          </a:p>
        </p:txBody>
      </p:sp>
      <p:sp>
        <p:nvSpPr>
          <p:cNvPr id="150" name="TextBox 149"/>
          <p:cNvSpPr txBox="1"/>
          <p:nvPr/>
        </p:nvSpPr>
        <p:spPr>
          <a:xfrm>
            <a:off x="5446032" y="5638861"/>
            <a:ext cx="1538436" cy="259045"/>
          </a:xfrm>
          <a:prstGeom prst="rect">
            <a:avLst/>
          </a:prstGeom>
          <a:noFill/>
        </p:spPr>
        <p:txBody>
          <a:bodyPr wrap="square" rtlCol="0">
            <a:spAutoFit/>
          </a:bodyPr>
          <a:lstStyle/>
          <a:p>
            <a:pPr algn="ctr">
              <a:lnSpc>
                <a:spcPct val="80000"/>
              </a:lnSpc>
            </a:pPr>
            <a:r>
              <a:rPr lang="en-US" sz="1300" dirty="0" smtClean="0">
                <a:solidFill>
                  <a:schemeClr val="bg1"/>
                </a:solidFill>
                <a:latin typeface="Arial"/>
                <a:cs typeface="Arial"/>
              </a:rPr>
              <a:t>Contract Award</a:t>
            </a:r>
            <a:endParaRPr lang="en-US" sz="1300" dirty="0">
              <a:solidFill>
                <a:schemeClr val="bg1"/>
              </a:solidFill>
              <a:latin typeface="Arial"/>
              <a:cs typeface="Arial"/>
            </a:endParaRPr>
          </a:p>
        </p:txBody>
      </p:sp>
      <p:sp>
        <p:nvSpPr>
          <p:cNvPr id="151" name="Chevron 150"/>
          <p:cNvSpPr/>
          <p:nvPr/>
        </p:nvSpPr>
        <p:spPr>
          <a:xfrm>
            <a:off x="6853148" y="5265051"/>
            <a:ext cx="1974414" cy="793404"/>
          </a:xfrm>
          <a:prstGeom prst="chevron">
            <a:avLst/>
          </a:prstGeom>
          <a:solidFill>
            <a:srgbClr val="56748B"/>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bg1"/>
              </a:solidFill>
            </a:endParaRPr>
          </a:p>
        </p:txBody>
      </p:sp>
      <p:sp>
        <p:nvSpPr>
          <p:cNvPr id="152" name="TextBox 151"/>
          <p:cNvSpPr txBox="1"/>
          <p:nvPr/>
        </p:nvSpPr>
        <p:spPr>
          <a:xfrm>
            <a:off x="7392080" y="5269718"/>
            <a:ext cx="960519" cy="307777"/>
          </a:xfrm>
          <a:prstGeom prst="rect">
            <a:avLst/>
          </a:prstGeom>
          <a:noFill/>
        </p:spPr>
        <p:txBody>
          <a:bodyPr wrap="none" rtlCol="0">
            <a:spAutoFit/>
          </a:bodyPr>
          <a:lstStyle/>
          <a:p>
            <a:r>
              <a:rPr lang="en-US" sz="1400" b="1" dirty="0" smtClean="0">
                <a:solidFill>
                  <a:schemeClr val="bg1"/>
                </a:solidFill>
                <a:latin typeface="Arial"/>
                <a:cs typeface="Arial"/>
              </a:rPr>
              <a:t>Dec 2016</a:t>
            </a:r>
            <a:endParaRPr lang="en-US" sz="1400" b="1" dirty="0">
              <a:solidFill>
                <a:schemeClr val="bg1"/>
              </a:solidFill>
              <a:latin typeface="Arial"/>
              <a:cs typeface="Arial"/>
            </a:endParaRPr>
          </a:p>
        </p:txBody>
      </p:sp>
      <p:sp>
        <p:nvSpPr>
          <p:cNvPr id="153" name="TextBox 152"/>
          <p:cNvSpPr txBox="1"/>
          <p:nvPr/>
        </p:nvSpPr>
        <p:spPr>
          <a:xfrm>
            <a:off x="7134243" y="5584239"/>
            <a:ext cx="1538436" cy="419089"/>
          </a:xfrm>
          <a:prstGeom prst="rect">
            <a:avLst/>
          </a:prstGeom>
          <a:noFill/>
        </p:spPr>
        <p:txBody>
          <a:bodyPr wrap="square" rtlCol="0">
            <a:spAutoFit/>
          </a:bodyPr>
          <a:lstStyle/>
          <a:p>
            <a:pPr algn="ctr">
              <a:lnSpc>
                <a:spcPct val="80000"/>
              </a:lnSpc>
            </a:pPr>
            <a:r>
              <a:rPr lang="en-US" sz="1300" dirty="0" smtClean="0">
                <a:solidFill>
                  <a:schemeClr val="bg1"/>
                </a:solidFill>
                <a:latin typeface="Arial"/>
                <a:cs typeface="Arial"/>
              </a:rPr>
              <a:t>Financial Close Achieved</a:t>
            </a:r>
            <a:endParaRPr lang="en-US" sz="1300" dirty="0">
              <a:solidFill>
                <a:schemeClr val="bg1"/>
              </a:solidFill>
              <a:latin typeface="Arial"/>
              <a:cs typeface="Arial"/>
            </a:endParaRPr>
          </a:p>
        </p:txBody>
      </p:sp>
      <p:sp>
        <p:nvSpPr>
          <p:cNvPr id="154" name="Chevron 153"/>
          <p:cNvSpPr/>
          <p:nvPr/>
        </p:nvSpPr>
        <p:spPr>
          <a:xfrm>
            <a:off x="3474687" y="5269450"/>
            <a:ext cx="1974414" cy="793404"/>
          </a:xfrm>
          <a:prstGeom prst="chevron">
            <a:avLst/>
          </a:prstGeom>
          <a:solidFill>
            <a:srgbClr val="56748B"/>
          </a:solidFill>
        </p:spPr>
        <p:style>
          <a:lnRef idx="2">
            <a:schemeClr val="accent3"/>
          </a:lnRef>
          <a:fillRef idx="1">
            <a:schemeClr val="lt1"/>
          </a:fillRef>
          <a:effectRef idx="0">
            <a:schemeClr val="accent3"/>
          </a:effectRef>
          <a:fontRef idx="minor">
            <a:schemeClr val="dk1"/>
          </a:fontRef>
        </p:style>
        <p:txBody>
          <a:bodyPr rtlCol="0" anchor="ctr"/>
          <a:lstStyle/>
          <a:p>
            <a:pPr algn="ctr"/>
            <a:endParaRPr lang="en-US">
              <a:solidFill>
                <a:schemeClr val="bg1"/>
              </a:solidFill>
            </a:endParaRPr>
          </a:p>
        </p:txBody>
      </p:sp>
      <p:sp>
        <p:nvSpPr>
          <p:cNvPr id="155" name="TextBox 154"/>
          <p:cNvSpPr txBox="1"/>
          <p:nvPr/>
        </p:nvSpPr>
        <p:spPr>
          <a:xfrm>
            <a:off x="3991069" y="5269718"/>
            <a:ext cx="930063" cy="307777"/>
          </a:xfrm>
          <a:prstGeom prst="rect">
            <a:avLst/>
          </a:prstGeom>
          <a:noFill/>
        </p:spPr>
        <p:txBody>
          <a:bodyPr wrap="none" rtlCol="0">
            <a:spAutoFit/>
          </a:bodyPr>
          <a:lstStyle/>
          <a:p>
            <a:r>
              <a:rPr lang="en-US" sz="1400" b="1" dirty="0" smtClean="0">
                <a:solidFill>
                  <a:schemeClr val="bg1"/>
                </a:solidFill>
                <a:latin typeface="Arial"/>
                <a:cs typeface="Arial"/>
              </a:rPr>
              <a:t>Oct 2015</a:t>
            </a:r>
            <a:endParaRPr lang="en-US" sz="1400" b="1" dirty="0">
              <a:solidFill>
                <a:schemeClr val="bg1"/>
              </a:solidFill>
              <a:latin typeface="Arial"/>
              <a:cs typeface="Arial"/>
            </a:endParaRPr>
          </a:p>
        </p:txBody>
      </p:sp>
      <p:sp>
        <p:nvSpPr>
          <p:cNvPr id="156" name="TextBox 155"/>
          <p:cNvSpPr txBox="1"/>
          <p:nvPr/>
        </p:nvSpPr>
        <p:spPr>
          <a:xfrm>
            <a:off x="3754979" y="5584239"/>
            <a:ext cx="1504492" cy="419089"/>
          </a:xfrm>
          <a:prstGeom prst="rect">
            <a:avLst/>
          </a:prstGeom>
          <a:noFill/>
        </p:spPr>
        <p:txBody>
          <a:bodyPr wrap="square" rtlCol="0">
            <a:spAutoFit/>
          </a:bodyPr>
          <a:lstStyle/>
          <a:p>
            <a:pPr algn="ctr">
              <a:lnSpc>
                <a:spcPct val="80000"/>
              </a:lnSpc>
            </a:pPr>
            <a:r>
              <a:rPr lang="en-US" sz="1300" dirty="0" smtClean="0">
                <a:solidFill>
                  <a:schemeClr val="bg1"/>
                </a:solidFill>
                <a:latin typeface="Arial"/>
                <a:cs typeface="Arial"/>
              </a:rPr>
              <a:t>Bidding and Evaluation</a:t>
            </a:r>
            <a:endParaRPr lang="en-US" sz="1300" dirty="0">
              <a:solidFill>
                <a:schemeClr val="bg1"/>
              </a:solidFill>
              <a:latin typeface="Arial"/>
              <a:cs typeface="Arial"/>
            </a:endParaRPr>
          </a:p>
        </p:txBody>
      </p:sp>
      <p:sp>
        <p:nvSpPr>
          <p:cNvPr id="3" name="TextBox 2"/>
          <p:cNvSpPr txBox="1"/>
          <p:nvPr/>
        </p:nvSpPr>
        <p:spPr>
          <a:xfrm>
            <a:off x="164123" y="6070600"/>
            <a:ext cx="2868093" cy="230832"/>
          </a:xfrm>
          <a:prstGeom prst="rect">
            <a:avLst/>
          </a:prstGeom>
          <a:noFill/>
        </p:spPr>
        <p:txBody>
          <a:bodyPr wrap="none" rtlCol="0">
            <a:spAutoFit/>
          </a:bodyPr>
          <a:lstStyle/>
          <a:p>
            <a:r>
              <a:rPr lang="en-US" sz="900" dirty="0" smtClean="0"/>
              <a:t>The timetable is subject to Government approval process</a:t>
            </a:r>
            <a:endParaRPr lang="en-US" sz="900" dirty="0"/>
          </a:p>
        </p:txBody>
      </p:sp>
      <p:sp>
        <p:nvSpPr>
          <p:cNvPr id="157" name="TextBox 156"/>
          <p:cNvSpPr txBox="1"/>
          <p:nvPr/>
        </p:nvSpPr>
        <p:spPr>
          <a:xfrm>
            <a:off x="140688" y="6578600"/>
            <a:ext cx="1927131" cy="230832"/>
          </a:xfrm>
          <a:prstGeom prst="rect">
            <a:avLst/>
          </a:prstGeom>
          <a:noFill/>
        </p:spPr>
        <p:txBody>
          <a:bodyPr wrap="none" rtlCol="0">
            <a:spAutoFit/>
          </a:bodyPr>
          <a:lstStyle/>
          <a:p>
            <a:r>
              <a:rPr lang="en-US" sz="900" dirty="0" smtClean="0"/>
              <a:t>*) subject to Government agreement</a:t>
            </a:r>
            <a:endParaRPr lang="en-US" sz="900" dirty="0"/>
          </a:p>
        </p:txBody>
      </p:sp>
      <p:sp>
        <p:nvSpPr>
          <p:cNvPr id="40" name="TextBox 39"/>
          <p:cNvSpPr txBox="1"/>
          <p:nvPr/>
        </p:nvSpPr>
        <p:spPr>
          <a:xfrm>
            <a:off x="165516" y="4527204"/>
            <a:ext cx="646331" cy="200055"/>
          </a:xfrm>
          <a:prstGeom prst="rect">
            <a:avLst/>
          </a:prstGeom>
          <a:noFill/>
        </p:spPr>
        <p:txBody>
          <a:bodyPr wrap="none" rtlCol="0">
            <a:spAutoFit/>
          </a:bodyPr>
          <a:lstStyle/>
          <a:p>
            <a:r>
              <a:rPr lang="en-US" sz="700" dirty="0" smtClean="0"/>
              <a:t>* illustration</a:t>
            </a:r>
            <a:endParaRPr lang="en-US" sz="700" dirty="0"/>
          </a:p>
        </p:txBody>
      </p:sp>
      <p:sp>
        <p:nvSpPr>
          <p:cNvPr id="41" name="Slide Number Placeholder 3"/>
          <p:cNvSpPr>
            <a:spLocks noGrp="1"/>
          </p:cNvSpPr>
          <p:nvPr>
            <p:ph type="sldNum" sz="quarter" idx="11"/>
          </p:nvPr>
        </p:nvSpPr>
        <p:spPr>
          <a:xfrm>
            <a:off x="7010400" y="6477000"/>
            <a:ext cx="1905000" cy="184150"/>
          </a:xfrm>
          <a:noFill/>
        </p:spPr>
        <p:txBody>
          <a:bodyPr/>
          <a:lstStyle>
            <a:lvl1pPr defTabSz="912813" eaLnBrk="0" hangingPunct="0">
              <a:defRPr sz="1600">
                <a:solidFill>
                  <a:schemeClr val="tx1"/>
                </a:solidFill>
                <a:latin typeface="Arial" charset="0"/>
                <a:ea typeface="MS PGothic" charset="0"/>
                <a:cs typeface="MS PGothic" charset="0"/>
              </a:defRPr>
            </a:lvl1pPr>
            <a:lvl2pPr marL="742950" indent="-285750" defTabSz="912813" eaLnBrk="0" hangingPunct="0">
              <a:defRPr sz="1600">
                <a:solidFill>
                  <a:schemeClr val="tx1"/>
                </a:solidFill>
                <a:latin typeface="Arial" charset="0"/>
                <a:ea typeface="MS PGothic" charset="0"/>
                <a:cs typeface="MS PGothic" charset="0"/>
              </a:defRPr>
            </a:lvl2pPr>
            <a:lvl3pPr marL="1143000" indent="-228600" defTabSz="912813" eaLnBrk="0" hangingPunct="0">
              <a:defRPr sz="1600">
                <a:solidFill>
                  <a:schemeClr val="tx1"/>
                </a:solidFill>
                <a:latin typeface="Arial" charset="0"/>
                <a:ea typeface="MS PGothic" charset="0"/>
                <a:cs typeface="MS PGothic" charset="0"/>
              </a:defRPr>
            </a:lvl3pPr>
            <a:lvl4pPr marL="1600200" indent="-228600" defTabSz="912813" eaLnBrk="0" hangingPunct="0">
              <a:defRPr sz="1600">
                <a:solidFill>
                  <a:schemeClr val="tx1"/>
                </a:solidFill>
                <a:latin typeface="Arial" charset="0"/>
                <a:ea typeface="MS PGothic" charset="0"/>
                <a:cs typeface="MS PGothic" charset="0"/>
              </a:defRPr>
            </a:lvl4pPr>
            <a:lvl5pPr marL="2057400" indent="-228600" defTabSz="912813" eaLnBrk="0" hangingPunct="0">
              <a:defRPr sz="1600">
                <a:solidFill>
                  <a:schemeClr val="tx1"/>
                </a:solidFill>
                <a:latin typeface="Arial" charset="0"/>
                <a:ea typeface="MS PGothic" charset="0"/>
                <a:cs typeface="MS PGothic" charset="0"/>
              </a:defRPr>
            </a:lvl5pPr>
            <a:lvl6pPr marL="25146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6pPr>
            <a:lvl7pPr marL="29718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7pPr>
            <a:lvl8pPr marL="34290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8pPr>
            <a:lvl9pPr marL="3886200" indent="-228600" defTabSz="912813" eaLnBrk="0" fontAlgn="base" hangingPunct="0">
              <a:spcBef>
                <a:spcPct val="0"/>
              </a:spcBef>
              <a:spcAft>
                <a:spcPct val="0"/>
              </a:spcAft>
              <a:defRPr sz="1600">
                <a:solidFill>
                  <a:schemeClr val="tx1"/>
                </a:solidFill>
                <a:latin typeface="Arial" charset="0"/>
                <a:ea typeface="MS PGothic" charset="0"/>
                <a:cs typeface="MS PGothic" charset="0"/>
              </a:defRPr>
            </a:lvl9pPr>
          </a:lstStyle>
          <a:p>
            <a:pPr algn="r" eaLnBrk="1" hangingPunct="1"/>
            <a:fld id="{C79C7E90-1E7B-2440-A50C-EC380C936437}" type="slidenum">
              <a:rPr lang="en-US" sz="1800">
                <a:solidFill>
                  <a:srgbClr val="000000"/>
                </a:solidFill>
              </a:rPr>
              <a:pPr algn="r" eaLnBrk="1" hangingPunct="1"/>
              <a:t>46</a:t>
            </a:fld>
            <a:endParaRPr lang="en-US" sz="1800" dirty="0">
              <a:solidFill>
                <a:srgbClr val="000000"/>
              </a:solidFill>
            </a:endParaRPr>
          </a:p>
        </p:txBody>
      </p:sp>
      <p:sp>
        <p:nvSpPr>
          <p:cNvPr id="42" name="Rectangle 41"/>
          <p:cNvSpPr/>
          <p:nvPr/>
        </p:nvSpPr>
        <p:spPr>
          <a:xfrm>
            <a:off x="0" y="854975"/>
            <a:ext cx="9144000" cy="22524"/>
          </a:xfrm>
          <a:prstGeom prst="rect">
            <a:avLst/>
          </a:prstGeom>
          <a:solidFill>
            <a:schemeClr val="tx2">
              <a:lumMod val="50000"/>
            </a:schemeClr>
          </a:solidFill>
          <a:ln>
            <a:solidFill>
              <a:schemeClr val="tx2">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latin typeface="Arial"/>
              <a:cs typeface="Arial"/>
            </a:endParaRPr>
          </a:p>
        </p:txBody>
      </p:sp>
      <p:pic>
        <p:nvPicPr>
          <p:cNvPr id="43" name="Picture 10" descr="garuda.png"/>
          <p:cNvPicPr>
            <a:picLocks noChangeAspect="1"/>
          </p:cNvPicPr>
          <p:nvPr/>
        </p:nvPicPr>
        <p:blipFill>
          <a:blip r:embed="rId8" cstate="print">
            <a:extLst>
              <a:ext uri="{28A0092B-C50C-407E-A947-70E740481C1C}">
                <a14:useLocalDpi xmlns:a14="http://schemas.microsoft.com/office/drawing/2010/main"/>
              </a:ext>
            </a:extLst>
          </a:blip>
          <a:srcRect/>
          <a:stretch>
            <a:fillRect/>
          </a:stretch>
        </p:blipFill>
        <p:spPr bwMode="auto">
          <a:xfrm>
            <a:off x="8294260" y="44655"/>
            <a:ext cx="701204" cy="687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49098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
          <p:cNvSpPr>
            <a:spLocks noChangeArrowheads="1"/>
          </p:cNvSpPr>
          <p:nvPr/>
        </p:nvSpPr>
        <p:spPr bwMode="auto">
          <a:xfrm>
            <a:off x="2506663" y="2133600"/>
            <a:ext cx="5646737"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id-ID" altLang="id-ID" sz="4400" b="1" dirty="0" smtClean="0">
                <a:solidFill>
                  <a:srgbClr val="333399"/>
                </a:solidFill>
                <a:latin typeface="Franklin Gothic Medium Cond" pitchFamily="34" charset="0"/>
              </a:rPr>
              <a:t>Tantangan Kedepan</a:t>
            </a:r>
            <a:endParaRPr lang="en-US" altLang="id-ID" sz="4400" b="1" dirty="0">
              <a:solidFill>
                <a:srgbClr val="333399"/>
              </a:solidFill>
              <a:latin typeface="Franklin Gothic Medium Cond" pitchFamily="34" charset="0"/>
            </a:endParaRPr>
          </a:p>
        </p:txBody>
      </p:sp>
      <p:sp>
        <p:nvSpPr>
          <p:cNvPr id="3" name="Rectangle 2"/>
          <p:cNvSpPr/>
          <p:nvPr/>
        </p:nvSpPr>
        <p:spPr>
          <a:xfrm>
            <a:off x="2528888" y="21463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8268" y="2145892"/>
            <a:ext cx="1603932" cy="13593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202955891"/>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stretch>
            <a:fillRect/>
          </a:stretch>
        </p:blipFill>
        <p:spPr>
          <a:xfrm>
            <a:off x="4583928" y="1555913"/>
            <a:ext cx="4485596" cy="4504578"/>
          </a:xfrm>
          <a:prstGeom prst="rect">
            <a:avLst/>
          </a:prstGeom>
        </p:spPr>
      </p:pic>
      <p:graphicFrame>
        <p:nvGraphicFramePr>
          <p:cNvPr id="4" name="Group 118"/>
          <p:cNvGraphicFramePr>
            <a:graphicFrameLocks noGrp="1"/>
          </p:cNvGraphicFramePr>
          <p:nvPr>
            <p:extLst>
              <p:ext uri="{D42A27DB-BD31-4B8C-83A1-F6EECF244321}">
                <p14:modId xmlns:p14="http://schemas.microsoft.com/office/powerpoint/2010/main" val="2947667274"/>
              </p:ext>
            </p:extLst>
          </p:nvPr>
        </p:nvGraphicFramePr>
        <p:xfrm>
          <a:off x="180945" y="1850126"/>
          <a:ext cx="4171875" cy="4185540"/>
        </p:xfrm>
        <a:graphic>
          <a:graphicData uri="http://schemas.openxmlformats.org/drawingml/2006/table">
            <a:tbl>
              <a:tblPr/>
              <a:tblGrid>
                <a:gridCol w="726397"/>
                <a:gridCol w="796470"/>
                <a:gridCol w="796470"/>
                <a:gridCol w="796470"/>
                <a:gridCol w="175122"/>
                <a:gridCol w="880946"/>
              </a:tblGrid>
              <a:tr h="181980">
                <a:tc rowSpan="10">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Investment </a:t>
                      </a:r>
                      <a:b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b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Grade </a:t>
                      </a:r>
                      <a:b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b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Ratings</a:t>
                      </a:r>
                    </a:p>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IG)</a:t>
                      </a:r>
                    </a:p>
                  </a:txBody>
                  <a:tcPr marL="33762" marR="33762" marT="0" marB="0"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Extremely strong</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25322" marB="25322"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Very strong</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Strong</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a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Adequate</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a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a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F2F2F2"/>
                    </a:solidFill>
                  </a:tcPr>
                </a:tc>
                <a:tc vMerge="1">
                  <a:txBody>
                    <a:bodyPr/>
                    <a:lstStyle/>
                    <a:p>
                      <a:endParaRPr lang="en-GB"/>
                    </a:p>
                  </a:txBody>
                  <a:tcPr/>
                </a:tc>
              </a:tr>
              <a:tr h="181980">
                <a:tc rowSpan="11">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Non-investment</a:t>
                      </a:r>
                      <a:b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b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Grade</a:t>
                      </a:r>
                      <a:b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b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Ratings</a:t>
                      </a:r>
                    </a:p>
                  </a:txBody>
                  <a:tcPr marL="33762" marR="33762" marT="0" marB="0"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Less vulnerable</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More vulnerable</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B-</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a1</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rowSpan="3">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urrently vulnerable</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a2</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a3</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rowSpan="2">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urrently highly vulnerable</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C</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D9D9D9"/>
                    </a:solidFill>
                  </a:tcPr>
                </a:tc>
                <a:tc vMerge="1">
                  <a:txBody>
                    <a:bodyPr/>
                    <a:lstStyle/>
                    <a:p>
                      <a:endParaRPr lang="en-GB"/>
                    </a:p>
                  </a:txBody>
                  <a:tcPr/>
                </a:tc>
              </a:tr>
              <a:tr h="181980">
                <a:tc rowSpan="2">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900" b="1" i="0" u="none" strike="noStrike" cap="none" normalizeH="0" baseline="0" dirty="0" smtClean="0">
                          <a:ln>
                            <a:noFill/>
                          </a:ln>
                          <a:solidFill>
                            <a:schemeClr val="tx1"/>
                          </a:solidFill>
                          <a:effectLst/>
                          <a:latin typeface="Arial" pitchFamily="34" charset="0"/>
                          <a:ea typeface="SimSun" pitchFamily="2" charset="-122"/>
                          <a:cs typeface="Arial" pitchFamily="34" charset="0"/>
                        </a:rPr>
                        <a:t>Default</a:t>
                      </a:r>
                      <a:endParaRPr kumimoji="0" lang="en-US" sz="900" b="1"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0" marB="0"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SD </a:t>
                      </a:r>
                      <a:endParaRPr kumimoji="0" lang="en-GB"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D</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RD</a:t>
                      </a: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rowSpan="2">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altLang="zh-CN" sz="800" b="0" i="0" u="none" strike="noStrike" cap="none" normalizeH="0" baseline="0" dirty="0" smtClean="0">
                          <a:ln>
                            <a:noFill/>
                          </a:ln>
                          <a:solidFill>
                            <a:schemeClr val="tx1"/>
                          </a:solidFill>
                          <a:effectLst/>
                          <a:latin typeface="Arial" pitchFamily="34" charset="0"/>
                          <a:ea typeface="SimSun" pitchFamily="2" charset="-122"/>
                          <a:cs typeface="Arial" pitchFamily="34" charset="0"/>
                        </a:rPr>
                        <a:t>Default</a:t>
                      </a:r>
                      <a:endParaRPr kumimoji="0" lang="en-US" sz="8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r>
              <a:tr h="181980">
                <a:tc vMerge="1">
                  <a:txBody>
                    <a:bodyPr/>
                    <a:lstStyle/>
                    <a:p>
                      <a:endParaRPr lang="en-GB"/>
                    </a:p>
                  </a:txBody>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GB" sz="1000" b="0" i="0" u="none" strike="noStrike" cap="none" normalizeH="0" baseline="0" dirty="0" smtClean="0">
                          <a:ln>
                            <a:noFill/>
                          </a:ln>
                          <a:solidFill>
                            <a:schemeClr val="tx1"/>
                          </a:solidFill>
                          <a:effectLst/>
                          <a:latin typeface="Arial" pitchFamily="34" charset="0"/>
                          <a:cs typeface="Arial" pitchFamily="34" charset="0"/>
                        </a:rPr>
                        <a:t>D</a:t>
                      </a: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GB" sz="1000" b="0" i="0" u="none" strike="noStrike" cap="none" normalizeH="0" baseline="0" dirty="0" smtClean="0">
                        <a:ln>
                          <a:noFill/>
                        </a:ln>
                        <a:solidFill>
                          <a:schemeClr val="tx1"/>
                        </a:solidFill>
                        <a:effectLst/>
                        <a:latin typeface="Arial" pitchFamily="34" charset="0"/>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rPr>
                        <a:t>D</a:t>
                      </a: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a:txBody>
                    <a:bodyPr/>
                    <a:lstStyle/>
                    <a:p>
                      <a:pPr marL="0" marR="0" lvl="0" indent="0" algn="ctr" defTabSz="914400" rtl="0" eaLnBrk="1" fontAlgn="base" latinLnBrk="0" hangingPunct="1">
                        <a:lnSpc>
                          <a:spcPct val="90000"/>
                        </a:lnSpc>
                        <a:spcBef>
                          <a:spcPct val="5000"/>
                        </a:spcBef>
                        <a:spcAft>
                          <a:spcPct val="5000"/>
                        </a:spcAft>
                        <a:buClr>
                          <a:schemeClr val="folHlink"/>
                        </a:buClr>
                        <a:buSzTx/>
                        <a:buFont typeface="Wingdings" pitchFamily="2" charset="2"/>
                        <a:buNone/>
                        <a:tabLst/>
                      </a:pPr>
                      <a:endParaRPr kumimoji="0" lang="en-US" sz="1000" b="0" i="0" u="none" strike="noStrike" cap="none" normalizeH="0" baseline="0" dirty="0" smtClean="0">
                        <a:ln>
                          <a:noFill/>
                        </a:ln>
                        <a:solidFill>
                          <a:schemeClr val="tx1"/>
                        </a:solidFill>
                        <a:effectLst/>
                        <a:latin typeface="Arial" pitchFamily="34" charset="0"/>
                        <a:ea typeface="SimSun" pitchFamily="2" charset="-122"/>
                        <a:cs typeface="Arial" pitchFamily="34" charset="0"/>
                      </a:endParaRPr>
                    </a:p>
                  </a:txBody>
                  <a:tcPr marL="33762" marR="33762" marT="16881" marB="16881"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rgbClr val="A6A6A6"/>
                    </a:solidFill>
                  </a:tcPr>
                </a:tc>
                <a:tc vMerge="1">
                  <a:txBody>
                    <a:bodyPr/>
                    <a:lstStyle/>
                    <a:p>
                      <a:endParaRPr lang="en-GB"/>
                    </a:p>
                  </a:txBody>
                  <a:tcPr/>
                </a:tc>
              </a:tr>
            </a:tbl>
          </a:graphicData>
        </a:graphic>
      </p:graphicFrame>
      <p:pic>
        <p:nvPicPr>
          <p:cNvPr id="5" name="Picture 2" descr="sp_logo_pos_2C"/>
          <p:cNvPicPr>
            <a:picLocks noChangeAspect="1" noChangeArrowheads="1"/>
          </p:cNvPicPr>
          <p:nvPr/>
        </p:nvPicPr>
        <p:blipFill>
          <a:blip r:embed="rId3" cstate="print"/>
          <a:srcRect/>
          <a:stretch>
            <a:fillRect/>
          </a:stretch>
        </p:blipFill>
        <p:spPr bwMode="auto">
          <a:xfrm>
            <a:off x="972921" y="1509729"/>
            <a:ext cx="624254" cy="253511"/>
          </a:xfrm>
          <a:prstGeom prst="rect">
            <a:avLst/>
          </a:prstGeom>
          <a:noFill/>
          <a:ln w="9525">
            <a:noFill/>
            <a:miter lim="800000"/>
            <a:headEnd/>
            <a:tailEnd/>
          </a:ln>
        </p:spPr>
      </p:pic>
      <p:pic>
        <p:nvPicPr>
          <p:cNvPr id="6" name="Picture 4"/>
          <p:cNvPicPr>
            <a:picLocks noChangeAspect="1" noChangeArrowheads="1"/>
          </p:cNvPicPr>
          <p:nvPr/>
        </p:nvPicPr>
        <p:blipFill>
          <a:blip r:embed="rId4" cstate="print"/>
          <a:srcRect/>
          <a:stretch>
            <a:fillRect/>
          </a:stretch>
        </p:blipFill>
        <p:spPr bwMode="auto">
          <a:xfrm>
            <a:off x="2560181" y="1571792"/>
            <a:ext cx="863482" cy="211015"/>
          </a:xfrm>
          <a:prstGeom prst="rect">
            <a:avLst/>
          </a:prstGeom>
          <a:noFill/>
          <a:ln w="9525" algn="ctr">
            <a:noFill/>
            <a:miter lim="800000"/>
            <a:headEnd/>
            <a:tailEnd/>
          </a:ln>
        </p:spPr>
      </p:pic>
      <p:pic>
        <p:nvPicPr>
          <p:cNvPr id="7" name="Picture 126"/>
          <p:cNvPicPr>
            <a:picLocks noChangeAspect="1" noChangeArrowheads="1"/>
          </p:cNvPicPr>
          <p:nvPr/>
        </p:nvPicPr>
        <p:blipFill>
          <a:blip r:embed="rId5" cstate="print"/>
          <a:srcRect/>
          <a:stretch>
            <a:fillRect/>
          </a:stretch>
        </p:blipFill>
        <p:spPr bwMode="auto">
          <a:xfrm>
            <a:off x="1652581" y="1522143"/>
            <a:ext cx="928468" cy="237025"/>
          </a:xfrm>
          <a:prstGeom prst="rect">
            <a:avLst/>
          </a:prstGeom>
          <a:noFill/>
          <a:ln w="9525">
            <a:noFill/>
            <a:miter lim="800000"/>
            <a:headEnd/>
            <a:tailEnd/>
          </a:ln>
        </p:spPr>
      </p:pic>
      <p:sp>
        <p:nvSpPr>
          <p:cNvPr id="9" name="Oval 8"/>
          <p:cNvSpPr/>
          <p:nvPr/>
        </p:nvSpPr>
        <p:spPr>
          <a:xfrm>
            <a:off x="972921" y="3644897"/>
            <a:ext cx="624254" cy="2019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Oval 9"/>
          <p:cNvSpPr/>
          <p:nvPr/>
        </p:nvSpPr>
        <p:spPr>
          <a:xfrm>
            <a:off x="1782877" y="3467724"/>
            <a:ext cx="624254" cy="2019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p:cNvSpPr/>
          <p:nvPr/>
        </p:nvSpPr>
        <p:spPr>
          <a:xfrm>
            <a:off x="2560181" y="3466027"/>
            <a:ext cx="624254" cy="2019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Box 15"/>
          <p:cNvSpPr txBox="1"/>
          <p:nvPr/>
        </p:nvSpPr>
        <p:spPr>
          <a:xfrm>
            <a:off x="4762435" y="6110142"/>
            <a:ext cx="3231324" cy="433004"/>
          </a:xfrm>
          <a:prstGeom prst="rect">
            <a:avLst/>
          </a:prstGeom>
          <a:noFill/>
        </p:spPr>
        <p:txBody>
          <a:bodyPr wrap="square" rtlCol="0">
            <a:spAutoFit/>
          </a:bodyPr>
          <a:lstStyle/>
          <a:p>
            <a:r>
              <a:rPr lang="en-US" sz="738" dirty="0"/>
              <a:t>*   </a:t>
            </a:r>
            <a:r>
              <a:rPr lang="en-US" sz="738" dirty="0" err="1"/>
              <a:t>Afirmasi</a:t>
            </a:r>
            <a:r>
              <a:rPr lang="en-US" sz="738" dirty="0"/>
              <a:t> Rating</a:t>
            </a:r>
          </a:p>
          <a:p>
            <a:r>
              <a:rPr lang="en-US" sz="738" dirty="0"/>
              <a:t>**  </a:t>
            </a:r>
            <a:r>
              <a:rPr lang="en-US" sz="738" dirty="0" err="1"/>
              <a:t>Revisi</a:t>
            </a:r>
            <a:r>
              <a:rPr lang="en-US" sz="738" dirty="0"/>
              <a:t> outlook </a:t>
            </a:r>
            <a:r>
              <a:rPr lang="en-US" sz="738" dirty="0" err="1"/>
              <a:t>dari</a:t>
            </a:r>
            <a:r>
              <a:rPr lang="en-US" sz="738" dirty="0"/>
              <a:t> </a:t>
            </a:r>
            <a:r>
              <a:rPr lang="en-US" sz="738" dirty="0" err="1"/>
              <a:t>positif</a:t>
            </a:r>
            <a:r>
              <a:rPr lang="en-US" sz="738" dirty="0"/>
              <a:t> </a:t>
            </a:r>
            <a:r>
              <a:rPr lang="en-US" sz="738" dirty="0" err="1"/>
              <a:t>menjadi</a:t>
            </a:r>
            <a:r>
              <a:rPr lang="en-US" sz="738" dirty="0"/>
              <a:t> stable</a:t>
            </a:r>
          </a:p>
          <a:p>
            <a:r>
              <a:rPr lang="en-US" sz="738" dirty="0"/>
              <a:t>*** </a:t>
            </a:r>
            <a:r>
              <a:rPr lang="en-US" sz="738" dirty="0" err="1"/>
              <a:t>Revisi</a:t>
            </a:r>
            <a:r>
              <a:rPr lang="en-US" sz="738" dirty="0"/>
              <a:t> outlook </a:t>
            </a:r>
            <a:r>
              <a:rPr lang="en-US" sz="738" dirty="0" err="1"/>
              <a:t>dari</a:t>
            </a:r>
            <a:r>
              <a:rPr lang="en-US" sz="738" dirty="0"/>
              <a:t> stable </a:t>
            </a:r>
            <a:r>
              <a:rPr lang="en-US" sz="738" dirty="0" err="1"/>
              <a:t>menjadi</a:t>
            </a:r>
            <a:r>
              <a:rPr lang="en-US" sz="738" dirty="0"/>
              <a:t> </a:t>
            </a:r>
            <a:r>
              <a:rPr lang="en-US" sz="738" dirty="0" err="1"/>
              <a:t>positif</a:t>
            </a:r>
            <a:endParaRPr lang="en-US" sz="738" dirty="0"/>
          </a:p>
        </p:txBody>
      </p:sp>
      <p:grpSp>
        <p:nvGrpSpPr>
          <p:cNvPr id="12" name="Group 13"/>
          <p:cNvGrpSpPr/>
          <p:nvPr/>
        </p:nvGrpSpPr>
        <p:grpSpPr>
          <a:xfrm>
            <a:off x="0" y="0"/>
            <a:ext cx="8656320" cy="548640"/>
            <a:chOff x="0" y="0"/>
            <a:chExt cx="8656320" cy="548640"/>
          </a:xfrm>
        </p:grpSpPr>
        <p:sp>
          <p:nvSpPr>
            <p:cNvPr id="13" name="Rectangle 12"/>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4" name="Rectangle 13"/>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7" name="Title 1"/>
          <p:cNvSpPr txBox="1">
            <a:spLocks/>
          </p:cNvSpPr>
          <p:nvPr/>
        </p:nvSpPr>
        <p:spPr>
          <a:xfrm>
            <a:off x="0" y="26894"/>
            <a:ext cx="9144000" cy="487362"/>
          </a:xfrm>
          <a:prstGeom prst="rect">
            <a:avLst/>
          </a:prstGeom>
        </p:spPr>
        <p:txBody>
          <a:bodyPr anchor="ctr"/>
          <a:lstStyle>
            <a:lvl1pPr algn="ctr" rtl="0" eaLnBrk="0" fontAlgn="base" hangingPunct="0">
              <a:spcBef>
                <a:spcPct val="0"/>
              </a:spcBef>
              <a:spcAft>
                <a:spcPct val="0"/>
              </a:spcAft>
              <a:defRPr sz="2200" b="1" kern="1200">
                <a:solidFill>
                  <a:srgbClr val="1B587C"/>
                </a:solidFill>
                <a:latin typeface="Optima" panose="020B0500000000000000" pitchFamily="34" charset="0"/>
                <a:ea typeface="MS PGothic"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GB" sz="2400" dirty="0" err="1"/>
              <a:t>Perkembangan</a:t>
            </a:r>
            <a:r>
              <a:rPr lang="en-GB" sz="2400" dirty="0"/>
              <a:t> Rating Indonesia</a:t>
            </a:r>
            <a:endParaRPr lang="en-US" sz="2400" dirty="0">
              <a:solidFill>
                <a:srgbClr val="000066"/>
              </a:solidFill>
              <a:latin typeface="Eras Demi ITC" pitchFamily="34" charset="0"/>
            </a:endParaRPr>
          </a:p>
        </p:txBody>
      </p:sp>
      <p:sp>
        <p:nvSpPr>
          <p:cNvPr id="18" name="TextBox 17"/>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48</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51861028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3049710924"/>
              </p:ext>
            </p:extLst>
          </p:nvPr>
        </p:nvGraphicFramePr>
        <p:xfrm>
          <a:off x="63140" y="1066800"/>
          <a:ext cx="8852260" cy="5509217"/>
        </p:xfrm>
        <a:graphic>
          <a:graphicData uri="http://schemas.openxmlformats.org/drawingml/2006/table">
            <a:tbl>
              <a:tblPr firstRow="1" bandRow="1"/>
              <a:tblGrid>
                <a:gridCol w="1170846"/>
                <a:gridCol w="1033031"/>
                <a:gridCol w="2523021"/>
                <a:gridCol w="2152434"/>
                <a:gridCol w="1972928"/>
              </a:tblGrid>
              <a:tr h="21094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1600" b="1" dirty="0">
                        <a:solidFill>
                          <a:schemeClr val="bg1"/>
                        </a:solidFill>
                      </a:endParaRPr>
                    </a:p>
                  </a:txBody>
                  <a:tcPr marL="84406" marR="84406" marT="42203" marB="42203" anchor="ctr">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endParaRPr lang="en-GB" sz="1600" b="1" dirty="0"/>
                    </a:p>
                  </a:txBody>
                  <a:tcPr marL="84406" marR="84406" marT="42203" marB="42203">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1600" b="1" dirty="0"/>
                    </a:p>
                  </a:txBody>
                  <a:tcPr marL="84406" marR="84406" marT="42203" marB="42203">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1600" b="1" dirty="0"/>
                    </a:p>
                  </a:txBody>
                  <a:tcPr marL="84406" marR="84406" marT="42203" marB="42203">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1600" b="1" dirty="0"/>
                    </a:p>
                  </a:txBody>
                  <a:tcPr marL="84406" marR="84406" marT="42203" marB="42203">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1002919">
                <a:tc rowSpan="5">
                  <a:txBody>
                    <a:bodyPr/>
                    <a:lstStyle/>
                    <a:p>
                      <a:pPr algn="ctr"/>
                      <a:r>
                        <a:rPr lang="en-GB" sz="1600" b="1" dirty="0" smtClean="0">
                          <a:solidFill>
                            <a:schemeClr val="bg1"/>
                          </a:solidFill>
                        </a:rPr>
                        <a:t>Key Credit</a:t>
                      </a:r>
                      <a:r>
                        <a:rPr lang="en-GB" sz="1600" b="1" baseline="0" dirty="0" smtClean="0">
                          <a:solidFill>
                            <a:schemeClr val="bg1"/>
                          </a:solidFill>
                        </a:rPr>
                        <a:t> Challenges</a:t>
                      </a:r>
                      <a:endParaRPr lang="en-GB" sz="1600" b="1" dirty="0">
                        <a:solidFill>
                          <a:schemeClr val="bg1"/>
                        </a:solidFill>
                      </a:endParaRPr>
                    </a:p>
                  </a:txBody>
                  <a:tcPr marL="84406" marR="84406"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r>
                        <a:rPr lang="en-GB" sz="1600" b="0" kern="1200" baseline="0" dirty="0" smtClean="0">
                          <a:solidFill>
                            <a:schemeClr val="dk1"/>
                          </a:solidFill>
                          <a:latin typeface="Arial Narrow" pitchFamily="34" charset="0"/>
                          <a:ea typeface="+mn-ea"/>
                          <a:cs typeface="+mn-cs"/>
                        </a:rPr>
                        <a:t>Institutional</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gridSpan="3">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dirty="0" smtClean="0">
                          <a:solidFill>
                            <a:schemeClr val="dk1"/>
                          </a:solidFill>
                          <a:latin typeface="Arial Narrow" pitchFamily="34" charset="0"/>
                          <a:ea typeface="+mn-ea"/>
                          <a:cs typeface="+mn-cs"/>
                        </a:rPr>
                        <a:t>Tata </a:t>
                      </a:r>
                      <a:r>
                        <a:rPr lang="en-GB" sz="1600" b="0" kern="1200" dirty="0" err="1" smtClean="0">
                          <a:solidFill>
                            <a:schemeClr val="dk1"/>
                          </a:solidFill>
                          <a:latin typeface="Arial Narrow" pitchFamily="34" charset="0"/>
                          <a:ea typeface="+mn-ea"/>
                          <a:cs typeface="+mn-cs"/>
                        </a:rPr>
                        <a:t>kelola</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pemerintah</a:t>
                      </a:r>
                      <a:r>
                        <a:rPr lang="en-GB" sz="1600" b="0" kern="1200" dirty="0" smtClean="0">
                          <a:solidFill>
                            <a:schemeClr val="dk1"/>
                          </a:solidFill>
                          <a:latin typeface="Arial Narrow" pitchFamily="34" charset="0"/>
                          <a:ea typeface="+mn-ea"/>
                          <a:cs typeface="+mn-cs"/>
                        </a:rPr>
                        <a:t> yang </a:t>
                      </a:r>
                      <a:r>
                        <a:rPr lang="en-GB" sz="1600" b="0" kern="1200" dirty="0" err="1" smtClean="0">
                          <a:solidFill>
                            <a:schemeClr val="dk1"/>
                          </a:solidFill>
                          <a:latin typeface="Arial Narrow" pitchFamily="34" charset="0"/>
                          <a:ea typeface="+mn-ea"/>
                          <a:cs typeface="+mn-cs"/>
                        </a:rPr>
                        <a:t>lemah</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dan</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hambatan</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birokrasi</a:t>
                      </a:r>
                      <a:endParaRPr lang="en-GB" sz="1600" b="0" kern="1200" dirty="0" smtClean="0">
                        <a:solidFill>
                          <a:schemeClr val="dk1"/>
                        </a:solidFill>
                        <a:latin typeface="Arial Narrow" pitchFamily="34" charset="0"/>
                        <a:ea typeface="+mn-ea"/>
                        <a:cs typeface="+mn-cs"/>
                      </a:endParaRP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Ketertinggal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infrastruktur</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etidakpasti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gatur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egak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ukum</a:t>
                      </a:r>
                      <a:r>
                        <a:rPr lang="en-GB" sz="1600" b="0" kern="1200" baseline="0" dirty="0" smtClean="0">
                          <a:solidFill>
                            <a:schemeClr val="dk1"/>
                          </a:solidFill>
                          <a:latin typeface="Arial Narrow" pitchFamily="34" charset="0"/>
                          <a:ea typeface="+mn-ea"/>
                          <a:cs typeface="+mn-cs"/>
                        </a:rPr>
                        <a:t> </a:t>
                      </a: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dirty="0" err="1" smtClean="0">
                          <a:latin typeface="Arial Narrow" pitchFamily="34" charset="0"/>
                        </a:rPr>
                        <a:t>Kemudahan</a:t>
                      </a:r>
                      <a:r>
                        <a:rPr lang="en-GB" sz="1600" b="0" dirty="0" smtClean="0">
                          <a:latin typeface="Arial Narrow" pitchFamily="34" charset="0"/>
                        </a:rPr>
                        <a:t> </a:t>
                      </a:r>
                      <a:r>
                        <a:rPr lang="en-GB" sz="1600" b="0" dirty="0" err="1" smtClean="0">
                          <a:latin typeface="Arial Narrow" pitchFamily="34" charset="0"/>
                        </a:rPr>
                        <a:t>dalam</a:t>
                      </a:r>
                      <a:r>
                        <a:rPr lang="en-GB" sz="1600" b="0" dirty="0" smtClean="0">
                          <a:latin typeface="Arial Narrow" pitchFamily="34" charset="0"/>
                        </a:rPr>
                        <a:t> </a:t>
                      </a:r>
                      <a:r>
                        <a:rPr lang="en-GB" sz="1600" b="0" dirty="0" err="1" smtClean="0">
                          <a:latin typeface="Arial Narrow" pitchFamily="34" charset="0"/>
                        </a:rPr>
                        <a:t>berbisnis</a:t>
                      </a:r>
                      <a:r>
                        <a:rPr lang="en-GB" sz="1600" b="0" dirty="0" smtClean="0">
                          <a:latin typeface="Arial Narrow" pitchFamily="34" charset="0"/>
                        </a:rPr>
                        <a:t> yang </a:t>
                      </a:r>
                      <a:r>
                        <a:rPr lang="en-GB" sz="1600" b="0" dirty="0" err="1" smtClean="0">
                          <a:latin typeface="Arial Narrow" pitchFamily="34" charset="0"/>
                        </a:rPr>
                        <a:t>masih</a:t>
                      </a:r>
                      <a:r>
                        <a:rPr lang="en-GB" sz="1600" b="0" dirty="0" smtClean="0">
                          <a:latin typeface="Arial Narrow" pitchFamily="34" charset="0"/>
                        </a:rPr>
                        <a:t> </a:t>
                      </a:r>
                      <a:r>
                        <a:rPr lang="en-GB" sz="1600" b="0" dirty="0" err="1" smtClean="0">
                          <a:latin typeface="Arial Narrow" pitchFamily="34" charset="0"/>
                        </a:rPr>
                        <a:t>berada</a:t>
                      </a:r>
                      <a:r>
                        <a:rPr lang="en-GB" sz="1600" b="0" dirty="0" smtClean="0">
                          <a:latin typeface="Arial Narrow" pitchFamily="34" charset="0"/>
                        </a:rPr>
                        <a:t> di </a:t>
                      </a:r>
                      <a:r>
                        <a:rPr lang="en-GB" sz="1600" b="0" dirty="0" err="1" smtClean="0">
                          <a:latin typeface="Arial Narrow" pitchFamily="34" charset="0"/>
                        </a:rPr>
                        <a:t>bawah</a:t>
                      </a:r>
                      <a:r>
                        <a:rPr lang="en-GB" sz="1600" b="0" dirty="0" smtClean="0">
                          <a:latin typeface="Arial Narrow" pitchFamily="34" charset="0"/>
                        </a:rPr>
                        <a:t> median </a:t>
                      </a:r>
                      <a:r>
                        <a:rPr lang="en-GB" sz="1600" b="0" i="1" dirty="0" smtClean="0">
                          <a:latin typeface="Arial Narrow" pitchFamily="34" charset="0"/>
                        </a:rPr>
                        <a:t>peers</a:t>
                      </a:r>
                      <a:endParaRPr lang="en-GB" sz="1600" b="0" i="0" dirty="0" smtClean="0">
                        <a:latin typeface="Arial Narrow" pitchFamily="34" charset="0"/>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231775" marR="0" indent="-231775"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kern="1200" baseline="0" dirty="0" smtClean="0">
                        <a:solidFill>
                          <a:schemeClr val="dk1"/>
                        </a:solidFill>
                        <a:latin typeface="Arial Narrow" pitchFamily="34" charset="0"/>
                        <a:ea typeface="+mn-ea"/>
                        <a:cs typeface="+mn-cs"/>
                      </a:endParaRPr>
                    </a:p>
                  </a:txBody>
                  <a:tcPr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i="0" dirty="0" smtClean="0">
                        <a:latin typeface="Arial Narrow" pitchFamily="34" charset="0"/>
                      </a:endParaRPr>
                    </a:p>
                  </a:txBody>
                  <a:tcPr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r h="736979">
                <a:tc vMerge="1">
                  <a:txBody>
                    <a:bodyPr/>
                    <a:lstStyle/>
                    <a:p>
                      <a:pPr algn="ctr"/>
                      <a:endParaRPr lang="en-GB" sz="1400" b="1" dirty="0">
                        <a:solidFill>
                          <a:schemeClr val="bg1"/>
                        </a:solidFill>
                      </a:endParaRPr>
                    </a:p>
                  </a:txBody>
                  <a:tcPr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r>
                        <a:rPr lang="en-GB" sz="1600" b="0" kern="1200" baseline="0" dirty="0" smtClean="0">
                          <a:solidFill>
                            <a:schemeClr val="dk1"/>
                          </a:solidFill>
                          <a:latin typeface="Arial Narrow" pitchFamily="34" charset="0"/>
                          <a:ea typeface="+mn-ea"/>
                          <a:cs typeface="+mn-cs"/>
                        </a:rPr>
                        <a:t>Economic</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gridSpan="3">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Pendapatan</a:t>
                      </a:r>
                      <a:r>
                        <a:rPr lang="en-GB" sz="1600" b="0" kern="1200" baseline="0" dirty="0" smtClean="0">
                          <a:solidFill>
                            <a:schemeClr val="dk1"/>
                          </a:solidFill>
                          <a:latin typeface="Arial Narrow" pitchFamily="34" charset="0"/>
                          <a:ea typeface="+mn-ea"/>
                          <a:cs typeface="+mn-cs"/>
                        </a:rPr>
                        <a:t> per </a:t>
                      </a:r>
                      <a:r>
                        <a:rPr lang="en-GB" sz="1600" b="0" kern="1200" baseline="0" dirty="0" err="1" smtClean="0">
                          <a:solidFill>
                            <a:schemeClr val="dk1"/>
                          </a:solidFill>
                          <a:latin typeface="Arial Narrow" pitchFamily="34" charset="0"/>
                          <a:ea typeface="+mn-ea"/>
                          <a:cs typeface="+mn-cs"/>
                        </a:rPr>
                        <a:t>kapita</a:t>
                      </a:r>
                      <a:r>
                        <a:rPr lang="en-GB" sz="1600" b="0" kern="1200" baseline="0" dirty="0" smtClean="0">
                          <a:solidFill>
                            <a:schemeClr val="dk1"/>
                          </a:solidFill>
                          <a:latin typeface="Arial Narrow" pitchFamily="34" charset="0"/>
                          <a:ea typeface="+mn-ea"/>
                          <a:cs typeface="+mn-cs"/>
                        </a:rPr>
                        <a:t> yang </a:t>
                      </a:r>
                      <a:r>
                        <a:rPr lang="en-GB" sz="1600" b="0" kern="1200" baseline="0" dirty="0" err="1" smtClean="0">
                          <a:solidFill>
                            <a:schemeClr val="dk1"/>
                          </a:solidFill>
                          <a:latin typeface="Arial Narrow" pitchFamily="34" charset="0"/>
                          <a:ea typeface="+mn-ea"/>
                          <a:cs typeface="+mn-cs"/>
                        </a:rPr>
                        <a:t>relatif</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rendah</a:t>
                      </a:r>
                      <a:endParaRPr lang="en-GB" sz="1600" b="0" kern="1200" baseline="0" dirty="0" smtClean="0">
                        <a:solidFill>
                          <a:schemeClr val="dk1"/>
                        </a:solidFill>
                        <a:latin typeface="Arial Narrow" pitchFamily="34" charset="0"/>
                        <a:ea typeface="+mn-ea"/>
                        <a:cs typeface="+mn-cs"/>
                      </a:endParaRP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Ketergantung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erhadap</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ekspor</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omoditas</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itengah</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urun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arg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omoditas</a:t>
                      </a:r>
                      <a:endParaRPr lang="en-GB" sz="1600" b="0" kern="1200" baseline="0" dirty="0" smtClean="0">
                        <a:solidFill>
                          <a:schemeClr val="dk1"/>
                        </a:solidFill>
                        <a:latin typeface="Arial Narrow" pitchFamily="34" charset="0"/>
                        <a:ea typeface="+mn-ea"/>
                        <a:cs typeface="+mn-cs"/>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231775" marR="0" indent="-231775"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kern="1200" baseline="0" dirty="0" smtClean="0">
                        <a:solidFill>
                          <a:schemeClr val="dk1"/>
                        </a:solidFill>
                        <a:latin typeface="Arial Narrow" pitchFamily="34" charset="0"/>
                        <a:ea typeface="+mn-ea"/>
                        <a:cs typeface="+mn-cs"/>
                      </a:endParaRPr>
                    </a:p>
                  </a:txBody>
                  <a:tcPr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i="0" dirty="0" smtClean="0">
                        <a:latin typeface="Arial Narrow" pitchFamily="34" charset="0"/>
                      </a:endParaRPr>
                    </a:p>
                  </a:txBody>
                  <a:tcPr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r h="1534076">
                <a:tc vMerge="1">
                  <a:txBody>
                    <a:bodyPr/>
                    <a:lstStyle/>
                    <a:p>
                      <a:pPr algn="ctr"/>
                      <a:endParaRPr lang="en-GB" sz="1400" b="1" dirty="0">
                        <a:solidFill>
                          <a:schemeClr val="bg1"/>
                        </a:solidFill>
                      </a:endParaRPr>
                    </a:p>
                  </a:txBody>
                  <a:tcPr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r>
                        <a:rPr lang="en-GB" sz="1600" b="0" kern="1200" baseline="0" dirty="0" smtClean="0">
                          <a:solidFill>
                            <a:schemeClr val="dk1"/>
                          </a:solidFill>
                          <a:latin typeface="Arial Narrow" pitchFamily="34" charset="0"/>
                          <a:ea typeface="+mn-ea"/>
                          <a:cs typeface="+mn-cs"/>
                        </a:rPr>
                        <a:t>External</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gridSpan="3">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dirty="0" smtClean="0">
                          <a:solidFill>
                            <a:schemeClr val="dk1"/>
                          </a:solidFill>
                          <a:latin typeface="Arial Narrow" pitchFamily="34" charset="0"/>
                          <a:ea typeface="+mn-ea"/>
                          <a:cs typeface="+mn-cs"/>
                        </a:rPr>
                        <a:t>CAD</a:t>
                      </a:r>
                      <a:r>
                        <a:rPr lang="en-GB" sz="1600" b="0" kern="1200" baseline="0" dirty="0" smtClean="0">
                          <a:solidFill>
                            <a:schemeClr val="dk1"/>
                          </a:solidFill>
                          <a:latin typeface="Arial Narrow" pitchFamily="34" charset="0"/>
                          <a:ea typeface="+mn-ea"/>
                          <a:cs typeface="+mn-cs"/>
                        </a:rPr>
                        <a:t> yang </a:t>
                      </a:r>
                      <a:r>
                        <a:rPr lang="en-GB" sz="1600" b="0" kern="1200" baseline="0" dirty="0" err="1" smtClean="0">
                          <a:solidFill>
                            <a:schemeClr val="dk1"/>
                          </a:solidFill>
                          <a:latin typeface="Arial Narrow" pitchFamily="34" charset="0"/>
                          <a:ea typeface="+mn-ea"/>
                          <a:cs typeface="+mn-cs"/>
                        </a:rPr>
                        <a:t>berkelanjutan</a:t>
                      </a:r>
                      <a:r>
                        <a:rPr lang="en-GB" sz="1600" b="0" kern="1200" baseline="0" dirty="0" smtClean="0">
                          <a:solidFill>
                            <a:schemeClr val="dk1"/>
                          </a:solidFill>
                          <a:latin typeface="Arial Narrow" pitchFamily="34" charset="0"/>
                          <a:ea typeface="+mn-ea"/>
                          <a:cs typeface="+mn-cs"/>
                        </a:rPr>
                        <a:t>.</a:t>
                      </a: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Terdapat</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risiko</a:t>
                      </a:r>
                      <a:r>
                        <a:rPr lang="en-GB" sz="1600" b="0" kern="1200" baseline="0" dirty="0" smtClean="0">
                          <a:solidFill>
                            <a:schemeClr val="dk1"/>
                          </a:solidFill>
                          <a:latin typeface="Arial Narrow" pitchFamily="34" charset="0"/>
                          <a:ea typeface="+mn-ea"/>
                          <a:cs typeface="+mn-cs"/>
                        </a:rPr>
                        <a:t> </a:t>
                      </a:r>
                      <a:r>
                        <a:rPr lang="en-GB" sz="1600" b="0" i="1" kern="1200" baseline="0" dirty="0" smtClean="0">
                          <a:solidFill>
                            <a:schemeClr val="dk1"/>
                          </a:solidFill>
                          <a:latin typeface="Arial Narrow" pitchFamily="34" charset="0"/>
                          <a:ea typeface="+mn-ea"/>
                          <a:cs typeface="+mn-cs"/>
                        </a:rPr>
                        <a:t>capital reversal</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terkait</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sensitivitas</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pembiayaan</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eksternal</a:t>
                      </a:r>
                      <a:r>
                        <a:rPr lang="en-GB" sz="1600" b="0" i="0" kern="1200" baseline="0" dirty="0" smtClean="0">
                          <a:solidFill>
                            <a:schemeClr val="dk1"/>
                          </a:solidFill>
                          <a:latin typeface="Arial Narrow" pitchFamily="34" charset="0"/>
                          <a:ea typeface="+mn-ea"/>
                          <a:cs typeface="+mn-cs"/>
                        </a:rPr>
                        <a:t> yang </a:t>
                      </a:r>
                      <a:r>
                        <a:rPr lang="en-GB" sz="1600" b="0" i="0" kern="1200" baseline="0" dirty="0" err="1" smtClean="0">
                          <a:solidFill>
                            <a:schemeClr val="dk1"/>
                          </a:solidFill>
                          <a:latin typeface="Arial Narrow" pitchFamily="34" charset="0"/>
                          <a:ea typeface="+mn-ea"/>
                          <a:cs typeface="+mn-cs"/>
                        </a:rPr>
                        <a:t>tinggi</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terhadap</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persepsi</a:t>
                      </a:r>
                      <a:r>
                        <a:rPr lang="en-GB" sz="1600" b="0" i="0" kern="1200" baseline="0" dirty="0" smtClean="0">
                          <a:solidFill>
                            <a:schemeClr val="dk1"/>
                          </a:solidFill>
                          <a:latin typeface="Arial Narrow" pitchFamily="34" charset="0"/>
                          <a:ea typeface="+mn-ea"/>
                          <a:cs typeface="+mn-cs"/>
                        </a:rPr>
                        <a:t> investor </a:t>
                      </a:r>
                      <a:r>
                        <a:rPr lang="en-GB" sz="1600" b="0" i="0" kern="1200" baseline="0" dirty="0" err="1" smtClean="0">
                          <a:solidFill>
                            <a:schemeClr val="dk1"/>
                          </a:solidFill>
                          <a:latin typeface="Arial Narrow" pitchFamily="34" charset="0"/>
                          <a:ea typeface="+mn-ea"/>
                          <a:cs typeface="+mn-cs"/>
                        </a:rPr>
                        <a:t>asing</a:t>
                      </a:r>
                      <a:r>
                        <a:rPr lang="en-GB" sz="1600" b="0" i="0" kern="1200" baseline="0" dirty="0" smtClean="0">
                          <a:solidFill>
                            <a:schemeClr val="dk1"/>
                          </a:solidFill>
                          <a:latin typeface="Arial Narrow" pitchFamily="34" charset="0"/>
                          <a:ea typeface="+mn-ea"/>
                          <a:cs typeface="+mn-cs"/>
                        </a:rPr>
                        <a:t> </a:t>
                      </a: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dirty="0" err="1" smtClean="0">
                          <a:solidFill>
                            <a:schemeClr val="dk1"/>
                          </a:solidFill>
                          <a:latin typeface="Arial Narrow" pitchFamily="34" charset="0"/>
                          <a:ea typeface="+mn-ea"/>
                          <a:cs typeface="+mn-cs"/>
                        </a:rPr>
                        <a:t>Kepemilika</a:t>
                      </a:r>
                      <a:r>
                        <a:rPr lang="en-GB" sz="1600" b="0" kern="1200" baseline="0" dirty="0" err="1" smtClean="0">
                          <a:solidFill>
                            <a:schemeClr val="dk1"/>
                          </a:solidFill>
                          <a:latin typeface="Arial Narrow" pitchFamily="34" charset="0"/>
                          <a:ea typeface="+mn-ea"/>
                          <a:cs typeface="+mn-cs"/>
                        </a:rPr>
                        <a:t>n</a:t>
                      </a:r>
                      <a:r>
                        <a:rPr lang="en-GB" sz="1600" b="0" kern="1200" baseline="0" dirty="0" smtClean="0">
                          <a:solidFill>
                            <a:schemeClr val="dk1"/>
                          </a:solidFill>
                          <a:latin typeface="Arial Narrow" pitchFamily="34" charset="0"/>
                          <a:ea typeface="+mn-ea"/>
                          <a:cs typeface="+mn-cs"/>
                        </a:rPr>
                        <a:t> non-</a:t>
                      </a:r>
                      <a:r>
                        <a:rPr lang="en-GB" sz="1600" b="0" kern="1200" baseline="0" dirty="0" err="1" smtClean="0">
                          <a:solidFill>
                            <a:schemeClr val="dk1"/>
                          </a:solidFill>
                          <a:latin typeface="Arial Narrow" pitchFamily="34" charset="0"/>
                          <a:ea typeface="+mn-ea"/>
                          <a:cs typeface="+mn-cs"/>
                        </a:rPr>
                        <a:t>reside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erhadap</a:t>
                      </a:r>
                      <a:r>
                        <a:rPr lang="en-GB" sz="1600" b="0" kern="1200" baseline="0" dirty="0" smtClean="0">
                          <a:solidFill>
                            <a:schemeClr val="dk1"/>
                          </a:solidFill>
                          <a:latin typeface="Arial Narrow" pitchFamily="34" charset="0"/>
                          <a:ea typeface="+mn-ea"/>
                          <a:cs typeface="+mn-cs"/>
                        </a:rPr>
                        <a:t> SUN yang </a:t>
                      </a:r>
                      <a:r>
                        <a:rPr lang="en-GB" sz="1600" b="0" kern="1200" baseline="0" dirty="0" err="1" smtClean="0">
                          <a:solidFill>
                            <a:schemeClr val="dk1"/>
                          </a:solidFill>
                          <a:latin typeface="Arial Narrow" pitchFamily="34" charset="0"/>
                          <a:ea typeface="+mn-ea"/>
                          <a:cs typeface="+mn-cs"/>
                        </a:rPr>
                        <a:t>cukup</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besar</a:t>
                      </a:r>
                      <a:endParaRPr lang="en-GB" sz="1600" b="0" kern="1200" dirty="0" smtClean="0">
                        <a:solidFill>
                          <a:schemeClr val="dk1"/>
                        </a:solidFill>
                        <a:latin typeface="Arial Narrow" pitchFamily="34" charset="0"/>
                        <a:ea typeface="+mn-ea"/>
                        <a:cs typeface="+mn-cs"/>
                      </a:endParaRP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smtClean="0">
                          <a:solidFill>
                            <a:schemeClr val="dk1"/>
                          </a:solidFill>
                          <a:latin typeface="Arial Narrow" pitchFamily="34" charset="0"/>
                          <a:ea typeface="+mn-ea"/>
                          <a:cs typeface="+mn-cs"/>
                        </a:rPr>
                        <a:t>External vulnerability </a:t>
                      </a:r>
                      <a:r>
                        <a:rPr lang="en-GB" sz="1600" b="0" kern="1200" baseline="0" dirty="0" err="1" smtClean="0">
                          <a:solidFill>
                            <a:schemeClr val="dk1"/>
                          </a:solidFill>
                          <a:latin typeface="Arial Narrow" pitchFamily="34" charset="0"/>
                          <a:ea typeface="+mn-ea"/>
                          <a:cs typeface="+mn-cs"/>
                        </a:rPr>
                        <a:t>tingg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erutam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ingkatan</a:t>
                      </a:r>
                      <a:r>
                        <a:rPr lang="en-GB" sz="1600" b="0" kern="1200" baseline="0" dirty="0" smtClean="0">
                          <a:solidFill>
                            <a:schemeClr val="dk1"/>
                          </a:solidFill>
                          <a:latin typeface="Arial Narrow" pitchFamily="34" charset="0"/>
                          <a:ea typeface="+mn-ea"/>
                          <a:cs typeface="+mn-cs"/>
                        </a:rPr>
                        <a:t> ULN </a:t>
                      </a:r>
                      <a:r>
                        <a:rPr lang="en-GB" sz="1600" b="0" kern="1200" baseline="0" dirty="0" err="1" smtClean="0">
                          <a:solidFill>
                            <a:schemeClr val="dk1"/>
                          </a:solidFill>
                          <a:latin typeface="Arial Narrow" pitchFamily="34" charset="0"/>
                          <a:ea typeface="+mn-ea"/>
                          <a:cs typeface="+mn-cs"/>
                        </a:rPr>
                        <a:t>swast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lemah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Nila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ukar</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an</a:t>
                      </a:r>
                      <a:r>
                        <a:rPr lang="en-GB" sz="1600" b="0" kern="1200" baseline="0" dirty="0" smtClean="0">
                          <a:solidFill>
                            <a:schemeClr val="dk1"/>
                          </a:solidFill>
                          <a:latin typeface="Arial Narrow" pitchFamily="34" charset="0"/>
                          <a:ea typeface="+mn-ea"/>
                          <a:cs typeface="+mn-cs"/>
                        </a:rPr>
                        <a:t> hedging ULN yang </a:t>
                      </a:r>
                      <a:r>
                        <a:rPr lang="en-GB" sz="1600" b="0" kern="1200" baseline="0" dirty="0" err="1" smtClean="0">
                          <a:solidFill>
                            <a:schemeClr val="dk1"/>
                          </a:solidFill>
                          <a:latin typeface="Arial Narrow" pitchFamily="34" charset="0"/>
                          <a:ea typeface="+mn-ea"/>
                          <a:cs typeface="+mn-cs"/>
                        </a:rPr>
                        <a:t>masih</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erbatas</a:t>
                      </a:r>
                      <a:r>
                        <a:rPr lang="en-GB" sz="1600" b="0" kern="1200" baseline="0" dirty="0" smtClean="0">
                          <a:solidFill>
                            <a:schemeClr val="dk1"/>
                          </a:solidFill>
                          <a:latin typeface="Arial Narrow" pitchFamily="34" charset="0"/>
                          <a:ea typeface="+mn-ea"/>
                          <a:cs typeface="+mn-cs"/>
                        </a:rPr>
                        <a:t>.</a:t>
                      </a:r>
                      <a:endParaRPr lang="en-GB" sz="1600" b="0" kern="1200" dirty="0" smtClean="0">
                        <a:solidFill>
                          <a:schemeClr val="dk1"/>
                        </a:solidFill>
                        <a:latin typeface="Arial Narrow" pitchFamily="34" charset="0"/>
                        <a:ea typeface="+mn-ea"/>
                        <a:cs typeface="+mn-cs"/>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231775" marR="0" indent="-231775"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kern="1200" baseline="0" dirty="0" smtClean="0">
                        <a:solidFill>
                          <a:schemeClr val="dk1"/>
                        </a:solidFill>
                        <a:latin typeface="Arial Narrow" pitchFamily="34" charset="0"/>
                        <a:ea typeface="+mn-ea"/>
                        <a:cs typeface="+mn-cs"/>
                      </a:endParaRPr>
                    </a:p>
                  </a:txBody>
                  <a:tcPr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i="0" dirty="0" smtClean="0">
                        <a:latin typeface="Arial Narrow" pitchFamily="34" charset="0"/>
                      </a:endParaRPr>
                    </a:p>
                  </a:txBody>
                  <a:tcPr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r h="996287">
                <a:tc vMerge="1">
                  <a:txBody>
                    <a:bodyPr/>
                    <a:lstStyle/>
                    <a:p>
                      <a:pPr algn="ctr"/>
                      <a:endParaRPr lang="en-GB" sz="1400" b="1" dirty="0">
                        <a:solidFill>
                          <a:schemeClr val="bg1"/>
                        </a:solidFill>
                      </a:endParaRPr>
                    </a:p>
                  </a:txBody>
                  <a:tcPr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r>
                        <a:rPr lang="en-GB" sz="1600" b="0" kern="1200" baseline="0" dirty="0" smtClean="0">
                          <a:solidFill>
                            <a:schemeClr val="dk1"/>
                          </a:solidFill>
                          <a:latin typeface="Arial Narrow" pitchFamily="34" charset="0"/>
                          <a:ea typeface="+mn-ea"/>
                          <a:cs typeface="+mn-cs"/>
                        </a:rPr>
                        <a:t>Fiscal</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gridSpan="3">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nn-NO" sz="1600" b="0" i="0" dirty="0" smtClean="0">
                          <a:latin typeface="Arial Narrow" pitchFamily="34" charset="0"/>
                        </a:rPr>
                        <a:t>Realisasi proyek infrastruktur yang rendah.</a:t>
                      </a:r>
                    </a:p>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Komitme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merintah</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belum</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maksimal</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lm</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reforma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fiskal</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sepert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etap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arga</a:t>
                      </a:r>
                      <a:r>
                        <a:rPr lang="en-GB" sz="1600" b="0" kern="1200" baseline="0" dirty="0" smtClean="0">
                          <a:solidFill>
                            <a:schemeClr val="dk1"/>
                          </a:solidFill>
                          <a:latin typeface="Arial Narrow" pitchFamily="34" charset="0"/>
                          <a:ea typeface="+mn-ea"/>
                          <a:cs typeface="+mn-cs"/>
                        </a:rPr>
                        <a:t> BBM </a:t>
                      </a:r>
                      <a:r>
                        <a:rPr lang="en-GB" sz="1600" b="0" kern="1200" baseline="0" dirty="0" err="1" smtClean="0">
                          <a:solidFill>
                            <a:schemeClr val="dk1"/>
                          </a:solidFill>
                          <a:latin typeface="Arial Narrow" pitchFamily="34" charset="0"/>
                          <a:ea typeface="+mn-ea"/>
                          <a:cs typeface="+mn-cs"/>
                        </a:rPr>
                        <a:t>domestik</a:t>
                      </a:r>
                      <a:r>
                        <a:rPr lang="en-GB" sz="1600" b="0" kern="1200" baseline="0" dirty="0" smtClean="0">
                          <a:solidFill>
                            <a:schemeClr val="dk1"/>
                          </a:solidFill>
                          <a:latin typeface="Arial Narrow" pitchFamily="34" charset="0"/>
                          <a:ea typeface="+mn-ea"/>
                          <a:cs typeface="+mn-cs"/>
                        </a:rPr>
                        <a:t> yang </a:t>
                      </a:r>
                      <a:r>
                        <a:rPr lang="en-GB" sz="1600" b="0" kern="1200" baseline="0" dirty="0" err="1" smtClean="0">
                          <a:solidFill>
                            <a:schemeClr val="dk1"/>
                          </a:solidFill>
                          <a:latin typeface="Arial Narrow" pitchFamily="34" charset="0"/>
                          <a:ea typeface="+mn-ea"/>
                          <a:cs typeface="+mn-cs"/>
                        </a:rPr>
                        <a:t>belum</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sepenuhny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mengikut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arg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asar</a:t>
                      </a:r>
                      <a:r>
                        <a:rPr lang="en-GB" sz="1600" b="0" kern="1200" baseline="0" dirty="0" smtClean="0">
                          <a:solidFill>
                            <a:schemeClr val="dk1"/>
                          </a:solidFill>
                          <a:latin typeface="Arial Narrow" pitchFamily="34" charset="0"/>
                          <a:ea typeface="+mn-ea"/>
                          <a:cs typeface="+mn-cs"/>
                        </a:rPr>
                        <a:t>.</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231775" marR="0" indent="-231775"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kern="1200" baseline="0" dirty="0" smtClean="0">
                        <a:solidFill>
                          <a:schemeClr val="dk1"/>
                        </a:solidFill>
                        <a:latin typeface="Arial Narrow" pitchFamily="34" charset="0"/>
                        <a:ea typeface="+mn-ea"/>
                        <a:cs typeface="+mn-cs"/>
                      </a:endParaRPr>
                    </a:p>
                  </a:txBody>
                  <a:tcPr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i="0" dirty="0" smtClean="0">
                        <a:latin typeface="Arial Narrow" pitchFamily="34" charset="0"/>
                      </a:endParaRPr>
                    </a:p>
                  </a:txBody>
                  <a:tcPr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r h="668740">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endParaRPr lang="en-GB" sz="1400" b="1" dirty="0">
                        <a:solidFill>
                          <a:schemeClr val="bg1"/>
                        </a:solidFill>
                      </a:endParaRPr>
                    </a:p>
                  </a:txBody>
                  <a:tcPr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r>
                        <a:rPr lang="en-GB" sz="1600" b="0" kern="1200" dirty="0" smtClean="0">
                          <a:solidFill>
                            <a:schemeClr val="dk1"/>
                          </a:solidFill>
                          <a:latin typeface="Arial Narrow" pitchFamily="34" charset="0"/>
                          <a:ea typeface="+mn-ea"/>
                          <a:cs typeface="+mn-cs"/>
                        </a:rPr>
                        <a:t>Monetary</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gridSpan="3">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r>
                        <a:rPr lang="en-GB" sz="1600" b="0" kern="1200" dirty="0" err="1" smtClean="0">
                          <a:solidFill>
                            <a:schemeClr val="dk1"/>
                          </a:solidFill>
                          <a:latin typeface="Arial Narrow" pitchFamily="34" charset="0"/>
                          <a:ea typeface="+mn-ea"/>
                          <a:cs typeface="+mn-cs"/>
                        </a:rPr>
                        <a:t>Pasar</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keuangan</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domestik</a:t>
                      </a:r>
                      <a:r>
                        <a:rPr lang="en-GB" sz="1600" b="0" kern="1200" dirty="0" smtClean="0">
                          <a:solidFill>
                            <a:schemeClr val="dk1"/>
                          </a:solidFill>
                          <a:latin typeface="Arial Narrow" pitchFamily="34" charset="0"/>
                          <a:ea typeface="+mn-ea"/>
                          <a:cs typeface="+mn-cs"/>
                        </a:rPr>
                        <a:t> yang </a:t>
                      </a:r>
                      <a:r>
                        <a:rPr lang="en-GB" sz="1600" b="0" kern="1200" dirty="0" err="1" smtClean="0">
                          <a:solidFill>
                            <a:schemeClr val="dk1"/>
                          </a:solidFill>
                          <a:latin typeface="Arial Narrow" pitchFamily="34" charset="0"/>
                          <a:ea typeface="+mn-ea"/>
                          <a:cs typeface="+mn-cs"/>
                        </a:rPr>
                        <a:t>dangkal</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dan</a:t>
                      </a:r>
                      <a:r>
                        <a:rPr lang="en-GB" sz="1600" b="0" kern="1200" dirty="0" smtClean="0">
                          <a:solidFill>
                            <a:schemeClr val="dk1"/>
                          </a:solidFill>
                          <a:latin typeface="Arial Narrow" pitchFamily="34" charset="0"/>
                          <a:ea typeface="+mn-ea"/>
                          <a:cs typeface="+mn-cs"/>
                        </a:rPr>
                        <a:t> </a:t>
                      </a:r>
                      <a:r>
                        <a:rPr lang="en-GB" sz="1600" b="0" i="1" kern="1200" dirty="0" smtClean="0">
                          <a:solidFill>
                            <a:schemeClr val="dk1"/>
                          </a:solidFill>
                          <a:latin typeface="Arial Narrow" pitchFamily="34" charset="0"/>
                          <a:ea typeface="+mn-ea"/>
                          <a:cs typeface="+mn-cs"/>
                        </a:rPr>
                        <a:t>volatile</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menimbulkan</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ketergantungan</a:t>
                      </a:r>
                      <a:r>
                        <a:rPr lang="en-GB" sz="1600" b="0" kern="1200" dirty="0" smtClean="0">
                          <a:solidFill>
                            <a:schemeClr val="dk1"/>
                          </a:solidFill>
                          <a:latin typeface="Arial Narrow" pitchFamily="34" charset="0"/>
                          <a:ea typeface="+mn-ea"/>
                          <a:cs typeface="+mn-cs"/>
                        </a:rPr>
                        <a:t> </a:t>
                      </a:r>
                      <a:r>
                        <a:rPr lang="en-GB" sz="1600" b="0" kern="1200" dirty="0" err="1" smtClean="0">
                          <a:solidFill>
                            <a:schemeClr val="dk1"/>
                          </a:solidFill>
                          <a:latin typeface="Arial Narrow" pitchFamily="34" charset="0"/>
                          <a:ea typeface="+mn-ea"/>
                          <a:cs typeface="+mn-cs"/>
                        </a:rPr>
                        <a:t>pada</a:t>
                      </a:r>
                      <a:r>
                        <a:rPr lang="en-GB" sz="1600" b="0" kern="1200" dirty="0" smtClean="0">
                          <a:solidFill>
                            <a:schemeClr val="dk1"/>
                          </a:solidFill>
                          <a:latin typeface="Arial Narrow" pitchFamily="34" charset="0"/>
                          <a:ea typeface="+mn-ea"/>
                          <a:cs typeface="+mn-cs"/>
                        </a:rPr>
                        <a:t> </a:t>
                      </a:r>
                      <a:r>
                        <a:rPr lang="en-GB" sz="1600" b="0" i="1" kern="1200" dirty="0" smtClean="0">
                          <a:solidFill>
                            <a:schemeClr val="dk1"/>
                          </a:solidFill>
                          <a:latin typeface="Arial Narrow" pitchFamily="34" charset="0"/>
                          <a:ea typeface="+mn-ea"/>
                          <a:cs typeface="+mn-cs"/>
                        </a:rPr>
                        <a:t>external financing</a:t>
                      </a:r>
                      <a:r>
                        <a:rPr lang="en-GB" sz="1600" b="0" kern="1200" dirty="0" smtClean="0">
                          <a:solidFill>
                            <a:schemeClr val="dk1"/>
                          </a:solidFill>
                          <a:latin typeface="Arial Narrow" pitchFamily="34" charset="0"/>
                          <a:ea typeface="+mn-ea"/>
                          <a:cs typeface="+mn-cs"/>
                        </a:rPr>
                        <a:t>.</a:t>
                      </a: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None/>
                        <a:tabLst/>
                        <a:defRPr/>
                      </a:pPr>
                      <a:endParaRPr lang="en-GB" sz="1600" b="0" kern="1200" baseline="0" dirty="0" smtClean="0">
                        <a:solidFill>
                          <a:schemeClr val="dk1"/>
                        </a:solidFill>
                        <a:latin typeface="Arial Narrow" pitchFamily="34" charset="0"/>
                        <a:ea typeface="+mn-ea"/>
                        <a:cs typeface="+mn-cs"/>
                      </a:endParaRPr>
                    </a:p>
                  </a:txBody>
                  <a:tcPr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h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7800" marR="0" indent="-177800" algn="l" defTabSz="914400" rtl="0" eaLnBrk="1" fontAlgn="auto" latinLnBrk="0" hangingPunct="1">
                        <a:lnSpc>
                          <a:spcPct val="100000"/>
                        </a:lnSpc>
                        <a:spcBef>
                          <a:spcPts val="600"/>
                        </a:spcBef>
                        <a:spcAft>
                          <a:spcPts val="0"/>
                        </a:spcAft>
                        <a:buClr>
                          <a:schemeClr val="accent5">
                            <a:lumMod val="25000"/>
                          </a:schemeClr>
                        </a:buClr>
                        <a:buSzTx/>
                        <a:buFont typeface="Arial" pitchFamily="34" charset="0"/>
                        <a:buChar char="•"/>
                        <a:tabLst/>
                        <a:defRPr/>
                      </a:pPr>
                      <a:endParaRPr lang="en-GB" sz="1600" b="0" i="0" dirty="0" smtClean="0">
                        <a:latin typeface="Arial Narrow" pitchFamily="34" charset="0"/>
                      </a:endParaRPr>
                    </a:p>
                  </a:txBody>
                  <a:tcPr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bl>
          </a:graphicData>
        </a:graphic>
      </p:graphicFrame>
      <p:pic>
        <p:nvPicPr>
          <p:cNvPr id="6" name="Picture 5" descr="Fitch_Ratings_Logo.jpg"/>
          <p:cNvPicPr>
            <a:picLocks noChangeAspect="1"/>
          </p:cNvPicPr>
          <p:nvPr/>
        </p:nvPicPr>
        <p:blipFill>
          <a:blip r:embed="rId2"/>
          <a:stretch>
            <a:fillRect/>
          </a:stretch>
        </p:blipFill>
        <p:spPr>
          <a:xfrm>
            <a:off x="2807818" y="959203"/>
            <a:ext cx="1143000" cy="270824"/>
          </a:xfrm>
          <a:prstGeom prst="rect">
            <a:avLst/>
          </a:prstGeom>
        </p:spPr>
      </p:pic>
      <p:pic>
        <p:nvPicPr>
          <p:cNvPr id="7" name="Picture 6" descr="Moody's investor service.jpg"/>
          <p:cNvPicPr>
            <a:picLocks noChangeAspect="1"/>
          </p:cNvPicPr>
          <p:nvPr/>
        </p:nvPicPr>
        <p:blipFill>
          <a:blip r:embed="rId3"/>
          <a:stretch>
            <a:fillRect/>
          </a:stretch>
        </p:blipFill>
        <p:spPr>
          <a:xfrm>
            <a:off x="139339" y="845096"/>
            <a:ext cx="1046284" cy="376055"/>
          </a:xfrm>
          <a:prstGeom prst="rect">
            <a:avLst/>
          </a:prstGeom>
        </p:spPr>
      </p:pic>
      <p:pic>
        <p:nvPicPr>
          <p:cNvPr id="8" name="Picture 7" descr="Standard&amp;Poors.svg.png"/>
          <p:cNvPicPr>
            <a:picLocks noChangeAspect="1"/>
          </p:cNvPicPr>
          <p:nvPr/>
        </p:nvPicPr>
        <p:blipFill>
          <a:blip r:embed="rId4"/>
          <a:stretch>
            <a:fillRect/>
          </a:stretch>
        </p:blipFill>
        <p:spPr>
          <a:xfrm>
            <a:off x="1473880" y="849576"/>
            <a:ext cx="856870" cy="380451"/>
          </a:xfrm>
          <a:prstGeom prst="rect">
            <a:avLst/>
          </a:prstGeom>
        </p:spPr>
      </p:pic>
      <p:grpSp>
        <p:nvGrpSpPr>
          <p:cNvPr id="11" name="Group 13"/>
          <p:cNvGrpSpPr/>
          <p:nvPr/>
        </p:nvGrpSpPr>
        <p:grpSpPr>
          <a:xfrm>
            <a:off x="0" y="0"/>
            <a:ext cx="8656320" cy="548640"/>
            <a:chOff x="0" y="0"/>
            <a:chExt cx="8656320" cy="548640"/>
          </a:xfrm>
        </p:grpSpPr>
        <p:sp>
          <p:nvSpPr>
            <p:cNvPr id="12" name="Rectangle 11"/>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3" name="Rectangle 12"/>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4" name="Title 1"/>
          <p:cNvSpPr txBox="1">
            <a:spLocks/>
          </p:cNvSpPr>
          <p:nvPr/>
        </p:nvSpPr>
        <p:spPr>
          <a:xfrm>
            <a:off x="0" y="26894"/>
            <a:ext cx="9144000" cy="487362"/>
          </a:xfrm>
          <a:prstGeom prst="rect">
            <a:avLst/>
          </a:prstGeom>
        </p:spPr>
        <p:txBody>
          <a:bodyPr anchor="ctr"/>
          <a:lstStyle>
            <a:lvl1pPr algn="ctr" rtl="0" eaLnBrk="0" fontAlgn="base" hangingPunct="0">
              <a:spcBef>
                <a:spcPct val="0"/>
              </a:spcBef>
              <a:spcAft>
                <a:spcPct val="0"/>
              </a:spcAft>
              <a:defRPr sz="2200" b="1" kern="1200">
                <a:solidFill>
                  <a:srgbClr val="1B587C"/>
                </a:solidFill>
                <a:latin typeface="Optima" panose="020B0500000000000000" pitchFamily="34" charset="0"/>
                <a:ea typeface="MS PGothic"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US" sz="2400" dirty="0" err="1"/>
              <a:t>Tantangan</a:t>
            </a:r>
            <a:r>
              <a:rPr lang="en-US" sz="2400" dirty="0"/>
              <a:t> Indonesia </a:t>
            </a:r>
            <a:r>
              <a:rPr lang="en-US" sz="2400" dirty="0" err="1"/>
              <a:t>menurut</a:t>
            </a:r>
            <a:r>
              <a:rPr lang="en-US" sz="2400" dirty="0"/>
              <a:t> </a:t>
            </a:r>
            <a:r>
              <a:rPr lang="en-US" sz="2400" dirty="0" err="1"/>
              <a:t>Lembaga</a:t>
            </a:r>
            <a:r>
              <a:rPr lang="en-US" sz="2400" dirty="0"/>
              <a:t> </a:t>
            </a:r>
            <a:r>
              <a:rPr lang="en-US" sz="2400" dirty="0" err="1"/>
              <a:t>Pemeringkat</a:t>
            </a:r>
            <a:endParaRPr lang="en-US" sz="2400" dirty="0">
              <a:solidFill>
                <a:srgbClr val="000066"/>
              </a:solidFill>
              <a:latin typeface="Eras Demi ITC" pitchFamily="34" charset="0"/>
            </a:endParaRPr>
          </a:p>
        </p:txBody>
      </p:sp>
      <p:sp>
        <p:nvSpPr>
          <p:cNvPr id="15" name="TextBox 14"/>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49</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28973056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04" name="Title 12"/>
          <p:cNvSpPr txBox="1">
            <a:spLocks/>
          </p:cNvSpPr>
          <p:nvPr/>
        </p:nvSpPr>
        <p:spPr bwMode="auto">
          <a:xfrm>
            <a:off x="1" y="0"/>
            <a:ext cx="6975475" cy="763588"/>
          </a:xfrm>
          <a:prstGeom prst="rect">
            <a:avLst/>
          </a:prstGeom>
          <a:noFill/>
          <a:ln w="9525">
            <a:noFill/>
            <a:miter lim="800000"/>
            <a:headEnd/>
            <a:tailEnd/>
          </a:ln>
        </p:spPr>
        <p:txBody>
          <a:bodyPr anchor="ctr"/>
          <a:lstStyle/>
          <a:p>
            <a:pPr eaLnBrk="1" hangingPunct="1">
              <a:lnSpc>
                <a:spcPct val="90000"/>
              </a:lnSpc>
            </a:pPr>
            <a:r>
              <a:rPr lang="id-ID" sz="2000" b="1" dirty="0">
                <a:solidFill>
                  <a:srgbClr val="1F497D"/>
                </a:solidFill>
              </a:rPr>
              <a:t>Perlambatan pertumbuhan ekonomi global menjadi fenomena umum</a:t>
            </a:r>
          </a:p>
          <a:p>
            <a:pPr eaLnBrk="1" hangingPunct="1">
              <a:lnSpc>
                <a:spcPct val="90000"/>
              </a:lnSpc>
            </a:pPr>
            <a:r>
              <a:rPr lang="en-US" sz="1400" i="1" dirty="0">
                <a:solidFill>
                  <a:srgbClr val="1F497D"/>
                </a:solidFill>
              </a:rPr>
              <a:t>…</a:t>
            </a:r>
            <a:r>
              <a:rPr lang="en-US" sz="1400" i="1" dirty="0" err="1">
                <a:solidFill>
                  <a:srgbClr val="1F497D"/>
                </a:solidFill>
              </a:rPr>
              <a:t>terjadi</a:t>
            </a:r>
            <a:r>
              <a:rPr lang="en-US" sz="1400" i="1" dirty="0">
                <a:solidFill>
                  <a:srgbClr val="1F497D"/>
                </a:solidFill>
              </a:rPr>
              <a:t> </a:t>
            </a:r>
            <a:r>
              <a:rPr lang="en-US" sz="1400" i="1" dirty="0" err="1">
                <a:solidFill>
                  <a:srgbClr val="1F497D"/>
                </a:solidFill>
              </a:rPr>
              <a:t>pada</a:t>
            </a:r>
            <a:r>
              <a:rPr lang="en-US" sz="1400" i="1" dirty="0">
                <a:solidFill>
                  <a:srgbClr val="1F497D"/>
                </a:solidFill>
              </a:rPr>
              <a:t> </a:t>
            </a:r>
            <a:r>
              <a:rPr lang="en-US" sz="1400" i="1" dirty="0" err="1">
                <a:solidFill>
                  <a:srgbClr val="1F497D"/>
                </a:solidFill>
              </a:rPr>
              <a:t>negara</a:t>
            </a:r>
            <a:r>
              <a:rPr lang="en-US" sz="1400" i="1" dirty="0">
                <a:solidFill>
                  <a:srgbClr val="1F497D"/>
                </a:solidFill>
              </a:rPr>
              <a:t> </a:t>
            </a:r>
            <a:r>
              <a:rPr lang="en-US" sz="1400" i="1" dirty="0" err="1">
                <a:solidFill>
                  <a:srgbClr val="1F497D"/>
                </a:solidFill>
              </a:rPr>
              <a:t>maju</a:t>
            </a:r>
            <a:r>
              <a:rPr lang="en-US" sz="1400" i="1" dirty="0">
                <a:solidFill>
                  <a:srgbClr val="1F497D"/>
                </a:solidFill>
              </a:rPr>
              <a:t> </a:t>
            </a:r>
            <a:r>
              <a:rPr lang="en-US" sz="1400" i="1" dirty="0" err="1">
                <a:solidFill>
                  <a:srgbClr val="1F497D"/>
                </a:solidFill>
              </a:rPr>
              <a:t>dan</a:t>
            </a:r>
            <a:r>
              <a:rPr lang="en-US" sz="1400" i="1" dirty="0">
                <a:solidFill>
                  <a:srgbClr val="1F497D"/>
                </a:solidFill>
              </a:rPr>
              <a:t> </a:t>
            </a:r>
            <a:r>
              <a:rPr lang="en-US" sz="1400" i="1" dirty="0" err="1">
                <a:solidFill>
                  <a:srgbClr val="1F497D"/>
                </a:solidFill>
              </a:rPr>
              <a:t>berkembang</a:t>
            </a:r>
            <a:r>
              <a:rPr lang="en-US" sz="1400" i="1" dirty="0">
                <a:solidFill>
                  <a:srgbClr val="1F497D"/>
                </a:solidFill>
              </a:rPr>
              <a:t>, </a:t>
            </a:r>
            <a:r>
              <a:rPr lang="en-US" sz="1400" i="1" dirty="0" err="1">
                <a:solidFill>
                  <a:srgbClr val="1F497D"/>
                </a:solidFill>
              </a:rPr>
              <a:t>termasuk</a:t>
            </a:r>
            <a:r>
              <a:rPr lang="en-US" sz="1400" i="1" dirty="0">
                <a:solidFill>
                  <a:srgbClr val="1F497D"/>
                </a:solidFill>
              </a:rPr>
              <a:t> Indonesia</a:t>
            </a:r>
          </a:p>
        </p:txBody>
      </p:sp>
      <p:graphicFrame>
        <p:nvGraphicFramePr>
          <p:cNvPr id="31" name="Chart 30"/>
          <p:cNvGraphicFramePr>
            <a:graphicFrameLocks/>
          </p:cNvGraphicFramePr>
          <p:nvPr>
            <p:extLst>
              <p:ext uri="{D42A27DB-BD31-4B8C-83A1-F6EECF244321}">
                <p14:modId xmlns:p14="http://schemas.microsoft.com/office/powerpoint/2010/main" val="3907304498"/>
              </p:ext>
            </p:extLst>
          </p:nvPr>
        </p:nvGraphicFramePr>
        <p:xfrm>
          <a:off x="181778" y="4396076"/>
          <a:ext cx="8884068" cy="24619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p:cNvGraphicFramePr>
            <a:graphicFrameLocks/>
          </p:cNvGraphicFramePr>
          <p:nvPr>
            <p:extLst>
              <p:ext uri="{D42A27DB-BD31-4B8C-83A1-F6EECF244321}">
                <p14:modId xmlns:p14="http://schemas.microsoft.com/office/powerpoint/2010/main" val="3042200083"/>
              </p:ext>
            </p:extLst>
          </p:nvPr>
        </p:nvGraphicFramePr>
        <p:xfrm>
          <a:off x="1451891" y="1355448"/>
          <a:ext cx="4925519" cy="2565400"/>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 Placeholder 9"/>
          <p:cNvSpPr txBox="1">
            <a:spLocks/>
          </p:cNvSpPr>
          <p:nvPr/>
        </p:nvSpPr>
        <p:spPr bwMode="auto">
          <a:xfrm>
            <a:off x="227898" y="3951058"/>
            <a:ext cx="4086957" cy="238339"/>
          </a:xfrm>
          <a:prstGeom prst="rect">
            <a:avLst/>
          </a:prstGeom>
          <a:noFill/>
          <a:ln w="9525">
            <a:noFill/>
            <a:miter lim="800000"/>
            <a:headEnd/>
            <a:tailEnd/>
          </a:ln>
        </p:spPr>
        <p:txBody>
          <a:bodyPr lIns="77911" tIns="38955" rIns="77911" bIns="38955" anchor="b"/>
          <a:lstStyle/>
          <a:p>
            <a:pPr defTabSz="718007">
              <a:defRPr/>
            </a:pPr>
            <a:r>
              <a:rPr lang="en-US" sz="1400" b="1" dirty="0" err="1">
                <a:solidFill>
                  <a:srgbClr val="4BACC6">
                    <a:lumMod val="50000"/>
                  </a:srgbClr>
                </a:solidFill>
                <a:cs typeface="Calibri"/>
              </a:rPr>
              <a:t>Pertumbuhan</a:t>
            </a:r>
            <a:r>
              <a:rPr lang="en-US" sz="1400" b="1" dirty="0">
                <a:solidFill>
                  <a:srgbClr val="4BACC6">
                    <a:lumMod val="50000"/>
                  </a:srgbClr>
                </a:solidFill>
                <a:cs typeface="Calibri"/>
              </a:rPr>
              <a:t> </a:t>
            </a:r>
            <a:r>
              <a:rPr lang="en-US" sz="1400" b="1" dirty="0" err="1">
                <a:solidFill>
                  <a:srgbClr val="4BACC6">
                    <a:lumMod val="50000"/>
                  </a:srgbClr>
                </a:solidFill>
                <a:cs typeface="Calibri"/>
              </a:rPr>
              <a:t>Ekonomi</a:t>
            </a:r>
            <a:r>
              <a:rPr lang="en-US" sz="1400" b="1" dirty="0">
                <a:solidFill>
                  <a:srgbClr val="4BACC6">
                    <a:lumMod val="50000"/>
                  </a:srgbClr>
                </a:solidFill>
                <a:cs typeface="Calibri"/>
              </a:rPr>
              <a:t> </a:t>
            </a:r>
            <a:r>
              <a:rPr lang="en-US" sz="1400" b="1" i="1" dirty="0">
                <a:solidFill>
                  <a:srgbClr val="4BACC6">
                    <a:lumMod val="50000"/>
                  </a:srgbClr>
                </a:solidFill>
                <a:cs typeface="Calibri"/>
              </a:rPr>
              <a:t>Emerging Market </a:t>
            </a:r>
            <a:r>
              <a:rPr lang="en-US" sz="1400" b="1" dirty="0">
                <a:solidFill>
                  <a:srgbClr val="4BACC6">
                    <a:lumMod val="50000"/>
                  </a:srgbClr>
                </a:solidFill>
                <a:cs typeface="Calibri"/>
              </a:rPr>
              <a:t>(</a:t>
            </a:r>
            <a:r>
              <a:rPr lang="id-ID" sz="1400" b="1" dirty="0">
                <a:solidFill>
                  <a:srgbClr val="4BACC6">
                    <a:lumMod val="50000"/>
                  </a:srgbClr>
                </a:solidFill>
                <a:cs typeface="Calibri"/>
              </a:rPr>
              <a:t>% Yo</a:t>
            </a:r>
            <a:r>
              <a:rPr lang="en-US" sz="1400" b="1" dirty="0">
                <a:solidFill>
                  <a:srgbClr val="4BACC6">
                    <a:lumMod val="50000"/>
                  </a:srgbClr>
                </a:solidFill>
                <a:cs typeface="Calibri"/>
              </a:rPr>
              <a:t>Y)</a:t>
            </a:r>
            <a:endParaRPr lang="id-ID" sz="1400" b="1" dirty="0">
              <a:solidFill>
                <a:srgbClr val="4BACC6">
                  <a:lumMod val="50000"/>
                </a:srgbClr>
              </a:solidFill>
              <a:cs typeface="Calibri"/>
            </a:endParaRPr>
          </a:p>
        </p:txBody>
      </p:sp>
      <p:sp>
        <p:nvSpPr>
          <p:cNvPr id="37" name="Rectangle 36"/>
          <p:cNvSpPr/>
          <p:nvPr/>
        </p:nvSpPr>
        <p:spPr>
          <a:xfrm>
            <a:off x="215005" y="4205738"/>
            <a:ext cx="4086957" cy="42203"/>
          </a:xfrm>
          <a:prstGeom prst="rect">
            <a:avLst/>
          </a:prstGeom>
          <a:gradFill flip="none" rotWithShape="1">
            <a:gsLst>
              <a:gs pos="47000">
                <a:schemeClr val="tx2"/>
              </a:gs>
              <a:gs pos="100000">
                <a:schemeClr val="bg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7911" tIns="38955" rIns="77911" bIns="38955" anchor="ctr"/>
          <a:lstStyle/>
          <a:p>
            <a:pPr algn="ctr" defTabSz="779150">
              <a:defRPr/>
            </a:pPr>
            <a:endParaRPr lang="en-GB" sz="1534" dirty="0">
              <a:latin typeface="Calibri"/>
              <a:cs typeface="Calibri"/>
            </a:endParaRPr>
          </a:p>
        </p:txBody>
      </p:sp>
      <p:cxnSp>
        <p:nvCxnSpPr>
          <p:cNvPr id="38" name="Straight Arrow Connector 37"/>
          <p:cNvCxnSpPr/>
          <p:nvPr/>
        </p:nvCxnSpPr>
        <p:spPr>
          <a:xfrm>
            <a:off x="6153649" y="5224744"/>
            <a:ext cx="200475" cy="192652"/>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rot="16200000">
            <a:off x="-236924" y="5226376"/>
            <a:ext cx="758758" cy="215444"/>
          </a:xfrm>
          <a:prstGeom prst="rect">
            <a:avLst/>
          </a:prstGeom>
          <a:noFill/>
        </p:spPr>
        <p:txBody>
          <a:bodyPr wrap="square">
            <a:spAutoFit/>
          </a:bodyPr>
          <a:lstStyle/>
          <a:p>
            <a:pPr>
              <a:defRPr/>
            </a:pPr>
            <a:r>
              <a:rPr lang="en-US" sz="800" b="1" i="1" dirty="0">
                <a:solidFill>
                  <a:schemeClr val="tx1">
                    <a:lumMod val="65000"/>
                    <a:lumOff val="35000"/>
                  </a:schemeClr>
                </a:solidFill>
                <a:latin typeface="Calibri"/>
                <a:ea typeface="ＭＳ Ｐゴシック" pitchFamily="34" charset="-128"/>
                <a:cs typeface="Calibri"/>
              </a:rPr>
              <a:t>Source: </a:t>
            </a:r>
            <a:r>
              <a:rPr lang="id-ID" sz="800" b="1" i="1" dirty="0">
                <a:solidFill>
                  <a:schemeClr val="tx1">
                    <a:lumMod val="65000"/>
                    <a:lumOff val="35000"/>
                  </a:schemeClr>
                </a:solidFill>
                <a:latin typeface="Calibri"/>
                <a:ea typeface="ＭＳ Ｐゴシック" pitchFamily="34" charset="-128"/>
                <a:cs typeface="Calibri"/>
              </a:rPr>
              <a:t>CEIC</a:t>
            </a:r>
            <a:endParaRPr lang="en-US" sz="800" b="1" i="1" dirty="0">
              <a:solidFill>
                <a:schemeClr val="tx1">
                  <a:lumMod val="65000"/>
                  <a:lumOff val="35000"/>
                </a:schemeClr>
              </a:solidFill>
              <a:latin typeface="Calibri"/>
              <a:ea typeface="ＭＳ Ｐゴシック" pitchFamily="34" charset="-128"/>
              <a:cs typeface="Calibri"/>
            </a:endParaRPr>
          </a:p>
        </p:txBody>
      </p:sp>
      <p:sp>
        <p:nvSpPr>
          <p:cNvPr id="40" name="Rectangle 39"/>
          <p:cNvSpPr/>
          <p:nvPr/>
        </p:nvSpPr>
        <p:spPr>
          <a:xfrm>
            <a:off x="3025670" y="4370489"/>
            <a:ext cx="845944" cy="2142254"/>
          </a:xfrm>
          <a:prstGeom prst="rect">
            <a:avLst/>
          </a:prstGeom>
          <a:noFill/>
          <a:ln w="28575">
            <a:solidFill>
              <a:srgbClr val="0000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d-ID" sz="1662">
              <a:latin typeface="Calibri"/>
              <a:cs typeface="Calibri"/>
            </a:endParaRPr>
          </a:p>
        </p:txBody>
      </p:sp>
      <p:sp>
        <p:nvSpPr>
          <p:cNvPr id="41" name="Rectangle 40"/>
          <p:cNvSpPr/>
          <p:nvPr/>
        </p:nvSpPr>
        <p:spPr>
          <a:xfrm>
            <a:off x="505461" y="4359792"/>
            <a:ext cx="1671682" cy="2147375"/>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d-ID" sz="1662">
              <a:latin typeface="Calibri"/>
              <a:cs typeface="Calibri"/>
            </a:endParaRPr>
          </a:p>
        </p:txBody>
      </p:sp>
      <p:sp>
        <p:nvSpPr>
          <p:cNvPr id="48" name="TextBox 47"/>
          <p:cNvSpPr txBox="1"/>
          <p:nvPr/>
        </p:nvSpPr>
        <p:spPr>
          <a:xfrm>
            <a:off x="517396" y="4365105"/>
            <a:ext cx="1595254" cy="769441"/>
          </a:xfrm>
          <a:prstGeom prst="rect">
            <a:avLst/>
          </a:prstGeom>
          <a:noFill/>
        </p:spPr>
        <p:txBody>
          <a:bodyPr wrap="square" rtlCol="0">
            <a:spAutoFit/>
          </a:bodyPr>
          <a:lstStyle/>
          <a:p>
            <a:r>
              <a:rPr lang="en-US" sz="1100" b="1" i="1" dirty="0" err="1" smtClean="0">
                <a:solidFill>
                  <a:srgbClr val="FF0000"/>
                </a:solidFill>
                <a:latin typeface="Calibri"/>
                <a:cs typeface="Calibri"/>
              </a:rPr>
              <a:t>Perlambatan</a:t>
            </a:r>
            <a:r>
              <a:rPr lang="en-US" sz="1100" b="1" i="1" dirty="0" smtClean="0">
                <a:solidFill>
                  <a:srgbClr val="FF0000"/>
                </a:solidFill>
                <a:latin typeface="Calibri"/>
                <a:cs typeface="Calibri"/>
              </a:rPr>
              <a:t> </a:t>
            </a:r>
            <a:r>
              <a:rPr lang="en-US" sz="1100" b="1" i="1" dirty="0" err="1" smtClean="0">
                <a:solidFill>
                  <a:srgbClr val="FF0000"/>
                </a:solidFill>
                <a:latin typeface="Calibri"/>
                <a:cs typeface="Calibri"/>
              </a:rPr>
              <a:t>pertumbuhan</a:t>
            </a:r>
            <a:r>
              <a:rPr lang="en-US" sz="1100" b="1" i="1" dirty="0" smtClean="0">
                <a:solidFill>
                  <a:srgbClr val="FF0000"/>
                </a:solidFill>
                <a:latin typeface="Calibri"/>
                <a:cs typeface="Calibri"/>
              </a:rPr>
              <a:t> </a:t>
            </a:r>
            <a:r>
              <a:rPr lang="en-US" sz="1100" b="1" i="1" dirty="0" err="1" smtClean="0">
                <a:solidFill>
                  <a:srgbClr val="FF0000"/>
                </a:solidFill>
                <a:latin typeface="Calibri"/>
                <a:cs typeface="Calibri"/>
              </a:rPr>
              <a:t>terjadi</a:t>
            </a:r>
            <a:r>
              <a:rPr lang="en-US" sz="1100" b="1" i="1" dirty="0" smtClean="0">
                <a:solidFill>
                  <a:srgbClr val="FF0000"/>
                </a:solidFill>
                <a:latin typeface="Calibri"/>
                <a:cs typeface="Calibri"/>
              </a:rPr>
              <a:t> </a:t>
            </a:r>
            <a:r>
              <a:rPr lang="en-US" sz="1100" b="1" i="1" dirty="0" err="1" smtClean="0">
                <a:solidFill>
                  <a:srgbClr val="FF0000"/>
                </a:solidFill>
                <a:latin typeface="Calibri"/>
                <a:cs typeface="Calibri"/>
              </a:rPr>
              <a:t>di</a:t>
            </a:r>
            <a:r>
              <a:rPr lang="en-US" sz="1100" b="1" i="1" dirty="0" smtClean="0">
                <a:solidFill>
                  <a:srgbClr val="FF0000"/>
                </a:solidFill>
                <a:latin typeface="Calibri"/>
                <a:cs typeface="Calibri"/>
              </a:rPr>
              <a:t> </a:t>
            </a:r>
            <a:r>
              <a:rPr lang="en-US" sz="1100" b="1" i="1" dirty="0" err="1" smtClean="0">
                <a:solidFill>
                  <a:srgbClr val="FF0000"/>
                </a:solidFill>
                <a:latin typeface="Calibri"/>
                <a:cs typeface="Calibri"/>
              </a:rPr>
              <a:t>beberapa</a:t>
            </a:r>
            <a:r>
              <a:rPr lang="en-US" sz="1100" b="1" i="1" dirty="0" smtClean="0">
                <a:solidFill>
                  <a:srgbClr val="FF0000"/>
                </a:solidFill>
                <a:latin typeface="Calibri"/>
                <a:cs typeface="Calibri"/>
              </a:rPr>
              <a:t> emerging </a:t>
            </a:r>
            <a:r>
              <a:rPr lang="en-US" sz="1100" b="1" i="1" dirty="0">
                <a:solidFill>
                  <a:srgbClr val="FF0000"/>
                </a:solidFill>
                <a:latin typeface="Calibri"/>
                <a:cs typeface="Calibri"/>
              </a:rPr>
              <a:t>economies</a:t>
            </a:r>
          </a:p>
        </p:txBody>
      </p:sp>
      <p:cxnSp>
        <p:nvCxnSpPr>
          <p:cNvPr id="50" name="Straight Arrow Connector 49"/>
          <p:cNvCxnSpPr/>
          <p:nvPr/>
        </p:nvCxnSpPr>
        <p:spPr>
          <a:xfrm>
            <a:off x="3109684" y="4941169"/>
            <a:ext cx="592779" cy="59909"/>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6366661" y="908720"/>
            <a:ext cx="2777339" cy="3400931"/>
          </a:xfrm>
          <a:prstGeom prst="rect">
            <a:avLst/>
          </a:prstGeom>
          <a:noFill/>
        </p:spPr>
        <p:txBody>
          <a:bodyPr wrap="square" rtlCol="0">
            <a:spAutoFit/>
          </a:bodyPr>
          <a:lstStyle/>
          <a:p>
            <a:r>
              <a:rPr lang="is-IS" sz="1500" i="1" dirty="0">
                <a:solidFill>
                  <a:prstClr val="black"/>
                </a:solidFill>
                <a:cs typeface="Calibri (Body)"/>
              </a:rPr>
              <a:t>Rilis PDB Q2 2015 beberapa negara menunjukkan </a:t>
            </a:r>
            <a:r>
              <a:rPr lang="is-IS" sz="1500" b="1" i="1" dirty="0">
                <a:solidFill>
                  <a:srgbClr val="FF0000"/>
                </a:solidFill>
                <a:cs typeface="Calibri (Body)"/>
              </a:rPr>
              <a:t>tren menurun dibanding Q1 2015</a:t>
            </a:r>
          </a:p>
          <a:p>
            <a:endParaRPr lang="id-ID" sz="1400" b="1" dirty="0" smtClean="0">
              <a:solidFill>
                <a:srgbClr val="FF0000"/>
              </a:solidFill>
              <a:latin typeface="Calibri"/>
              <a:cs typeface="Calibri"/>
            </a:endParaRPr>
          </a:p>
          <a:p>
            <a:pPr marL="87313" indent="-87313">
              <a:buFont typeface="Arial" panose="020B0604020202020204" pitchFamily="34" charset="0"/>
              <a:buChar char="•"/>
            </a:pPr>
            <a:r>
              <a:rPr lang="id-ID" sz="1200" dirty="0" smtClean="0">
                <a:latin typeface="Calibri"/>
                <a:cs typeface="Calibri"/>
              </a:rPr>
              <a:t>U.S. 		(2,9 </a:t>
            </a:r>
            <a:r>
              <a:rPr lang="id-ID" sz="1200" dirty="0" smtClean="0">
                <a:latin typeface="Calibri"/>
                <a:cs typeface="Calibri"/>
                <a:sym typeface="Wingdings" panose="05000000000000000000" pitchFamily="2" charset="2"/>
              </a:rPr>
              <a:t> </a:t>
            </a:r>
            <a:r>
              <a:rPr lang="id-ID" sz="1200" dirty="0" smtClean="0">
                <a:solidFill>
                  <a:srgbClr val="FF0000"/>
                </a:solidFill>
                <a:latin typeface="Calibri"/>
                <a:cs typeface="Calibri"/>
              </a:rPr>
              <a:t>2,7</a:t>
            </a:r>
            <a:r>
              <a:rPr lang="id-ID" sz="1200" dirty="0" smtClean="0">
                <a:latin typeface="Calibri"/>
                <a:cs typeface="Calibri"/>
              </a:rPr>
              <a:t>)</a:t>
            </a:r>
          </a:p>
          <a:p>
            <a:pPr marL="87313" indent="-87313">
              <a:buFont typeface="Arial" panose="020B0604020202020204" pitchFamily="34" charset="0"/>
              <a:buChar char="•"/>
            </a:pPr>
            <a:r>
              <a:rPr lang="id-ID" sz="1200" dirty="0" smtClean="0">
                <a:latin typeface="Calibri"/>
                <a:cs typeface="Calibri"/>
              </a:rPr>
              <a:t>South Korea 		(2,5 </a:t>
            </a:r>
            <a:r>
              <a:rPr lang="id-ID" sz="1200" dirty="0" smtClean="0">
                <a:latin typeface="Calibri"/>
                <a:cs typeface="Calibri"/>
                <a:sym typeface="Wingdings" panose="05000000000000000000" pitchFamily="2" charset="2"/>
              </a:rPr>
              <a:t> </a:t>
            </a:r>
            <a:r>
              <a:rPr lang="id-ID" sz="1200" dirty="0" smtClean="0">
                <a:solidFill>
                  <a:srgbClr val="FF0000"/>
                </a:solidFill>
                <a:latin typeface="Calibri"/>
                <a:cs typeface="Calibri"/>
              </a:rPr>
              <a:t>2,2</a:t>
            </a:r>
            <a:r>
              <a:rPr lang="id-ID" sz="1200" dirty="0" smtClean="0">
                <a:latin typeface="Calibri"/>
                <a:cs typeface="Calibri"/>
              </a:rPr>
              <a:t>)</a:t>
            </a:r>
          </a:p>
          <a:p>
            <a:pPr marL="87313" indent="-87313">
              <a:buFont typeface="Arial" panose="020B0604020202020204" pitchFamily="34" charset="0"/>
              <a:buChar char="•"/>
            </a:pPr>
            <a:r>
              <a:rPr lang="id-ID" sz="1200" dirty="0" smtClean="0">
                <a:latin typeface="Calibri"/>
                <a:cs typeface="Calibri"/>
              </a:rPr>
              <a:t>Canada		(2,0 </a:t>
            </a:r>
            <a:r>
              <a:rPr lang="en-US" sz="1200" dirty="0" smtClean="0">
                <a:latin typeface="Calibri"/>
                <a:cs typeface="Calibri"/>
                <a:sym typeface="Wingdings"/>
              </a:rPr>
              <a:t> </a:t>
            </a:r>
            <a:r>
              <a:rPr lang="en-US" sz="1200" dirty="0" smtClean="0">
                <a:solidFill>
                  <a:srgbClr val="FF0000"/>
                </a:solidFill>
                <a:latin typeface="Calibri"/>
                <a:cs typeface="Calibri"/>
                <a:sym typeface="Wingdings"/>
              </a:rPr>
              <a:t>1,0)</a:t>
            </a:r>
            <a:endParaRPr lang="id-ID" sz="1200" dirty="0" smtClean="0">
              <a:solidFill>
                <a:srgbClr val="FF0000"/>
              </a:solidFill>
              <a:latin typeface="Calibri"/>
              <a:cs typeface="Calibri"/>
            </a:endParaRPr>
          </a:p>
          <a:p>
            <a:pPr marL="87313" indent="-87313">
              <a:buFont typeface="Arial" panose="020B0604020202020204" pitchFamily="34" charset="0"/>
              <a:buChar char="•"/>
            </a:pPr>
            <a:r>
              <a:rPr lang="id-ID" sz="1200" dirty="0" smtClean="0">
                <a:latin typeface="Calibri"/>
                <a:cs typeface="Calibri"/>
              </a:rPr>
              <a:t>Australia		(2,4 </a:t>
            </a:r>
            <a:r>
              <a:rPr lang="en-US" sz="1200" dirty="0" smtClean="0">
                <a:latin typeface="Calibri"/>
                <a:cs typeface="Calibri"/>
                <a:sym typeface="Wingdings"/>
              </a:rPr>
              <a:t> </a:t>
            </a:r>
            <a:r>
              <a:rPr lang="en-US" sz="1200" dirty="0" smtClean="0">
                <a:solidFill>
                  <a:srgbClr val="FF0000"/>
                </a:solidFill>
                <a:latin typeface="Calibri"/>
                <a:cs typeface="Calibri"/>
                <a:sym typeface="Wingdings"/>
              </a:rPr>
              <a:t>2,0</a:t>
            </a:r>
            <a:r>
              <a:rPr lang="en-US" sz="1200" dirty="0" smtClean="0">
                <a:latin typeface="Calibri"/>
                <a:cs typeface="Calibri"/>
                <a:sym typeface="Wingdings"/>
              </a:rPr>
              <a:t>)</a:t>
            </a:r>
            <a:endParaRPr lang="id-ID" sz="1200" dirty="0" smtClean="0">
              <a:latin typeface="Calibri"/>
              <a:cs typeface="Calibri"/>
            </a:endParaRPr>
          </a:p>
          <a:p>
            <a:pPr marL="87313" indent="-87313">
              <a:buFont typeface="Arial" panose="020B0604020202020204" pitchFamily="34" charset="0"/>
              <a:buChar char="•"/>
            </a:pPr>
            <a:r>
              <a:rPr lang="id-ID" sz="1200" dirty="0" smtClean="0">
                <a:latin typeface="Calibri"/>
                <a:cs typeface="Calibri"/>
              </a:rPr>
              <a:t>U.K		(2,9 </a:t>
            </a:r>
            <a:r>
              <a:rPr lang="en-US" sz="1200" dirty="0" smtClean="0">
                <a:latin typeface="Calibri"/>
                <a:cs typeface="Calibri"/>
                <a:sym typeface="Wingdings"/>
              </a:rPr>
              <a:t> </a:t>
            </a:r>
            <a:r>
              <a:rPr lang="en-US" sz="1200" dirty="0" smtClean="0">
                <a:solidFill>
                  <a:srgbClr val="FF0000"/>
                </a:solidFill>
                <a:latin typeface="Calibri"/>
                <a:cs typeface="Calibri"/>
                <a:sym typeface="Wingdings"/>
              </a:rPr>
              <a:t>2,6</a:t>
            </a:r>
            <a:r>
              <a:rPr lang="en-US" sz="1200" dirty="0" smtClean="0">
                <a:latin typeface="Calibri"/>
                <a:cs typeface="Calibri"/>
                <a:sym typeface="Wingdings"/>
              </a:rPr>
              <a:t>)</a:t>
            </a:r>
            <a:endParaRPr lang="id-ID" sz="1200" dirty="0" smtClean="0">
              <a:latin typeface="Calibri"/>
              <a:cs typeface="Calibri"/>
            </a:endParaRPr>
          </a:p>
          <a:p>
            <a:pPr marL="87313" indent="-87313">
              <a:buFont typeface="Arial" panose="020B0604020202020204" pitchFamily="34" charset="0"/>
              <a:buChar char="•"/>
            </a:pPr>
            <a:r>
              <a:rPr lang="id-ID" sz="1200" dirty="0" smtClean="0">
                <a:latin typeface="Calibri"/>
                <a:cs typeface="Calibri"/>
              </a:rPr>
              <a:t>Singapore 		(2,8 </a:t>
            </a:r>
            <a:r>
              <a:rPr lang="id-ID" sz="1200" dirty="0" smtClean="0">
                <a:latin typeface="Calibri"/>
                <a:cs typeface="Calibri"/>
                <a:sym typeface="Wingdings" panose="05000000000000000000" pitchFamily="2" charset="2"/>
              </a:rPr>
              <a:t> </a:t>
            </a:r>
            <a:r>
              <a:rPr lang="id-ID" sz="1200" dirty="0" smtClean="0">
                <a:solidFill>
                  <a:srgbClr val="FF0000"/>
                </a:solidFill>
                <a:latin typeface="Calibri"/>
                <a:cs typeface="Calibri"/>
              </a:rPr>
              <a:t>1,7</a:t>
            </a:r>
            <a:r>
              <a:rPr lang="id-ID" sz="1200" dirty="0" smtClean="0">
                <a:latin typeface="Calibri"/>
                <a:cs typeface="Calibri"/>
              </a:rPr>
              <a:t>)</a:t>
            </a:r>
          </a:p>
          <a:p>
            <a:pPr marL="87313" indent="-87313">
              <a:buFont typeface="Arial" panose="020B0604020202020204" pitchFamily="34" charset="0"/>
              <a:buChar char="•"/>
            </a:pPr>
            <a:r>
              <a:rPr lang="id-ID" sz="1200" dirty="0" smtClean="0">
                <a:latin typeface="Calibri"/>
                <a:cs typeface="Calibri"/>
              </a:rPr>
              <a:t>Malaysia		(5,7 </a:t>
            </a:r>
            <a:r>
              <a:rPr lang="id-ID" sz="1200" dirty="0" smtClean="0">
                <a:latin typeface="Calibri"/>
                <a:cs typeface="Calibri"/>
                <a:sym typeface="Wingdings" panose="05000000000000000000" pitchFamily="2" charset="2"/>
              </a:rPr>
              <a:t> </a:t>
            </a:r>
            <a:r>
              <a:rPr lang="id-ID" sz="1200" dirty="0" smtClean="0">
                <a:solidFill>
                  <a:srgbClr val="FF0000"/>
                </a:solidFill>
                <a:latin typeface="Calibri"/>
                <a:cs typeface="Calibri"/>
              </a:rPr>
              <a:t>4,9</a:t>
            </a:r>
            <a:r>
              <a:rPr lang="id-ID" sz="1200" dirty="0" smtClean="0">
                <a:latin typeface="Calibri"/>
                <a:cs typeface="Calibri"/>
              </a:rPr>
              <a:t>)</a:t>
            </a:r>
          </a:p>
          <a:p>
            <a:pPr marL="87313" indent="-87313">
              <a:buFont typeface="Arial" panose="020B0604020202020204" pitchFamily="34" charset="0"/>
              <a:buChar char="•"/>
            </a:pPr>
            <a:r>
              <a:rPr lang="id-ID" sz="1200" dirty="0" smtClean="0">
                <a:latin typeface="Calibri"/>
                <a:cs typeface="Calibri"/>
              </a:rPr>
              <a:t>Thailand		(3,1 </a:t>
            </a:r>
            <a:r>
              <a:rPr lang="en-US" sz="1200" dirty="0" smtClean="0">
                <a:latin typeface="Calibri"/>
                <a:cs typeface="Calibri"/>
                <a:sym typeface="Wingdings"/>
              </a:rPr>
              <a:t> </a:t>
            </a:r>
            <a:r>
              <a:rPr lang="en-US" sz="1200" dirty="0" smtClean="0">
                <a:solidFill>
                  <a:srgbClr val="FF0000"/>
                </a:solidFill>
                <a:latin typeface="Calibri"/>
                <a:cs typeface="Calibri"/>
                <a:sym typeface="Wingdings"/>
              </a:rPr>
              <a:t>2,8</a:t>
            </a:r>
            <a:r>
              <a:rPr lang="en-US" sz="1200" dirty="0" smtClean="0">
                <a:latin typeface="Calibri"/>
                <a:cs typeface="Calibri"/>
                <a:sym typeface="Wingdings"/>
              </a:rPr>
              <a:t>)</a:t>
            </a:r>
          </a:p>
          <a:p>
            <a:pPr marL="87313" indent="-87313">
              <a:buFont typeface="Arial" panose="020B0604020202020204" pitchFamily="34" charset="0"/>
              <a:buChar char="•"/>
            </a:pPr>
            <a:r>
              <a:rPr lang="en-US" sz="1200" dirty="0" smtClean="0">
                <a:latin typeface="Calibri"/>
                <a:cs typeface="Calibri"/>
                <a:sym typeface="Wingdings"/>
              </a:rPr>
              <a:t>Mexico		(2,5  </a:t>
            </a:r>
            <a:r>
              <a:rPr lang="en-US" sz="1200" dirty="0" smtClean="0">
                <a:solidFill>
                  <a:srgbClr val="FF0000"/>
                </a:solidFill>
                <a:latin typeface="Calibri"/>
                <a:cs typeface="Calibri"/>
                <a:sym typeface="Wingdings"/>
              </a:rPr>
              <a:t>2,2</a:t>
            </a:r>
            <a:r>
              <a:rPr lang="en-US" sz="1200" dirty="0" smtClean="0">
                <a:latin typeface="Calibri"/>
                <a:cs typeface="Calibri"/>
                <a:sym typeface="Wingdings"/>
              </a:rPr>
              <a:t>)</a:t>
            </a:r>
          </a:p>
          <a:p>
            <a:pPr marL="87313" indent="-87313">
              <a:buFont typeface="Arial" panose="020B0604020202020204" pitchFamily="34" charset="0"/>
              <a:buChar char="•"/>
            </a:pPr>
            <a:r>
              <a:rPr lang="en-US" sz="1200" dirty="0" smtClean="0">
                <a:latin typeface="Calibri"/>
                <a:cs typeface="Calibri"/>
                <a:sym typeface="Wingdings"/>
              </a:rPr>
              <a:t>India		(7,5 </a:t>
            </a:r>
            <a:r>
              <a:rPr lang="en-US" sz="1200" dirty="0" smtClean="0">
                <a:solidFill>
                  <a:srgbClr val="FF0000"/>
                </a:solidFill>
                <a:latin typeface="Calibri"/>
                <a:cs typeface="Calibri"/>
                <a:sym typeface="Wingdings"/>
              </a:rPr>
              <a:t> 7,0</a:t>
            </a:r>
            <a:r>
              <a:rPr lang="en-US" sz="1200" dirty="0" smtClean="0">
                <a:latin typeface="Calibri"/>
                <a:cs typeface="Calibri"/>
                <a:sym typeface="Wingdings"/>
              </a:rPr>
              <a:t>)</a:t>
            </a:r>
          </a:p>
          <a:p>
            <a:pPr marL="87313" indent="-87313">
              <a:buFont typeface="Arial" panose="020B0604020202020204" pitchFamily="34" charset="0"/>
              <a:buChar char="•"/>
            </a:pPr>
            <a:r>
              <a:rPr lang="en-US" sz="1200" dirty="0" smtClean="0">
                <a:latin typeface="Calibri"/>
                <a:cs typeface="Calibri"/>
                <a:sym typeface="Wingdings"/>
              </a:rPr>
              <a:t>Taiwan		(3,3  </a:t>
            </a:r>
            <a:r>
              <a:rPr lang="en-US" sz="1200" dirty="0" smtClean="0">
                <a:solidFill>
                  <a:srgbClr val="FF0000"/>
                </a:solidFill>
                <a:latin typeface="Calibri"/>
                <a:cs typeface="Calibri"/>
                <a:sym typeface="Wingdings"/>
              </a:rPr>
              <a:t>0,8</a:t>
            </a:r>
            <a:r>
              <a:rPr lang="en-US" sz="1200" dirty="0" smtClean="0">
                <a:latin typeface="Calibri"/>
                <a:cs typeface="Calibri"/>
                <a:sym typeface="Wingdings"/>
              </a:rPr>
              <a:t>)</a:t>
            </a:r>
          </a:p>
          <a:p>
            <a:pPr marL="87313" indent="-87313">
              <a:buFont typeface="Arial" panose="020B0604020202020204" pitchFamily="34" charset="0"/>
              <a:buChar char="•"/>
            </a:pPr>
            <a:r>
              <a:rPr lang="en-US" sz="1200" dirty="0" smtClean="0">
                <a:latin typeface="Calibri"/>
                <a:cs typeface="Calibri"/>
                <a:sym typeface="Wingdings"/>
              </a:rPr>
              <a:t>Brazil		(-1,6</a:t>
            </a:r>
            <a:r>
              <a:rPr lang="en-US" sz="1200" dirty="0" smtClean="0">
                <a:solidFill>
                  <a:srgbClr val="FF0000"/>
                </a:solidFill>
                <a:latin typeface="Calibri"/>
                <a:cs typeface="Calibri"/>
                <a:sym typeface="Wingdings"/>
              </a:rPr>
              <a:t>-2,6</a:t>
            </a:r>
            <a:r>
              <a:rPr lang="en-US" sz="1200" dirty="0" smtClean="0">
                <a:latin typeface="Calibri"/>
                <a:cs typeface="Calibri"/>
                <a:sym typeface="Wingdings"/>
              </a:rPr>
              <a:t>)</a:t>
            </a:r>
          </a:p>
          <a:p>
            <a:pPr marL="87313" indent="-87313">
              <a:buFont typeface="Arial" panose="020B0604020202020204" pitchFamily="34" charset="0"/>
              <a:buChar char="•"/>
            </a:pPr>
            <a:r>
              <a:rPr lang="en-US" sz="1200" dirty="0" smtClean="0">
                <a:latin typeface="Calibri"/>
                <a:cs typeface="Calibri"/>
                <a:sym typeface="Wingdings"/>
              </a:rPr>
              <a:t>Russia		(-1,9</a:t>
            </a:r>
            <a:r>
              <a:rPr lang="en-US" sz="1200" dirty="0" smtClean="0">
                <a:solidFill>
                  <a:srgbClr val="FF0000"/>
                </a:solidFill>
                <a:latin typeface="Calibri"/>
                <a:cs typeface="Calibri"/>
                <a:sym typeface="Wingdings"/>
              </a:rPr>
              <a:t>-4,6</a:t>
            </a:r>
            <a:r>
              <a:rPr lang="en-US" sz="1200" dirty="0" smtClean="0">
                <a:latin typeface="Calibri"/>
                <a:cs typeface="Calibri"/>
                <a:sym typeface="Wingdings"/>
              </a:rPr>
              <a:t>)</a:t>
            </a:r>
          </a:p>
        </p:txBody>
      </p:sp>
      <p:cxnSp>
        <p:nvCxnSpPr>
          <p:cNvPr id="52" name="Straight Arrow Connector 51"/>
          <p:cNvCxnSpPr/>
          <p:nvPr/>
        </p:nvCxnSpPr>
        <p:spPr>
          <a:xfrm>
            <a:off x="6770189" y="4904056"/>
            <a:ext cx="480310" cy="178220"/>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p:nvPr/>
        </p:nvCxnSpPr>
        <p:spPr>
          <a:xfrm>
            <a:off x="2287987" y="4725144"/>
            <a:ext cx="596631" cy="95350"/>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a:off x="4336413" y="4893183"/>
            <a:ext cx="325806" cy="168096"/>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67" name="TextBox 66"/>
          <p:cNvSpPr txBox="1"/>
          <p:nvPr/>
        </p:nvSpPr>
        <p:spPr>
          <a:xfrm>
            <a:off x="3914892" y="4355565"/>
            <a:ext cx="5097366" cy="261610"/>
          </a:xfrm>
          <a:prstGeom prst="rect">
            <a:avLst/>
          </a:prstGeom>
          <a:noFill/>
        </p:spPr>
        <p:txBody>
          <a:bodyPr wrap="square" rtlCol="0">
            <a:spAutoFit/>
          </a:bodyPr>
          <a:lstStyle/>
          <a:p>
            <a:pPr algn="ctr">
              <a:defRPr/>
            </a:pPr>
            <a:r>
              <a:rPr lang="en-US" sz="1100" b="1" i="1" dirty="0" err="1">
                <a:solidFill>
                  <a:srgbClr val="0000FF"/>
                </a:solidFill>
                <a:cs typeface="Calibri"/>
              </a:rPr>
              <a:t>Pertumbuhan</a:t>
            </a:r>
            <a:r>
              <a:rPr lang="en-US" sz="1100" b="1" i="1" dirty="0">
                <a:solidFill>
                  <a:srgbClr val="0000FF"/>
                </a:solidFill>
                <a:cs typeface="Calibri"/>
              </a:rPr>
              <a:t> </a:t>
            </a:r>
            <a:r>
              <a:rPr lang="en-US" sz="1100" b="1" i="1" dirty="0" err="1">
                <a:solidFill>
                  <a:srgbClr val="0000FF"/>
                </a:solidFill>
                <a:cs typeface="Calibri"/>
              </a:rPr>
              <a:t>ekonomi</a:t>
            </a:r>
            <a:r>
              <a:rPr lang="en-US" sz="1100" b="1" i="1" dirty="0">
                <a:solidFill>
                  <a:srgbClr val="0000FF"/>
                </a:solidFill>
                <a:cs typeface="Calibri"/>
              </a:rPr>
              <a:t> yang </a:t>
            </a:r>
            <a:r>
              <a:rPr lang="en-US" sz="1100" b="1" i="1" dirty="0" err="1">
                <a:solidFill>
                  <a:srgbClr val="0000FF"/>
                </a:solidFill>
                <a:cs typeface="Calibri"/>
              </a:rPr>
              <a:t>moderat</a:t>
            </a:r>
            <a:r>
              <a:rPr lang="en-US" sz="1100" b="1" i="1" dirty="0">
                <a:solidFill>
                  <a:srgbClr val="0000FF"/>
                </a:solidFill>
                <a:cs typeface="Calibri"/>
              </a:rPr>
              <a:t> </a:t>
            </a:r>
            <a:r>
              <a:rPr lang="en-US" sz="1100" b="1" i="1" dirty="0" err="1">
                <a:solidFill>
                  <a:srgbClr val="0000FF"/>
                </a:solidFill>
                <a:cs typeface="Calibri"/>
              </a:rPr>
              <a:t>terjadi</a:t>
            </a:r>
            <a:r>
              <a:rPr lang="en-US" sz="1100" b="1" i="1" dirty="0">
                <a:solidFill>
                  <a:srgbClr val="0000FF"/>
                </a:solidFill>
                <a:cs typeface="Calibri"/>
              </a:rPr>
              <a:t> di emerging market </a:t>
            </a:r>
            <a:r>
              <a:rPr lang="en-US" sz="1100" b="1" i="1" dirty="0" err="1">
                <a:solidFill>
                  <a:srgbClr val="0000FF"/>
                </a:solidFill>
                <a:cs typeface="Calibri"/>
              </a:rPr>
              <a:t>lainnya</a:t>
            </a:r>
            <a:endParaRPr lang="en-US" sz="1100" b="1" i="1" dirty="0">
              <a:solidFill>
                <a:srgbClr val="0000FF"/>
              </a:solidFill>
              <a:cs typeface="Calibri"/>
            </a:endParaRPr>
          </a:p>
        </p:txBody>
      </p:sp>
      <p:sp>
        <p:nvSpPr>
          <p:cNvPr id="68" name="Rectangle 67"/>
          <p:cNvSpPr/>
          <p:nvPr/>
        </p:nvSpPr>
        <p:spPr>
          <a:xfrm>
            <a:off x="1699049" y="1415867"/>
            <a:ext cx="3774983" cy="2139061"/>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id-ID" sz="1662">
              <a:latin typeface="Calibri"/>
              <a:cs typeface="Calibri"/>
            </a:endParaRPr>
          </a:p>
        </p:txBody>
      </p:sp>
      <p:sp>
        <p:nvSpPr>
          <p:cNvPr id="69" name="Text Placeholder 9"/>
          <p:cNvSpPr txBox="1">
            <a:spLocks/>
          </p:cNvSpPr>
          <p:nvPr/>
        </p:nvSpPr>
        <p:spPr bwMode="auto">
          <a:xfrm>
            <a:off x="1688296" y="974790"/>
            <a:ext cx="4086957" cy="343296"/>
          </a:xfrm>
          <a:prstGeom prst="rect">
            <a:avLst/>
          </a:prstGeom>
          <a:noFill/>
          <a:ln w="9525">
            <a:noFill/>
            <a:miter lim="800000"/>
            <a:headEnd/>
            <a:tailEnd/>
          </a:ln>
        </p:spPr>
        <p:txBody>
          <a:bodyPr lIns="77911" tIns="38955" rIns="77911" bIns="38955" anchor="b"/>
          <a:lstStyle/>
          <a:p>
            <a:pPr defTabSz="718007">
              <a:defRPr/>
            </a:pPr>
            <a:r>
              <a:rPr lang="en-US" sz="1400" b="1" dirty="0" err="1">
                <a:solidFill>
                  <a:srgbClr val="4BACC6">
                    <a:lumMod val="50000"/>
                  </a:srgbClr>
                </a:solidFill>
                <a:cs typeface="Calibri"/>
              </a:rPr>
              <a:t>Pertumbuhan</a:t>
            </a:r>
            <a:r>
              <a:rPr lang="en-US" sz="1400" b="1" dirty="0">
                <a:solidFill>
                  <a:srgbClr val="4BACC6">
                    <a:lumMod val="50000"/>
                  </a:srgbClr>
                </a:solidFill>
                <a:cs typeface="Calibri"/>
              </a:rPr>
              <a:t> </a:t>
            </a:r>
            <a:r>
              <a:rPr lang="en-US" sz="1400" b="1" dirty="0" err="1">
                <a:solidFill>
                  <a:srgbClr val="4BACC6">
                    <a:lumMod val="50000"/>
                  </a:srgbClr>
                </a:solidFill>
                <a:cs typeface="Calibri"/>
              </a:rPr>
              <a:t>Ekonomi</a:t>
            </a:r>
            <a:r>
              <a:rPr lang="en-US" sz="1400" b="1" dirty="0">
                <a:solidFill>
                  <a:srgbClr val="4BACC6">
                    <a:lumMod val="50000"/>
                  </a:srgbClr>
                </a:solidFill>
                <a:cs typeface="Calibri"/>
              </a:rPr>
              <a:t> Negara </a:t>
            </a:r>
            <a:r>
              <a:rPr lang="en-US" sz="1400" b="1" dirty="0" err="1">
                <a:solidFill>
                  <a:srgbClr val="4BACC6">
                    <a:lumMod val="50000"/>
                  </a:srgbClr>
                </a:solidFill>
                <a:cs typeface="Calibri"/>
              </a:rPr>
              <a:t>Maju</a:t>
            </a:r>
            <a:r>
              <a:rPr lang="en-US" sz="1400" b="1" dirty="0">
                <a:solidFill>
                  <a:srgbClr val="4BACC6">
                    <a:lumMod val="50000"/>
                  </a:srgbClr>
                </a:solidFill>
                <a:cs typeface="Calibri"/>
              </a:rPr>
              <a:t> (</a:t>
            </a:r>
            <a:r>
              <a:rPr lang="id-ID" sz="1400" b="1" dirty="0">
                <a:solidFill>
                  <a:srgbClr val="4BACC6">
                    <a:lumMod val="50000"/>
                  </a:srgbClr>
                </a:solidFill>
                <a:cs typeface="Calibri"/>
              </a:rPr>
              <a:t>% Yo</a:t>
            </a:r>
            <a:r>
              <a:rPr lang="en-US" sz="1400" b="1" dirty="0">
                <a:solidFill>
                  <a:srgbClr val="4BACC6">
                    <a:lumMod val="50000"/>
                  </a:srgbClr>
                </a:solidFill>
                <a:cs typeface="Calibri"/>
              </a:rPr>
              <a:t>Y)</a:t>
            </a:r>
            <a:endParaRPr lang="id-ID" sz="1400" b="1" dirty="0">
              <a:solidFill>
                <a:srgbClr val="4BACC6">
                  <a:lumMod val="50000"/>
                </a:srgbClr>
              </a:solidFill>
              <a:cs typeface="Calibri"/>
            </a:endParaRPr>
          </a:p>
        </p:txBody>
      </p:sp>
      <p:sp>
        <p:nvSpPr>
          <p:cNvPr id="70" name="Rectangle 69"/>
          <p:cNvSpPr/>
          <p:nvPr/>
        </p:nvSpPr>
        <p:spPr>
          <a:xfrm>
            <a:off x="1699049" y="1323179"/>
            <a:ext cx="4674802" cy="40199"/>
          </a:xfrm>
          <a:prstGeom prst="rect">
            <a:avLst/>
          </a:prstGeom>
          <a:gradFill flip="none" rotWithShape="1">
            <a:gsLst>
              <a:gs pos="47000">
                <a:schemeClr val="tx2"/>
              </a:gs>
              <a:gs pos="100000">
                <a:schemeClr val="bg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7911" tIns="38955" rIns="77911" bIns="38955" anchor="ctr"/>
          <a:lstStyle/>
          <a:p>
            <a:pPr algn="ctr" defTabSz="779150">
              <a:defRPr/>
            </a:pPr>
            <a:endParaRPr lang="en-GB" sz="1534" dirty="0">
              <a:latin typeface="Calibri"/>
              <a:cs typeface="Calibri"/>
            </a:endParaRPr>
          </a:p>
        </p:txBody>
      </p:sp>
      <p:sp>
        <p:nvSpPr>
          <p:cNvPr id="71" name="TextBox 70"/>
          <p:cNvSpPr txBox="1"/>
          <p:nvPr/>
        </p:nvSpPr>
        <p:spPr>
          <a:xfrm>
            <a:off x="1593020" y="1430736"/>
            <a:ext cx="2076209" cy="262829"/>
          </a:xfrm>
          <a:prstGeom prst="rect">
            <a:avLst/>
          </a:prstGeom>
          <a:noFill/>
        </p:spPr>
        <p:txBody>
          <a:bodyPr wrap="none" rtlCol="0">
            <a:spAutoFit/>
          </a:bodyPr>
          <a:lstStyle/>
          <a:p>
            <a:pPr algn="r"/>
            <a:r>
              <a:rPr lang="en-US" sz="1108" b="1" i="1" dirty="0" smtClean="0">
                <a:solidFill>
                  <a:srgbClr val="FF0000"/>
                </a:solidFill>
                <a:latin typeface="Calibri"/>
                <a:cs typeface="Calibri"/>
              </a:rPr>
              <a:t>Slowdown continues in Q2-2015</a:t>
            </a:r>
            <a:endParaRPr lang="en-US" sz="1108" b="1" i="1" dirty="0">
              <a:solidFill>
                <a:srgbClr val="FF0000"/>
              </a:solidFill>
              <a:latin typeface="Calibri"/>
              <a:cs typeface="Calibri"/>
            </a:endParaRPr>
          </a:p>
        </p:txBody>
      </p:sp>
      <p:sp>
        <p:nvSpPr>
          <p:cNvPr id="72" name="TextBox 71"/>
          <p:cNvSpPr txBox="1"/>
          <p:nvPr/>
        </p:nvSpPr>
        <p:spPr>
          <a:xfrm rot="16200000">
            <a:off x="1075526" y="1709361"/>
            <a:ext cx="704039" cy="215444"/>
          </a:xfrm>
          <a:prstGeom prst="rect">
            <a:avLst/>
          </a:prstGeom>
          <a:noFill/>
        </p:spPr>
        <p:txBody>
          <a:bodyPr wrap="none">
            <a:spAutoFit/>
          </a:bodyPr>
          <a:lstStyle/>
          <a:p>
            <a:pPr>
              <a:defRPr/>
            </a:pPr>
            <a:r>
              <a:rPr lang="en-US" sz="800" b="1" i="1" dirty="0">
                <a:solidFill>
                  <a:schemeClr val="tx1">
                    <a:lumMod val="65000"/>
                    <a:lumOff val="35000"/>
                  </a:schemeClr>
                </a:solidFill>
                <a:latin typeface="Calibri"/>
                <a:ea typeface="ＭＳ Ｐゴシック" pitchFamily="34" charset="-128"/>
                <a:cs typeface="Calibri"/>
              </a:rPr>
              <a:t>Source: </a:t>
            </a:r>
            <a:r>
              <a:rPr lang="id-ID" sz="800" b="1" i="1" dirty="0">
                <a:solidFill>
                  <a:schemeClr val="tx1">
                    <a:lumMod val="65000"/>
                    <a:lumOff val="35000"/>
                  </a:schemeClr>
                </a:solidFill>
                <a:latin typeface="Calibri"/>
                <a:ea typeface="ＭＳ Ｐゴシック" pitchFamily="34" charset="-128"/>
                <a:cs typeface="Calibri"/>
              </a:rPr>
              <a:t>CEIC</a:t>
            </a:r>
            <a:endParaRPr lang="en-US" sz="800" b="1" i="1" dirty="0">
              <a:solidFill>
                <a:schemeClr val="tx1">
                  <a:lumMod val="65000"/>
                  <a:lumOff val="35000"/>
                </a:schemeClr>
              </a:solidFill>
              <a:latin typeface="Calibri"/>
              <a:ea typeface="ＭＳ Ｐゴシック" pitchFamily="34" charset="-128"/>
              <a:cs typeface="Calibri"/>
            </a:endParaRPr>
          </a:p>
        </p:txBody>
      </p:sp>
      <p:cxnSp>
        <p:nvCxnSpPr>
          <p:cNvPr id="73" name="Straight Arrow Connector 72"/>
          <p:cNvCxnSpPr/>
          <p:nvPr/>
        </p:nvCxnSpPr>
        <p:spPr>
          <a:xfrm>
            <a:off x="2075616" y="1888851"/>
            <a:ext cx="348047" cy="139544"/>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a:xfrm>
            <a:off x="3757405" y="1941776"/>
            <a:ext cx="184097" cy="152400"/>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a:off x="5192283" y="5222166"/>
            <a:ext cx="325806" cy="168096"/>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p:nvPr/>
        </p:nvCxnSpPr>
        <p:spPr>
          <a:xfrm>
            <a:off x="3032764" y="2250029"/>
            <a:ext cx="118300" cy="512639"/>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77" name="Rectangular Callout 76"/>
          <p:cNvSpPr/>
          <p:nvPr/>
        </p:nvSpPr>
        <p:spPr>
          <a:xfrm>
            <a:off x="96790" y="1053908"/>
            <a:ext cx="1150730" cy="2753883"/>
          </a:xfrm>
          <a:prstGeom prst="wedgeRectCallout">
            <a:avLst>
              <a:gd name="adj1" fmla="val 63973"/>
              <a:gd name="adj2" fmla="val 18192"/>
            </a:avLst>
          </a:prstGeom>
          <a:noFill/>
          <a:ln>
            <a:solidFill>
              <a:srgbClr val="800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r>
              <a:rPr lang="tr-TR" sz="1100" b="1" dirty="0">
                <a:solidFill>
                  <a:schemeClr val="tx1"/>
                </a:solidFill>
                <a:cs typeface="Calibri"/>
              </a:rPr>
              <a:t>Amerika </a:t>
            </a:r>
            <a:r>
              <a:rPr lang="tr-TR" sz="1100" b="1" dirty="0" err="1" smtClean="0">
                <a:solidFill>
                  <a:schemeClr val="tx1"/>
                </a:solidFill>
                <a:cs typeface="Calibri"/>
              </a:rPr>
              <a:t>Serikat</a:t>
            </a:r>
            <a:r>
              <a:rPr lang="tr-TR" sz="1100" b="1" dirty="0" smtClean="0">
                <a:solidFill>
                  <a:schemeClr val="tx1"/>
                </a:solidFill>
                <a:cs typeface="Calibri"/>
              </a:rPr>
              <a:t> --</a:t>
            </a:r>
          </a:p>
          <a:p>
            <a:r>
              <a:rPr lang="tr-TR" sz="1100" dirty="0" err="1" smtClean="0">
                <a:solidFill>
                  <a:schemeClr val="tx1"/>
                </a:solidFill>
                <a:cs typeface="Calibri"/>
              </a:rPr>
              <a:t>diharapkan</a:t>
            </a:r>
            <a:r>
              <a:rPr lang="tr-TR" sz="1100" dirty="0" smtClean="0">
                <a:solidFill>
                  <a:schemeClr val="tx1"/>
                </a:solidFill>
                <a:cs typeface="Calibri"/>
              </a:rPr>
              <a:t> </a:t>
            </a:r>
            <a:r>
              <a:rPr lang="tr-TR" sz="1100" dirty="0" err="1" smtClean="0">
                <a:solidFill>
                  <a:schemeClr val="tx1"/>
                </a:solidFill>
                <a:cs typeface="Calibri"/>
              </a:rPr>
              <a:t>menjadi</a:t>
            </a:r>
            <a:r>
              <a:rPr lang="tr-TR" sz="1100" dirty="0" smtClean="0">
                <a:solidFill>
                  <a:schemeClr val="tx1"/>
                </a:solidFill>
                <a:cs typeface="Calibri"/>
              </a:rPr>
              <a:t> motor </a:t>
            </a:r>
            <a:r>
              <a:rPr lang="tr-TR" sz="1100" dirty="0" err="1" smtClean="0">
                <a:solidFill>
                  <a:schemeClr val="tx1"/>
                </a:solidFill>
                <a:cs typeface="Calibri"/>
              </a:rPr>
              <a:t>penggerak</a:t>
            </a:r>
            <a:r>
              <a:rPr lang="tr-TR" sz="1100" dirty="0" smtClean="0">
                <a:solidFill>
                  <a:schemeClr val="tx1"/>
                </a:solidFill>
                <a:cs typeface="Calibri"/>
              </a:rPr>
              <a:t> </a:t>
            </a:r>
            <a:r>
              <a:rPr lang="tr-TR" sz="1100" dirty="0" err="1" smtClean="0">
                <a:solidFill>
                  <a:schemeClr val="tx1"/>
                </a:solidFill>
                <a:cs typeface="Calibri"/>
              </a:rPr>
              <a:t>perekonomian</a:t>
            </a:r>
            <a:r>
              <a:rPr lang="tr-TR" sz="1100" dirty="0" smtClean="0">
                <a:solidFill>
                  <a:schemeClr val="tx1"/>
                </a:solidFill>
                <a:cs typeface="Calibri"/>
              </a:rPr>
              <a:t> global, </a:t>
            </a:r>
            <a:r>
              <a:rPr lang="tr-TR" sz="1100" dirty="0" err="1" smtClean="0">
                <a:solidFill>
                  <a:schemeClr val="tx1"/>
                </a:solidFill>
                <a:cs typeface="Calibri"/>
              </a:rPr>
              <a:t>mengalami</a:t>
            </a:r>
            <a:r>
              <a:rPr lang="tr-TR" sz="1100" dirty="0" smtClean="0">
                <a:solidFill>
                  <a:schemeClr val="tx1"/>
                </a:solidFill>
                <a:cs typeface="Calibri"/>
              </a:rPr>
              <a:t> </a:t>
            </a:r>
            <a:r>
              <a:rPr lang="tr-TR" sz="1100" dirty="0" err="1">
                <a:solidFill>
                  <a:schemeClr val="tx1"/>
                </a:solidFill>
                <a:cs typeface="Calibri"/>
              </a:rPr>
              <a:t>perlambatan</a:t>
            </a:r>
            <a:r>
              <a:rPr lang="tr-TR" sz="1100" dirty="0">
                <a:solidFill>
                  <a:schemeClr val="tx1"/>
                </a:solidFill>
                <a:cs typeface="Calibri"/>
              </a:rPr>
              <a:t> </a:t>
            </a:r>
            <a:r>
              <a:rPr lang="tr-TR" sz="1100" dirty="0" err="1">
                <a:solidFill>
                  <a:schemeClr val="tx1"/>
                </a:solidFill>
                <a:cs typeface="Calibri"/>
              </a:rPr>
              <a:t>di</a:t>
            </a:r>
            <a:r>
              <a:rPr lang="tr-TR" sz="1100" dirty="0">
                <a:solidFill>
                  <a:schemeClr val="tx1"/>
                </a:solidFill>
                <a:cs typeface="Calibri"/>
              </a:rPr>
              <a:t> Q2-</a:t>
            </a:r>
            <a:r>
              <a:rPr lang="tr-TR" sz="1100" dirty="0" smtClean="0">
                <a:solidFill>
                  <a:schemeClr val="tx1"/>
                </a:solidFill>
                <a:cs typeface="Calibri"/>
              </a:rPr>
              <a:t>2015. </a:t>
            </a:r>
            <a:r>
              <a:rPr lang="en-US" sz="1100" dirty="0">
                <a:solidFill>
                  <a:schemeClr val="tx1"/>
                </a:solidFill>
              </a:rPr>
              <a:t>Per 17 September 2015, The FED </a:t>
            </a:r>
            <a:r>
              <a:rPr lang="en-US" sz="1100" dirty="0" err="1">
                <a:solidFill>
                  <a:schemeClr val="tx1"/>
                </a:solidFill>
              </a:rPr>
              <a:t>mempertahankan</a:t>
            </a:r>
            <a:r>
              <a:rPr lang="en-US" sz="1100" dirty="0">
                <a:solidFill>
                  <a:schemeClr val="tx1"/>
                </a:solidFill>
              </a:rPr>
              <a:t> </a:t>
            </a:r>
            <a:r>
              <a:rPr lang="en-US" sz="1100" dirty="0" err="1">
                <a:solidFill>
                  <a:schemeClr val="tx1"/>
                </a:solidFill>
              </a:rPr>
              <a:t>suku</a:t>
            </a:r>
            <a:r>
              <a:rPr lang="en-US" sz="1100" dirty="0">
                <a:solidFill>
                  <a:schemeClr val="tx1"/>
                </a:solidFill>
              </a:rPr>
              <a:t> </a:t>
            </a:r>
            <a:r>
              <a:rPr lang="en-US" sz="1100" dirty="0" err="1">
                <a:solidFill>
                  <a:schemeClr val="tx1"/>
                </a:solidFill>
              </a:rPr>
              <a:t>bunga</a:t>
            </a:r>
            <a:r>
              <a:rPr lang="en-US" sz="1100" dirty="0">
                <a:solidFill>
                  <a:schemeClr val="tx1"/>
                </a:solidFill>
              </a:rPr>
              <a:t> </a:t>
            </a:r>
            <a:r>
              <a:rPr lang="en-US" sz="1100" dirty="0" err="1" smtClean="0">
                <a:solidFill>
                  <a:schemeClr val="tx1"/>
                </a:solidFill>
              </a:rPr>
              <a:t>acuan</a:t>
            </a:r>
            <a:r>
              <a:rPr lang="en-US" sz="1100" dirty="0" smtClean="0">
                <a:solidFill>
                  <a:schemeClr val="tx1"/>
                </a:solidFill>
              </a:rPr>
              <a:t> </a:t>
            </a:r>
            <a:r>
              <a:rPr lang="en-US" sz="1100" dirty="0" err="1" smtClean="0">
                <a:solidFill>
                  <a:schemeClr val="tx1"/>
                </a:solidFill>
              </a:rPr>
              <a:t>tetap</a:t>
            </a:r>
            <a:r>
              <a:rPr lang="en-US" sz="1100" dirty="0" smtClean="0">
                <a:solidFill>
                  <a:schemeClr val="tx1"/>
                </a:solidFill>
              </a:rPr>
              <a:t> di level </a:t>
            </a:r>
            <a:r>
              <a:rPr lang="en-US" sz="1100" dirty="0" err="1" smtClean="0">
                <a:solidFill>
                  <a:schemeClr val="tx1"/>
                </a:solidFill>
              </a:rPr>
              <a:t>sebelumnya</a:t>
            </a:r>
            <a:endParaRPr lang="en-US" sz="1100" dirty="0" smtClean="0">
              <a:solidFill>
                <a:schemeClr val="tx1"/>
              </a:solidFill>
            </a:endParaRPr>
          </a:p>
        </p:txBody>
      </p:sp>
      <p:cxnSp>
        <p:nvCxnSpPr>
          <p:cNvPr id="78" name="Straight Arrow Connector 77"/>
          <p:cNvCxnSpPr/>
          <p:nvPr/>
        </p:nvCxnSpPr>
        <p:spPr>
          <a:xfrm>
            <a:off x="4521843" y="2105828"/>
            <a:ext cx="145603" cy="190804"/>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79" name="Straight Arrow Connector 78"/>
          <p:cNvCxnSpPr/>
          <p:nvPr/>
        </p:nvCxnSpPr>
        <p:spPr>
          <a:xfrm>
            <a:off x="5254016" y="2118417"/>
            <a:ext cx="184097" cy="152400"/>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p:nvPr/>
        </p:nvCxnSpPr>
        <p:spPr>
          <a:xfrm>
            <a:off x="7818509" y="4813222"/>
            <a:ext cx="215090" cy="81556"/>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a:off x="8666473" y="5160527"/>
            <a:ext cx="182826" cy="349526"/>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nvCxnSpPr>
        <p:spPr>
          <a:xfrm>
            <a:off x="1055389" y="5814566"/>
            <a:ext cx="239732" cy="105510"/>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83" name="Straight Arrow Connector 82"/>
          <p:cNvCxnSpPr/>
          <p:nvPr/>
        </p:nvCxnSpPr>
        <p:spPr>
          <a:xfrm>
            <a:off x="1888286" y="5821823"/>
            <a:ext cx="210703" cy="303872"/>
          </a:xfrm>
          <a:prstGeom prst="straightConnector1">
            <a:avLst/>
          </a:prstGeom>
          <a:ln w="1905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86" name="Slide Number Placeholder 39"/>
          <p:cNvSpPr>
            <a:spLocks noGrp="1"/>
          </p:cNvSpPr>
          <p:nvPr>
            <p:ph type="sldNum" sz="quarter" idx="12"/>
          </p:nvPr>
        </p:nvSpPr>
        <p:spPr bwMode="auto">
          <a:xfrm>
            <a:off x="0" y="6494738"/>
            <a:ext cx="676663" cy="363262"/>
          </a:xfrm>
          <a:prstGeom prst="rect">
            <a:avLst/>
          </a:prstGeom>
          <a:noFill/>
          <a:ln>
            <a:miter lim="800000"/>
            <a:headEnd/>
            <a:tailEnd/>
          </a:ln>
        </p:spPr>
        <p:txBody>
          <a:bodyPr/>
          <a:lstStyle/>
          <a:p>
            <a:fld id="{F545350E-8B61-477C-BE9B-51F0DFF8B39B}" type="slidenum">
              <a:rPr lang="en-US" b="1">
                <a:solidFill>
                  <a:schemeClr val="bg1"/>
                </a:solidFill>
              </a:rPr>
              <a:pPr/>
              <a:t>5</a:t>
            </a:fld>
            <a:endParaRPr lang="en-US" b="1" dirty="0">
              <a:solidFill>
                <a:schemeClr val="bg1"/>
              </a:solidFill>
            </a:endParaRPr>
          </a:p>
        </p:txBody>
      </p:sp>
    </p:spTree>
    <p:extLst>
      <p:ext uri="{BB962C8B-B14F-4D97-AF65-F5344CB8AC3E}">
        <p14:creationId xmlns:p14="http://schemas.microsoft.com/office/powerpoint/2010/main" val="37375087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965821865"/>
              </p:ext>
            </p:extLst>
          </p:nvPr>
        </p:nvGraphicFramePr>
        <p:xfrm>
          <a:off x="177160" y="1201173"/>
          <a:ext cx="8852261" cy="5530875"/>
        </p:xfrm>
        <a:graphic>
          <a:graphicData uri="http://schemas.openxmlformats.org/drawingml/2006/table">
            <a:tbl>
              <a:tblPr firstRow="1" bandRow="1"/>
              <a:tblGrid>
                <a:gridCol w="1032242"/>
                <a:gridCol w="2544783"/>
                <a:gridCol w="2559024"/>
                <a:gridCol w="2716212"/>
              </a:tblGrid>
              <a:tr h="21094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GB" sz="800" b="1" dirty="0">
                        <a:solidFill>
                          <a:schemeClr val="bg1"/>
                        </a:solidFill>
                      </a:endParaRPr>
                    </a:p>
                  </a:txBody>
                  <a:tcPr marL="84406" marR="84406" marT="42203" marB="42203" anchor="ctr">
                    <a:lnL w="12700" cap="flat" cmpd="sng" algn="ctr">
                      <a:no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800" b="1" dirty="0"/>
                    </a:p>
                  </a:txBody>
                  <a:tcPr marL="84406" marR="84406" marT="42203" marB="42203">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800" b="1" dirty="0"/>
                    </a:p>
                  </a:txBody>
                  <a:tcPr marL="84406" marR="84406" marT="42203" marB="42203">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just"/>
                      <a:endParaRPr lang="en-GB" sz="800" b="1" dirty="0"/>
                    </a:p>
                  </a:txBody>
                  <a:tcPr marL="84406" marR="84406" marT="42203" marB="42203">
                    <a:lnL w="12700" cmpd="sng">
                      <a:solidFill>
                        <a:sysClr val="window" lastClr="FFFFFF"/>
                      </a:solid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r>
              <a:tr h="74457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bg1"/>
                          </a:solidFill>
                          <a:latin typeface="+mn-lt"/>
                          <a:ea typeface="+mn-ea"/>
                          <a:cs typeface="+mn-cs"/>
                        </a:rPr>
                        <a:t>Upward</a:t>
                      </a:r>
                      <a:r>
                        <a:rPr lang="en-GB" sz="1400" b="1" kern="1200" baseline="0" dirty="0" smtClean="0">
                          <a:solidFill>
                            <a:schemeClr val="bg1"/>
                          </a:solidFill>
                          <a:latin typeface="+mn-lt"/>
                          <a:ea typeface="+mn-ea"/>
                          <a:cs typeface="+mn-cs"/>
                        </a:rPr>
                        <a:t> Triggers</a:t>
                      </a:r>
                      <a:endParaRPr lang="en-GB" sz="1400" b="1" kern="1200" dirty="0" smtClean="0">
                        <a:solidFill>
                          <a:schemeClr val="bg1"/>
                        </a:solidFill>
                        <a:latin typeface="+mn-lt"/>
                        <a:ea typeface="+mn-ea"/>
                        <a:cs typeface="+mn-cs"/>
                      </a:endParaRPr>
                    </a:p>
                  </a:txBody>
                  <a:tcPr marL="84406" marR="84406" marT="42203" marB="42203" anchor="ctr">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36879"/>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98438" lvl="1" indent="-144463" algn="l">
                        <a:lnSpc>
                          <a:spcPct val="100000"/>
                        </a:lnSpc>
                        <a:spcBef>
                          <a:spcPts val="600"/>
                        </a:spcBef>
                        <a:spcAft>
                          <a:spcPts val="600"/>
                        </a:spcAft>
                        <a:buClr>
                          <a:schemeClr val="accent5">
                            <a:lumMod val="25000"/>
                          </a:schemeClr>
                        </a:buClr>
                        <a:buFont typeface="Arial" pitchFamily="34" charset="0"/>
                        <a:buChar char="•"/>
                      </a:pPr>
                      <a:r>
                        <a:rPr lang="en-GB" sz="1600" b="0" kern="1200" baseline="0" dirty="0" err="1" smtClean="0">
                          <a:solidFill>
                            <a:schemeClr val="dk1"/>
                          </a:solidFill>
                          <a:latin typeface="Arial Narrow" pitchFamily="34" charset="0"/>
                          <a:ea typeface="+mn-ea"/>
                          <a:cs typeface="+mn-cs"/>
                        </a:rPr>
                        <a:t>Penguat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elembagaan</a:t>
                      </a:r>
                      <a:r>
                        <a:rPr lang="en-GB" sz="1600" b="0" kern="1200" baseline="0" dirty="0" smtClean="0">
                          <a:solidFill>
                            <a:schemeClr val="dk1"/>
                          </a:solidFill>
                          <a:latin typeface="Arial Narrow" pitchFamily="34" charset="0"/>
                          <a:ea typeface="+mn-ea"/>
                          <a:cs typeface="+mn-cs"/>
                        </a:rPr>
                        <a:t> (</a:t>
                      </a:r>
                      <a:r>
                        <a:rPr lang="en-GB" sz="1600" b="0" i="1" kern="1200" baseline="0" dirty="0" smtClean="0">
                          <a:solidFill>
                            <a:schemeClr val="dk1"/>
                          </a:solidFill>
                          <a:latin typeface="Arial Narrow" pitchFamily="34" charset="0"/>
                          <a:ea typeface="+mn-ea"/>
                          <a:cs typeface="+mn-cs"/>
                        </a:rPr>
                        <a:t>institutional</a:t>
                      </a:r>
                      <a:r>
                        <a:rPr lang="en-GB" sz="1600" b="0" i="0" kern="1200" baseline="0" dirty="0" smtClean="0">
                          <a:solidFill>
                            <a:schemeClr val="dk1"/>
                          </a:solidFill>
                          <a:latin typeface="Arial Narrow" pitchFamily="34" charset="0"/>
                          <a:ea typeface="+mn-ea"/>
                          <a:cs typeface="+mn-cs"/>
                        </a:rPr>
                        <a:t>)</a:t>
                      </a:r>
                    </a:p>
                    <a:p>
                      <a:pPr marL="198438" lvl="1" indent="-144463" algn="l">
                        <a:lnSpc>
                          <a:spcPct val="100000"/>
                        </a:lnSpc>
                        <a:spcBef>
                          <a:spcPts val="600"/>
                        </a:spcBef>
                        <a:spcAft>
                          <a:spcPts val="600"/>
                        </a:spcAft>
                        <a:buClr>
                          <a:schemeClr val="accent5">
                            <a:lumMod val="25000"/>
                          </a:schemeClr>
                        </a:buClr>
                        <a:buFont typeface="Arial" pitchFamily="34" charset="0"/>
                        <a:buChar char="•"/>
                      </a:pPr>
                      <a:r>
                        <a:rPr lang="en-GB" sz="1600" b="0" i="0" kern="1200" baseline="0" dirty="0" err="1" smtClean="0">
                          <a:solidFill>
                            <a:schemeClr val="dk1"/>
                          </a:solidFill>
                          <a:latin typeface="Arial Narrow" pitchFamily="34" charset="0"/>
                          <a:ea typeface="+mn-ea"/>
                          <a:cs typeface="+mn-cs"/>
                        </a:rPr>
                        <a:t>Efektifitas</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implementasi</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rencana</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investasi</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infrastruktur</a:t>
                      </a:r>
                      <a:endParaRPr lang="en-GB" sz="1600" b="0" i="0" kern="1200" baseline="0" dirty="0" smtClean="0">
                        <a:solidFill>
                          <a:schemeClr val="dk1"/>
                        </a:solidFill>
                        <a:latin typeface="Arial Narrow" pitchFamily="34" charset="0"/>
                        <a:ea typeface="+mn-ea"/>
                        <a:cs typeface="+mn-cs"/>
                      </a:endParaRPr>
                    </a:p>
                    <a:p>
                      <a:pPr marL="198438" lvl="1" indent="-144463" algn="l">
                        <a:lnSpc>
                          <a:spcPct val="100000"/>
                        </a:lnSpc>
                        <a:spcBef>
                          <a:spcPts val="600"/>
                        </a:spcBef>
                        <a:spcAft>
                          <a:spcPts val="600"/>
                        </a:spcAft>
                        <a:buClr>
                          <a:schemeClr val="accent5">
                            <a:lumMod val="25000"/>
                          </a:schemeClr>
                        </a:buClr>
                        <a:buFont typeface="Arial" pitchFamily="34" charset="0"/>
                        <a:buChar char="•"/>
                      </a:pPr>
                      <a:r>
                        <a:rPr lang="en-GB" sz="1600" b="0" i="0" kern="1200" baseline="0" dirty="0" err="1" smtClean="0">
                          <a:solidFill>
                            <a:schemeClr val="dk1"/>
                          </a:solidFill>
                          <a:latin typeface="Arial Narrow" pitchFamily="34" charset="0"/>
                          <a:ea typeface="+mn-ea"/>
                          <a:cs typeface="+mn-cs"/>
                        </a:rPr>
                        <a:t>Peningkatan</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ketahanan</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terhadap</a:t>
                      </a:r>
                      <a:r>
                        <a:rPr lang="en-GB" sz="1600" b="0" i="0" kern="1200" baseline="0" dirty="0" smtClean="0">
                          <a:solidFill>
                            <a:schemeClr val="dk1"/>
                          </a:solidFill>
                          <a:latin typeface="Arial Narrow" pitchFamily="34" charset="0"/>
                          <a:ea typeface="+mn-ea"/>
                          <a:cs typeface="+mn-cs"/>
                        </a:rPr>
                        <a:t> </a:t>
                      </a:r>
                      <a:r>
                        <a:rPr lang="en-GB" sz="1600" b="0" i="0" kern="1200" baseline="0" dirty="0" err="1" smtClean="0">
                          <a:solidFill>
                            <a:schemeClr val="dk1"/>
                          </a:solidFill>
                          <a:latin typeface="Arial Narrow" pitchFamily="34" charset="0"/>
                          <a:ea typeface="+mn-ea"/>
                          <a:cs typeface="+mn-cs"/>
                        </a:rPr>
                        <a:t>volatilitas</a:t>
                      </a:r>
                      <a:r>
                        <a:rPr lang="en-GB" sz="1600" b="0" i="0" kern="1200" baseline="0" dirty="0" smtClean="0">
                          <a:solidFill>
                            <a:schemeClr val="dk1"/>
                          </a:solidFill>
                          <a:latin typeface="Arial Narrow" pitchFamily="34" charset="0"/>
                          <a:ea typeface="+mn-ea"/>
                          <a:cs typeface="+mn-cs"/>
                        </a:rPr>
                        <a:t> global</a:t>
                      </a:r>
                      <a:endParaRPr lang="en-GB" sz="1600" b="0" kern="1200" baseline="0" dirty="0" smtClean="0">
                        <a:solidFill>
                          <a:schemeClr val="dk1"/>
                        </a:solidFill>
                        <a:latin typeface="Arial Narrow" pitchFamily="34" charset="0"/>
                        <a:ea typeface="+mn-ea"/>
                        <a:cs typeface="+mn-cs"/>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1775" lvl="0" indent="-149225" algn="l">
                        <a:lnSpc>
                          <a:spcPct val="100000"/>
                        </a:lnSpc>
                        <a:spcBef>
                          <a:spcPts val="600"/>
                        </a:spcBef>
                        <a:spcAft>
                          <a:spcPts val="600"/>
                        </a:spcAft>
                        <a:buClr>
                          <a:schemeClr val="accent5">
                            <a:lumMod val="25000"/>
                          </a:schemeClr>
                        </a:buClr>
                        <a:buFont typeface="Arial" pitchFamily="34" charset="0"/>
                        <a:buChar char="•"/>
                      </a:pPr>
                      <a:r>
                        <a:rPr lang="en-GB" sz="1600" b="0" kern="1200" baseline="0" dirty="0" err="1" smtClean="0">
                          <a:solidFill>
                            <a:schemeClr val="dk1"/>
                          </a:solidFill>
                          <a:latin typeface="Arial Narrow" pitchFamily="34" charset="0"/>
                          <a:ea typeface="+mn-ea"/>
                          <a:cs typeface="+mn-cs"/>
                        </a:rPr>
                        <a:t>Peningkat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ualitas</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belanj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oleh</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merintah</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ermasuk</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netap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arga</a:t>
                      </a:r>
                      <a:r>
                        <a:rPr lang="en-GB" sz="1600" b="0" kern="1200" baseline="0" dirty="0" smtClean="0">
                          <a:solidFill>
                            <a:schemeClr val="dk1"/>
                          </a:solidFill>
                          <a:latin typeface="Arial Narrow" pitchFamily="34" charset="0"/>
                          <a:ea typeface="+mn-ea"/>
                          <a:cs typeface="+mn-cs"/>
                        </a:rPr>
                        <a:t> BBM </a:t>
                      </a:r>
                      <a:r>
                        <a:rPr lang="en-GB" sz="1600" b="0" kern="1200" baseline="0" dirty="0" err="1" smtClean="0">
                          <a:solidFill>
                            <a:schemeClr val="dk1"/>
                          </a:solidFill>
                          <a:latin typeface="Arial Narrow" pitchFamily="34" charset="0"/>
                          <a:ea typeface="+mn-ea"/>
                          <a:cs typeface="+mn-cs"/>
                        </a:rPr>
                        <a:t>sesua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harg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asar</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aloka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anggar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investa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ublik</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secar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efisien</a:t>
                      </a:r>
                      <a:r>
                        <a:rPr lang="en-GB" sz="1600" b="0" kern="1200" baseline="0" dirty="0" smtClean="0">
                          <a:solidFill>
                            <a:schemeClr val="dk1"/>
                          </a:solidFill>
                          <a:latin typeface="Arial Narrow" pitchFamily="34" charset="0"/>
                          <a:ea typeface="+mn-ea"/>
                          <a:cs typeface="+mn-cs"/>
                        </a:rPr>
                        <a:t>.</a:t>
                      </a:r>
                    </a:p>
                    <a:p>
                      <a:pPr marL="0" lvl="0" indent="-90000" algn="l">
                        <a:lnSpc>
                          <a:spcPct val="100000"/>
                        </a:lnSpc>
                        <a:spcBef>
                          <a:spcPts val="600"/>
                        </a:spcBef>
                        <a:spcAft>
                          <a:spcPts val="600"/>
                        </a:spcAft>
                        <a:buClr>
                          <a:schemeClr val="accent5">
                            <a:lumMod val="25000"/>
                          </a:schemeClr>
                        </a:buClr>
                        <a:buFont typeface="Arial" pitchFamily="34" charset="0"/>
                        <a:buChar char="•"/>
                      </a:pPr>
                      <a:endParaRPr lang="en-GB" sz="1600" b="0" kern="1200" baseline="0" dirty="0" smtClean="0">
                        <a:solidFill>
                          <a:schemeClr val="dk1"/>
                        </a:solidFill>
                        <a:latin typeface="Arial Narrow" pitchFamily="34" charset="0"/>
                        <a:ea typeface="+mn-ea"/>
                        <a:cs typeface="+mn-cs"/>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95250" marR="0" lvl="1" indent="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None/>
                        <a:tabLst/>
                        <a:defRPr/>
                      </a:pPr>
                      <a:r>
                        <a:rPr lang="en-GB" sz="1600" kern="1200" dirty="0" err="1" smtClean="0">
                          <a:solidFill>
                            <a:schemeClr val="dk1"/>
                          </a:solidFill>
                          <a:latin typeface="Arial Narrow" pitchFamily="34" charset="0"/>
                          <a:ea typeface="+mn-ea"/>
                          <a:cs typeface="+mn-cs"/>
                        </a:rPr>
                        <a:t>Pelaksana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kebijakan</a:t>
                      </a:r>
                      <a:r>
                        <a:rPr lang="en-GB" sz="1600" kern="1200" dirty="0" smtClean="0">
                          <a:solidFill>
                            <a:schemeClr val="dk1"/>
                          </a:solidFill>
                          <a:latin typeface="Arial Narrow" pitchFamily="34" charset="0"/>
                          <a:ea typeface="+mn-ea"/>
                          <a:cs typeface="+mn-cs"/>
                        </a:rPr>
                        <a:t> yang:</a:t>
                      </a:r>
                    </a:p>
                    <a:p>
                      <a:pPr marL="381000" marR="0" lvl="1" indent="-28575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kern="1200" dirty="0" err="1" smtClean="0">
                          <a:solidFill>
                            <a:schemeClr val="dk1"/>
                          </a:solidFill>
                          <a:latin typeface="Arial Narrow" pitchFamily="34" charset="0"/>
                          <a:ea typeface="+mn-ea"/>
                          <a:cs typeface="+mn-cs"/>
                        </a:rPr>
                        <a:t>Mendorong</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resiliensi</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perekonomi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terhadap</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tekan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eksternal</a:t>
                      </a:r>
                      <a:r>
                        <a:rPr lang="en-GB" sz="1600" kern="1200" dirty="0" smtClean="0">
                          <a:solidFill>
                            <a:schemeClr val="dk1"/>
                          </a:solidFill>
                          <a:latin typeface="Arial Narrow" pitchFamily="34" charset="0"/>
                          <a:ea typeface="+mn-ea"/>
                          <a:cs typeface="+mn-cs"/>
                        </a:rPr>
                        <a:t>.</a:t>
                      </a:r>
                    </a:p>
                    <a:p>
                      <a:pPr marL="381000" marR="0" lvl="1" indent="-28575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kern="1200" dirty="0" err="1" smtClean="0">
                          <a:solidFill>
                            <a:schemeClr val="dk1"/>
                          </a:solidFill>
                          <a:latin typeface="Arial Narrow" pitchFamily="34" charset="0"/>
                          <a:ea typeface="+mn-ea"/>
                          <a:cs typeface="+mn-cs"/>
                        </a:rPr>
                        <a:t>Meningkatk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iklim</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bisnis</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serta</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meningkatk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pertumbuh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ekonomi</a:t>
                      </a:r>
                      <a:endParaRPr lang="en-GB" sz="1600" kern="1200" dirty="0" smtClean="0">
                        <a:solidFill>
                          <a:schemeClr val="dk1"/>
                        </a:solidFill>
                        <a:latin typeface="Arial Narrow" pitchFamily="34" charset="0"/>
                        <a:ea typeface="+mn-ea"/>
                        <a:cs typeface="+mn-cs"/>
                      </a:endParaRPr>
                    </a:p>
                    <a:p>
                      <a:pPr marL="95250" marR="0" lvl="1" indent="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None/>
                        <a:tabLst/>
                        <a:defRPr/>
                      </a:pPr>
                      <a:endParaRPr lang="en-GB" sz="1600" kern="1200" dirty="0" smtClean="0">
                        <a:solidFill>
                          <a:schemeClr val="dk1"/>
                        </a:solidFill>
                        <a:latin typeface="Arial Narrow" pitchFamily="34" charset="0"/>
                        <a:ea typeface="+mn-ea"/>
                        <a:cs typeface="+mn-cs"/>
                      </a:endParaRPr>
                    </a:p>
                  </a:txBody>
                  <a:tcPr marL="84406" marR="84406" marT="42203" marB="42203">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6E7E8"/>
                    </a:solidFill>
                  </a:tcPr>
                </a:tc>
              </a:tr>
              <a:tr h="73076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rgbClr val="1B587C"/>
                          </a:solidFill>
                          <a:latin typeface="+mn-lt"/>
                          <a:ea typeface="+mn-ea"/>
                          <a:cs typeface="+mn-cs"/>
                        </a:rPr>
                        <a:t>Downward Triggers</a:t>
                      </a:r>
                    </a:p>
                  </a:txBody>
                  <a:tcPr marL="84406" marR="84406" marT="42203" marB="42203" anchor="ctr">
                    <a:lnL w="12700" cap="flat" cmpd="sng" algn="ctr">
                      <a:no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25425" marR="0" lvl="1" indent="-17145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Memburukny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inerj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nerac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transak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berjal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atau</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memburukny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an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cadang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mbiayaan</a:t>
                      </a:r>
                      <a:r>
                        <a:rPr lang="en-GB" sz="1600" b="0" kern="1200" baseline="0" dirty="0" smtClean="0">
                          <a:solidFill>
                            <a:schemeClr val="dk1"/>
                          </a:solidFill>
                          <a:latin typeface="Arial Narrow" pitchFamily="34" charset="0"/>
                          <a:ea typeface="+mn-ea"/>
                          <a:cs typeface="+mn-cs"/>
                        </a:rPr>
                        <a:t> ULN (</a:t>
                      </a:r>
                      <a:r>
                        <a:rPr lang="en-GB" sz="1600" b="0" kern="1200" baseline="0" dirty="0" err="1" smtClean="0">
                          <a:solidFill>
                            <a:schemeClr val="dk1"/>
                          </a:solidFill>
                          <a:latin typeface="Arial Narrow" pitchFamily="34" charset="0"/>
                          <a:ea typeface="+mn-ea"/>
                          <a:cs typeface="+mn-cs"/>
                        </a:rPr>
                        <a:t>a.l</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cadang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evisa</a:t>
                      </a:r>
                      <a:r>
                        <a:rPr lang="en-GB" sz="1600" b="0" kern="1200" baseline="0" dirty="0" smtClean="0">
                          <a:solidFill>
                            <a:schemeClr val="dk1"/>
                          </a:solidFill>
                          <a:latin typeface="Arial Narrow" pitchFamily="34" charset="0"/>
                          <a:ea typeface="+mn-ea"/>
                          <a:cs typeface="+mn-cs"/>
                        </a:rPr>
                        <a:t>).</a:t>
                      </a:r>
                    </a:p>
                    <a:p>
                      <a:pPr marL="225425" marR="0" lvl="1" indent="-171450"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b="0" kern="1200" baseline="0" dirty="0" err="1" smtClean="0">
                          <a:solidFill>
                            <a:schemeClr val="dk1"/>
                          </a:solidFill>
                          <a:latin typeface="Arial Narrow" pitchFamily="34" charset="0"/>
                          <a:ea typeface="+mn-ea"/>
                          <a:cs typeface="+mn-cs"/>
                        </a:rPr>
                        <a:t>Adany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embalik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pad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konsolida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fiskal</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dan</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upaya</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reformasi</a:t>
                      </a:r>
                      <a:r>
                        <a:rPr lang="en-GB" sz="1600" b="0" kern="1200" baseline="0" dirty="0" smtClean="0">
                          <a:solidFill>
                            <a:schemeClr val="dk1"/>
                          </a:solidFill>
                          <a:latin typeface="Arial Narrow" pitchFamily="34" charset="0"/>
                          <a:ea typeface="+mn-ea"/>
                          <a:cs typeface="+mn-cs"/>
                        </a:rPr>
                        <a:t> </a:t>
                      </a:r>
                      <a:r>
                        <a:rPr lang="en-GB" sz="1600" b="0" kern="1200" baseline="0" dirty="0" err="1" smtClean="0">
                          <a:solidFill>
                            <a:schemeClr val="dk1"/>
                          </a:solidFill>
                          <a:latin typeface="Arial Narrow" pitchFamily="34" charset="0"/>
                          <a:ea typeface="+mn-ea"/>
                          <a:cs typeface="+mn-cs"/>
                        </a:rPr>
                        <a:t>struktural</a:t>
                      </a:r>
                      <a:r>
                        <a:rPr lang="en-GB" sz="1600" b="0" kern="1200" baseline="0" dirty="0" smtClean="0">
                          <a:solidFill>
                            <a:schemeClr val="dk1"/>
                          </a:solidFill>
                          <a:latin typeface="Arial Narrow" pitchFamily="34" charset="0"/>
                          <a:ea typeface="+mn-ea"/>
                          <a:cs typeface="+mn-cs"/>
                        </a:rPr>
                        <a:t>.</a:t>
                      </a:r>
                    </a:p>
                  </a:txBody>
                  <a:tcPr marL="84406" marR="84406" marT="42203" marB="42203">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8"/>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231775" marR="0" indent="-149225"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b="0" dirty="0" err="1" smtClean="0">
                          <a:latin typeface="Arial Narrow" pitchFamily="34" charset="0"/>
                        </a:rPr>
                        <a:t>Meredupnya</a:t>
                      </a:r>
                      <a:r>
                        <a:rPr lang="en-GB" sz="1600" b="0" dirty="0" smtClean="0">
                          <a:latin typeface="Arial Narrow" pitchFamily="34" charset="0"/>
                        </a:rPr>
                        <a:t> </a:t>
                      </a:r>
                      <a:r>
                        <a:rPr lang="en-GB" sz="1600" b="0" dirty="0" err="1" smtClean="0">
                          <a:latin typeface="Arial Narrow" pitchFamily="34" charset="0"/>
                        </a:rPr>
                        <a:t>ambisi</a:t>
                      </a:r>
                      <a:r>
                        <a:rPr lang="en-GB" sz="1600" b="0" baseline="0" dirty="0" smtClean="0">
                          <a:latin typeface="Arial Narrow" pitchFamily="34" charset="0"/>
                        </a:rPr>
                        <a:t> </a:t>
                      </a:r>
                      <a:r>
                        <a:rPr lang="en-GB" sz="1600" b="0" baseline="0" dirty="0" err="1" smtClean="0">
                          <a:latin typeface="Arial Narrow" pitchFamily="34" charset="0"/>
                        </a:rPr>
                        <a:t>r</a:t>
                      </a:r>
                      <a:r>
                        <a:rPr lang="en-GB" sz="1600" b="0" dirty="0" err="1" smtClean="0">
                          <a:latin typeface="Arial Narrow" pitchFamily="34" charset="0"/>
                        </a:rPr>
                        <a:t>eformasi</a:t>
                      </a:r>
                      <a:r>
                        <a:rPr lang="en-GB" sz="1600" b="0" dirty="0" smtClean="0">
                          <a:latin typeface="Arial Narrow" pitchFamily="34" charset="0"/>
                        </a:rPr>
                        <a:t> </a:t>
                      </a:r>
                      <a:r>
                        <a:rPr lang="en-GB" sz="1600" b="0" dirty="0" err="1" smtClean="0">
                          <a:latin typeface="Arial Narrow" pitchFamily="34" charset="0"/>
                        </a:rPr>
                        <a:t>sruktural</a:t>
                      </a:r>
                      <a:r>
                        <a:rPr lang="en-GB" sz="1600" b="0" dirty="0" smtClean="0">
                          <a:latin typeface="Arial Narrow" pitchFamily="34" charset="0"/>
                        </a:rPr>
                        <a:t> </a:t>
                      </a:r>
                      <a:r>
                        <a:rPr lang="en-GB" sz="1600" b="0" dirty="0" err="1" smtClean="0">
                          <a:latin typeface="Arial Narrow" pitchFamily="34" charset="0"/>
                        </a:rPr>
                        <a:t>Pemerintah</a:t>
                      </a:r>
                      <a:r>
                        <a:rPr lang="en-GB" sz="1600" b="0" dirty="0" smtClean="0">
                          <a:latin typeface="Arial Narrow" pitchFamily="34" charset="0"/>
                        </a:rPr>
                        <a:t>.</a:t>
                      </a:r>
                    </a:p>
                    <a:p>
                      <a:pPr marL="231775" marR="0" indent="-149225" algn="l" defTabSz="914400" rtl="0" eaLnBrk="1" fontAlgn="auto" latinLnBrk="0" hangingPunct="1">
                        <a:lnSpc>
                          <a:spcPct val="100000"/>
                        </a:lnSpc>
                        <a:spcBef>
                          <a:spcPts val="600"/>
                        </a:spcBef>
                        <a:spcAft>
                          <a:spcPts val="600"/>
                        </a:spcAft>
                        <a:buClr>
                          <a:schemeClr val="accent5">
                            <a:lumMod val="25000"/>
                          </a:schemeClr>
                        </a:buClr>
                        <a:buSzTx/>
                        <a:buFont typeface="Arial" pitchFamily="34" charset="0"/>
                        <a:buChar char="•"/>
                        <a:tabLst/>
                        <a:defRPr/>
                      </a:pPr>
                      <a:r>
                        <a:rPr lang="en-GB" sz="1600" b="0" dirty="0" err="1" smtClean="0">
                          <a:latin typeface="Arial Narrow" pitchFamily="34" charset="0"/>
                        </a:rPr>
                        <a:t>Meningkatnya</a:t>
                      </a:r>
                      <a:r>
                        <a:rPr lang="en-GB" sz="1600" b="0" baseline="0" dirty="0" smtClean="0">
                          <a:latin typeface="Arial Narrow" pitchFamily="34" charset="0"/>
                        </a:rPr>
                        <a:t> </a:t>
                      </a:r>
                      <a:r>
                        <a:rPr lang="en-GB" sz="1600" b="0" baseline="0" dirty="0" err="1" smtClean="0">
                          <a:latin typeface="Arial Narrow" pitchFamily="34" charset="0"/>
                        </a:rPr>
                        <a:t>ketidakseimbangan</a:t>
                      </a:r>
                      <a:r>
                        <a:rPr lang="en-GB" sz="1600" b="0" baseline="0" dirty="0" smtClean="0">
                          <a:latin typeface="Arial Narrow" pitchFamily="34" charset="0"/>
                        </a:rPr>
                        <a:t> </a:t>
                      </a:r>
                      <a:r>
                        <a:rPr lang="en-GB" sz="1600" b="0" baseline="0" dirty="0" err="1" smtClean="0">
                          <a:latin typeface="Arial Narrow" pitchFamily="34" charset="0"/>
                        </a:rPr>
                        <a:t>makroekonomi</a:t>
                      </a:r>
                      <a:endParaRPr lang="en-GB" sz="1600" b="0" dirty="0" smtClean="0">
                        <a:latin typeface="Arial Narrow" pitchFamily="34" charset="0"/>
                      </a:endParaRPr>
                    </a:p>
                  </a:txBody>
                  <a:tcPr marL="84406" marR="84406" marT="42203" marB="42203">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8"/>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341313" lvl="0" indent="-231775" algn="l">
                        <a:lnSpc>
                          <a:spcPct val="100000"/>
                        </a:lnSpc>
                        <a:spcBef>
                          <a:spcPts val="600"/>
                        </a:spcBef>
                        <a:spcAft>
                          <a:spcPts val="600"/>
                        </a:spcAft>
                        <a:buClr>
                          <a:schemeClr val="accent5">
                            <a:lumMod val="25000"/>
                          </a:schemeClr>
                        </a:buClr>
                        <a:buFont typeface="Arial" pitchFamily="34" charset="0"/>
                        <a:buChar char="•"/>
                      </a:pPr>
                      <a:r>
                        <a:rPr lang="en-GB" sz="1600" kern="1200" dirty="0" smtClean="0">
                          <a:solidFill>
                            <a:schemeClr val="dk1"/>
                          </a:solidFill>
                          <a:latin typeface="Arial Narrow" pitchFamily="34" charset="0"/>
                          <a:ea typeface="+mn-ea"/>
                          <a:cs typeface="+mn-cs"/>
                        </a:rPr>
                        <a:t>Bias </a:t>
                      </a:r>
                      <a:r>
                        <a:rPr lang="en-GB" sz="1600" kern="1200" dirty="0" err="1" smtClean="0">
                          <a:solidFill>
                            <a:schemeClr val="dk1"/>
                          </a:solidFill>
                          <a:latin typeface="Arial Narrow" pitchFamily="34" charset="0"/>
                          <a:ea typeface="+mn-ea"/>
                          <a:cs typeface="+mn-cs"/>
                        </a:rPr>
                        <a:t>kebijak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stabilitas</a:t>
                      </a:r>
                      <a:r>
                        <a:rPr lang="en-GB" sz="1600" kern="1200" dirty="0" smtClean="0">
                          <a:solidFill>
                            <a:schemeClr val="dk1"/>
                          </a:solidFill>
                          <a:latin typeface="Arial Narrow" pitchFamily="34" charset="0"/>
                          <a:ea typeface="+mn-ea"/>
                          <a:cs typeface="+mn-cs"/>
                        </a:rPr>
                        <a:t> di </a:t>
                      </a:r>
                      <a:r>
                        <a:rPr lang="en-GB" sz="1600" kern="1200" dirty="0" err="1" smtClean="0">
                          <a:solidFill>
                            <a:schemeClr val="dk1"/>
                          </a:solidFill>
                          <a:latin typeface="Arial Narrow" pitchFamily="34" charset="0"/>
                          <a:ea typeface="+mn-ea"/>
                          <a:cs typeface="+mn-cs"/>
                        </a:rPr>
                        <a:t>atas</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pertumbuhan</a:t>
                      </a:r>
                      <a:r>
                        <a:rPr lang="en-GB" sz="1600" kern="1200" dirty="0" smtClean="0">
                          <a:solidFill>
                            <a:schemeClr val="dk1"/>
                          </a:solidFill>
                          <a:latin typeface="Arial Narrow" pitchFamily="34" charset="0"/>
                          <a:ea typeface="+mn-ea"/>
                          <a:cs typeface="+mn-cs"/>
                        </a:rPr>
                        <a:t> yang</a:t>
                      </a:r>
                      <a:r>
                        <a:rPr lang="en-GB" sz="1600" kern="1200" baseline="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mengarah</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ke</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perlambatan</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ekonomi</a:t>
                      </a:r>
                      <a:r>
                        <a:rPr lang="en-GB" sz="1600" kern="1200" dirty="0" smtClean="0">
                          <a:solidFill>
                            <a:schemeClr val="dk1"/>
                          </a:solidFill>
                          <a:latin typeface="Arial Narrow" pitchFamily="34" charset="0"/>
                          <a:ea typeface="+mn-ea"/>
                          <a:cs typeface="+mn-cs"/>
                        </a:rPr>
                        <a:t>.</a:t>
                      </a:r>
                    </a:p>
                    <a:p>
                      <a:pPr marL="341313" lvl="0" indent="-231775" algn="l">
                        <a:lnSpc>
                          <a:spcPct val="100000"/>
                        </a:lnSpc>
                        <a:spcBef>
                          <a:spcPts val="600"/>
                        </a:spcBef>
                        <a:spcAft>
                          <a:spcPts val="600"/>
                        </a:spcAft>
                        <a:buClr>
                          <a:schemeClr val="accent5">
                            <a:lumMod val="25000"/>
                          </a:schemeClr>
                        </a:buClr>
                        <a:buFont typeface="Arial" pitchFamily="34" charset="0"/>
                        <a:buChar char="•"/>
                      </a:pPr>
                      <a:r>
                        <a:rPr lang="en-GB" sz="1600" kern="1200" dirty="0" err="1" smtClean="0">
                          <a:solidFill>
                            <a:schemeClr val="dk1"/>
                          </a:solidFill>
                          <a:latin typeface="Arial Narrow" pitchFamily="34" charset="0"/>
                          <a:ea typeface="+mn-ea"/>
                          <a:cs typeface="+mn-cs"/>
                        </a:rPr>
                        <a:t>Memburuknya</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keyakinan</a:t>
                      </a:r>
                      <a:r>
                        <a:rPr lang="en-GB" sz="1600" kern="1200" dirty="0" smtClean="0">
                          <a:solidFill>
                            <a:schemeClr val="dk1"/>
                          </a:solidFill>
                          <a:latin typeface="Arial Narrow" pitchFamily="34" charset="0"/>
                          <a:ea typeface="+mn-ea"/>
                          <a:cs typeface="+mn-cs"/>
                        </a:rPr>
                        <a:t> investor </a:t>
                      </a:r>
                      <a:r>
                        <a:rPr lang="en-GB" sz="1600" kern="1200" dirty="0" err="1" smtClean="0">
                          <a:solidFill>
                            <a:schemeClr val="dk1"/>
                          </a:solidFill>
                          <a:latin typeface="Arial Narrow" pitchFamily="34" charset="0"/>
                          <a:ea typeface="+mn-ea"/>
                          <a:cs typeface="+mn-cs"/>
                        </a:rPr>
                        <a:t>asing</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dan</a:t>
                      </a:r>
                      <a:r>
                        <a:rPr lang="en-GB" sz="1600" kern="1200" dirty="0" smtClean="0">
                          <a:solidFill>
                            <a:schemeClr val="dk1"/>
                          </a:solidFill>
                          <a:latin typeface="Arial Narrow" pitchFamily="34" charset="0"/>
                          <a:ea typeface="+mn-ea"/>
                          <a:cs typeface="+mn-cs"/>
                        </a:rPr>
                        <a:t>/</a:t>
                      </a:r>
                      <a:r>
                        <a:rPr lang="en-GB" sz="1600" kern="1200" dirty="0" err="1" smtClean="0">
                          <a:solidFill>
                            <a:schemeClr val="dk1"/>
                          </a:solidFill>
                          <a:latin typeface="Arial Narrow" pitchFamily="34" charset="0"/>
                          <a:ea typeface="+mn-ea"/>
                          <a:cs typeface="+mn-cs"/>
                        </a:rPr>
                        <a:t>atau</a:t>
                      </a:r>
                      <a:r>
                        <a:rPr lang="en-GB" sz="1600" kern="1200" dirty="0" smtClean="0">
                          <a:solidFill>
                            <a:schemeClr val="dk1"/>
                          </a:solidFill>
                          <a:latin typeface="Arial Narrow" pitchFamily="34" charset="0"/>
                          <a:ea typeface="+mn-ea"/>
                          <a:cs typeface="+mn-cs"/>
                        </a:rPr>
                        <a:t> </a:t>
                      </a:r>
                      <a:r>
                        <a:rPr lang="en-GB" sz="1600" kern="1200" dirty="0" err="1" smtClean="0">
                          <a:solidFill>
                            <a:schemeClr val="dk1"/>
                          </a:solidFill>
                          <a:latin typeface="Arial Narrow" pitchFamily="34" charset="0"/>
                          <a:ea typeface="+mn-ea"/>
                          <a:cs typeface="+mn-cs"/>
                        </a:rPr>
                        <a:t>domestik</a:t>
                      </a:r>
                      <a:r>
                        <a:rPr lang="en-GB" sz="1600" kern="1200" dirty="0" smtClean="0">
                          <a:solidFill>
                            <a:schemeClr val="dk1"/>
                          </a:solidFill>
                          <a:latin typeface="Arial Narrow" pitchFamily="34" charset="0"/>
                          <a:ea typeface="+mn-ea"/>
                          <a:cs typeface="+mn-cs"/>
                        </a:rPr>
                        <a:t>,</a:t>
                      </a:r>
                      <a:r>
                        <a:rPr lang="en-GB" sz="1600" kern="1200" baseline="0" dirty="0" smtClean="0">
                          <a:solidFill>
                            <a:schemeClr val="dk1"/>
                          </a:solidFill>
                          <a:latin typeface="Arial Narrow" pitchFamily="34" charset="0"/>
                          <a:ea typeface="+mn-ea"/>
                          <a:cs typeface="+mn-cs"/>
                        </a:rPr>
                        <a:t> yang </a:t>
                      </a:r>
                      <a:r>
                        <a:rPr lang="en-GB" sz="1600" kern="1200" baseline="0" dirty="0" err="1" smtClean="0">
                          <a:solidFill>
                            <a:schemeClr val="dk1"/>
                          </a:solidFill>
                          <a:latin typeface="Arial Narrow" pitchFamily="34" charset="0"/>
                          <a:ea typeface="+mn-ea"/>
                          <a:cs typeface="+mn-cs"/>
                        </a:rPr>
                        <a:t>berdampak</a:t>
                      </a:r>
                      <a:r>
                        <a:rPr lang="en-GB" sz="1600" kern="1200" baseline="0" dirty="0" smtClean="0">
                          <a:solidFill>
                            <a:schemeClr val="dk1"/>
                          </a:solidFill>
                          <a:latin typeface="Arial Narrow" pitchFamily="34" charset="0"/>
                          <a:ea typeface="+mn-ea"/>
                          <a:cs typeface="+mn-cs"/>
                        </a:rPr>
                        <a:t> </a:t>
                      </a:r>
                      <a:r>
                        <a:rPr lang="en-GB" sz="1600" kern="1200" baseline="0" dirty="0" err="1" smtClean="0">
                          <a:solidFill>
                            <a:schemeClr val="dk1"/>
                          </a:solidFill>
                          <a:latin typeface="Arial Narrow" pitchFamily="34" charset="0"/>
                          <a:ea typeface="+mn-ea"/>
                          <a:cs typeface="+mn-cs"/>
                        </a:rPr>
                        <a:t>pada</a:t>
                      </a:r>
                      <a:r>
                        <a:rPr lang="en-GB" sz="1600" kern="1200" baseline="0" dirty="0" smtClean="0">
                          <a:solidFill>
                            <a:schemeClr val="dk1"/>
                          </a:solidFill>
                          <a:latin typeface="Arial Narrow" pitchFamily="34" charset="0"/>
                          <a:ea typeface="+mn-ea"/>
                          <a:cs typeface="+mn-cs"/>
                        </a:rPr>
                        <a:t> </a:t>
                      </a:r>
                      <a:r>
                        <a:rPr lang="en-GB" sz="1600" kern="1200" baseline="0" dirty="0" err="1" smtClean="0">
                          <a:solidFill>
                            <a:schemeClr val="dk1"/>
                          </a:solidFill>
                          <a:latin typeface="Arial Narrow" pitchFamily="34" charset="0"/>
                          <a:ea typeface="+mn-ea"/>
                          <a:cs typeface="+mn-cs"/>
                        </a:rPr>
                        <a:t>melemahnya</a:t>
                      </a:r>
                      <a:r>
                        <a:rPr lang="en-GB" sz="1600" kern="1200" baseline="0" dirty="0" smtClean="0">
                          <a:solidFill>
                            <a:schemeClr val="dk1"/>
                          </a:solidFill>
                          <a:latin typeface="Arial Narrow" pitchFamily="34" charset="0"/>
                          <a:ea typeface="+mn-ea"/>
                          <a:cs typeface="+mn-cs"/>
                        </a:rPr>
                        <a:t> </a:t>
                      </a:r>
                      <a:r>
                        <a:rPr lang="en-GB" sz="1600" kern="1200" baseline="0" dirty="0" err="1" smtClean="0">
                          <a:solidFill>
                            <a:schemeClr val="dk1"/>
                          </a:solidFill>
                          <a:latin typeface="Arial Narrow" pitchFamily="34" charset="0"/>
                          <a:ea typeface="+mn-ea"/>
                          <a:cs typeface="+mn-cs"/>
                        </a:rPr>
                        <a:t>pembiayaan</a:t>
                      </a:r>
                      <a:r>
                        <a:rPr lang="en-GB" sz="1600" kern="1200" baseline="0" dirty="0" smtClean="0">
                          <a:solidFill>
                            <a:schemeClr val="dk1"/>
                          </a:solidFill>
                          <a:latin typeface="Arial Narrow" pitchFamily="34" charset="0"/>
                          <a:ea typeface="+mn-ea"/>
                          <a:cs typeface="+mn-cs"/>
                        </a:rPr>
                        <a:t> </a:t>
                      </a:r>
                      <a:r>
                        <a:rPr lang="en-GB" sz="1600" kern="1200" baseline="0" dirty="0" err="1" smtClean="0">
                          <a:solidFill>
                            <a:schemeClr val="dk1"/>
                          </a:solidFill>
                          <a:latin typeface="Arial Narrow" pitchFamily="34" charset="0"/>
                          <a:ea typeface="+mn-ea"/>
                          <a:cs typeface="+mn-cs"/>
                        </a:rPr>
                        <a:t>eksternal</a:t>
                      </a:r>
                      <a:endParaRPr lang="en-GB" sz="1600" kern="1200" baseline="0" dirty="0" smtClean="0">
                        <a:solidFill>
                          <a:schemeClr val="dk1"/>
                        </a:solidFill>
                        <a:latin typeface="Arial Narrow" pitchFamily="34" charset="0"/>
                        <a:ea typeface="+mn-ea"/>
                        <a:cs typeface="+mn-cs"/>
                      </a:endParaRPr>
                    </a:p>
                    <a:p>
                      <a:pPr marL="341313" lvl="0" indent="-231775" algn="l">
                        <a:lnSpc>
                          <a:spcPct val="100000"/>
                        </a:lnSpc>
                        <a:spcBef>
                          <a:spcPts val="600"/>
                        </a:spcBef>
                        <a:spcAft>
                          <a:spcPts val="600"/>
                        </a:spcAft>
                        <a:buClr>
                          <a:schemeClr val="accent5">
                            <a:lumMod val="25000"/>
                          </a:schemeClr>
                        </a:buClr>
                        <a:buFont typeface="Arial" pitchFamily="34" charset="0"/>
                        <a:buChar char="•"/>
                      </a:pPr>
                      <a:endParaRPr lang="en-GB" sz="1600" kern="1200" dirty="0" smtClean="0">
                        <a:solidFill>
                          <a:schemeClr val="dk1"/>
                        </a:solidFill>
                        <a:latin typeface="Arial Narrow" pitchFamily="34" charset="0"/>
                        <a:ea typeface="+mn-ea"/>
                        <a:cs typeface="+mn-cs"/>
                      </a:endParaRPr>
                    </a:p>
                  </a:txBody>
                  <a:tcPr marL="84406" marR="84406" marT="42203" marB="42203">
                    <a:lnL w="12700" cmpd="sng">
                      <a:solidFill>
                        <a:sysClr val="window" lastClr="FFFFFF"/>
                      </a:solidFill>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7E8"/>
                    </a:solidFill>
                  </a:tcPr>
                </a:tc>
              </a:tr>
            </a:tbl>
          </a:graphicData>
        </a:graphic>
      </p:graphicFrame>
      <p:pic>
        <p:nvPicPr>
          <p:cNvPr id="6" name="Picture 5" descr="Fitch_Ratings_Logo.jpg"/>
          <p:cNvPicPr>
            <a:picLocks noChangeAspect="1"/>
          </p:cNvPicPr>
          <p:nvPr/>
        </p:nvPicPr>
        <p:blipFill>
          <a:blip r:embed="rId2"/>
          <a:stretch>
            <a:fillRect/>
          </a:stretch>
        </p:blipFill>
        <p:spPr>
          <a:xfrm>
            <a:off x="7028136" y="972851"/>
            <a:ext cx="1143000" cy="270824"/>
          </a:xfrm>
          <a:prstGeom prst="rect">
            <a:avLst/>
          </a:prstGeom>
        </p:spPr>
      </p:pic>
      <p:pic>
        <p:nvPicPr>
          <p:cNvPr id="7" name="Picture 6" descr="Moody's investor service.jpg"/>
          <p:cNvPicPr>
            <a:picLocks noChangeAspect="1"/>
          </p:cNvPicPr>
          <p:nvPr/>
        </p:nvPicPr>
        <p:blipFill>
          <a:blip r:embed="rId3"/>
          <a:stretch>
            <a:fillRect/>
          </a:stretch>
        </p:blipFill>
        <p:spPr>
          <a:xfrm>
            <a:off x="1823300" y="840326"/>
            <a:ext cx="1046284" cy="376055"/>
          </a:xfrm>
          <a:prstGeom prst="rect">
            <a:avLst/>
          </a:prstGeom>
        </p:spPr>
      </p:pic>
      <p:pic>
        <p:nvPicPr>
          <p:cNvPr id="8" name="Picture 7" descr="Standard&amp;Poors.svg.png"/>
          <p:cNvPicPr>
            <a:picLocks noChangeAspect="1"/>
          </p:cNvPicPr>
          <p:nvPr/>
        </p:nvPicPr>
        <p:blipFill>
          <a:blip r:embed="rId4"/>
          <a:stretch>
            <a:fillRect/>
          </a:stretch>
        </p:blipFill>
        <p:spPr>
          <a:xfrm>
            <a:off x="4522591" y="863226"/>
            <a:ext cx="856870" cy="380451"/>
          </a:xfrm>
          <a:prstGeom prst="rect">
            <a:avLst/>
          </a:prstGeom>
        </p:spPr>
      </p:pic>
      <p:grpSp>
        <p:nvGrpSpPr>
          <p:cNvPr id="9" name="Group 13"/>
          <p:cNvGrpSpPr/>
          <p:nvPr/>
        </p:nvGrpSpPr>
        <p:grpSpPr>
          <a:xfrm>
            <a:off x="0" y="0"/>
            <a:ext cx="8656320" cy="548640"/>
            <a:chOff x="0" y="0"/>
            <a:chExt cx="8656320" cy="548640"/>
          </a:xfrm>
        </p:grpSpPr>
        <p:sp>
          <p:nvSpPr>
            <p:cNvPr id="10" name="Rectangle 9"/>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1" name="Rectangle 10"/>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12" name="Title 1"/>
          <p:cNvSpPr txBox="1">
            <a:spLocks/>
          </p:cNvSpPr>
          <p:nvPr/>
        </p:nvSpPr>
        <p:spPr>
          <a:xfrm>
            <a:off x="0" y="26894"/>
            <a:ext cx="9144000" cy="487362"/>
          </a:xfrm>
          <a:prstGeom prst="rect">
            <a:avLst/>
          </a:prstGeom>
        </p:spPr>
        <p:txBody>
          <a:bodyPr anchor="ctr"/>
          <a:lstStyle>
            <a:lvl1pPr algn="ctr" rtl="0" eaLnBrk="0" fontAlgn="base" hangingPunct="0">
              <a:spcBef>
                <a:spcPct val="0"/>
              </a:spcBef>
              <a:spcAft>
                <a:spcPct val="0"/>
              </a:spcAft>
              <a:defRPr sz="2200" b="1" kern="1200">
                <a:solidFill>
                  <a:srgbClr val="1B587C"/>
                </a:solidFill>
                <a:latin typeface="Optima" panose="020B0500000000000000" pitchFamily="34" charset="0"/>
                <a:ea typeface="MS PGothic" pitchFamily="34" charset="-128"/>
                <a:cs typeface="ＭＳ Ｐゴシック" charset="0"/>
              </a:defRPr>
            </a:lvl1pPr>
            <a:lvl2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rtl="0" fontAlgn="base">
              <a:spcBef>
                <a:spcPct val="0"/>
              </a:spcBef>
              <a:spcAft>
                <a:spcPct val="0"/>
              </a:spcAft>
              <a:defRPr sz="4400">
                <a:solidFill>
                  <a:schemeClr val="tx1"/>
                </a:solidFill>
                <a:latin typeface="Calibri" charset="0"/>
                <a:ea typeface="ＭＳ Ｐゴシック" charset="0"/>
              </a:defRPr>
            </a:lvl6pPr>
            <a:lvl7pPr marL="914400" algn="ctr" rtl="0" fontAlgn="base">
              <a:spcBef>
                <a:spcPct val="0"/>
              </a:spcBef>
              <a:spcAft>
                <a:spcPct val="0"/>
              </a:spcAft>
              <a:defRPr sz="4400">
                <a:solidFill>
                  <a:schemeClr val="tx1"/>
                </a:solidFill>
                <a:latin typeface="Calibri" charset="0"/>
                <a:ea typeface="ＭＳ Ｐゴシック" charset="0"/>
              </a:defRPr>
            </a:lvl7pPr>
            <a:lvl8pPr marL="1371600" algn="ctr" rtl="0" fontAlgn="base">
              <a:spcBef>
                <a:spcPct val="0"/>
              </a:spcBef>
              <a:spcAft>
                <a:spcPct val="0"/>
              </a:spcAft>
              <a:defRPr sz="4400">
                <a:solidFill>
                  <a:schemeClr val="tx1"/>
                </a:solidFill>
                <a:latin typeface="Calibri" charset="0"/>
                <a:ea typeface="ＭＳ Ｐゴシック" charset="0"/>
              </a:defRPr>
            </a:lvl8pPr>
            <a:lvl9pPr marL="1828800" algn="ctr" rtl="0" fontAlgn="base">
              <a:spcBef>
                <a:spcPct val="0"/>
              </a:spcBef>
              <a:spcAft>
                <a:spcPct val="0"/>
              </a:spcAft>
              <a:defRPr sz="4400">
                <a:solidFill>
                  <a:schemeClr val="tx1"/>
                </a:solidFill>
                <a:latin typeface="Calibri" charset="0"/>
                <a:ea typeface="ＭＳ Ｐゴシック" charset="0"/>
              </a:defRPr>
            </a:lvl9pPr>
          </a:lstStyle>
          <a:p>
            <a:pPr algn="just"/>
            <a:r>
              <a:rPr lang="en-US" sz="2400" dirty="0" err="1"/>
              <a:t>Tantangan</a:t>
            </a:r>
            <a:r>
              <a:rPr lang="en-US" sz="2400" dirty="0"/>
              <a:t> Indonesia </a:t>
            </a:r>
            <a:r>
              <a:rPr lang="en-US" sz="2400" dirty="0" err="1"/>
              <a:t>menurut</a:t>
            </a:r>
            <a:r>
              <a:rPr lang="en-US" sz="2400" dirty="0"/>
              <a:t> </a:t>
            </a:r>
            <a:r>
              <a:rPr lang="en-US" sz="2400" dirty="0" err="1"/>
              <a:t>Lembaga</a:t>
            </a:r>
            <a:r>
              <a:rPr lang="en-US" sz="2400" dirty="0"/>
              <a:t> </a:t>
            </a:r>
            <a:r>
              <a:rPr lang="en-US" sz="2400" dirty="0" err="1"/>
              <a:t>Pemeringkat</a:t>
            </a:r>
            <a:endParaRPr lang="en-US" sz="2400" dirty="0">
              <a:solidFill>
                <a:srgbClr val="000066"/>
              </a:solidFill>
              <a:latin typeface="Eras Demi ITC" pitchFamily="34" charset="0"/>
            </a:endParaRPr>
          </a:p>
        </p:txBody>
      </p:sp>
      <p:sp>
        <p:nvSpPr>
          <p:cNvPr id="13" name="TextBox 12"/>
          <p:cNvSpPr txBox="1">
            <a:spLocks noChangeArrowheads="1"/>
          </p:cNvSpPr>
          <p:nvPr/>
        </p:nvSpPr>
        <p:spPr bwMode="auto">
          <a:xfrm>
            <a:off x="8686800" y="53975"/>
            <a:ext cx="457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fld id="{3C3F0E41-0583-44E6-814E-FEF2155BEF3F}" type="slidenum">
              <a:rPr lang="en-US" altLang="id-ID" sz="1800" b="1" smtClean="0">
                <a:solidFill>
                  <a:srgbClr val="C00000"/>
                </a:solidFill>
                <a:cs typeface="Arial" pitchFamily="34" charset="0"/>
              </a:rPr>
              <a:pPr eaLnBrk="1" hangingPunct="1">
                <a:defRPr/>
              </a:pPr>
              <a:t>50</a:t>
            </a:fld>
            <a:endParaRPr lang="en-US" altLang="id-ID" sz="1800" b="1" dirty="0" smtClean="0">
              <a:solidFill>
                <a:srgbClr val="C00000"/>
              </a:solidFill>
              <a:cs typeface="Arial" pitchFamily="34" charset="0"/>
            </a:endParaRPr>
          </a:p>
        </p:txBody>
      </p:sp>
    </p:spTree>
    <p:extLst>
      <p:ext uri="{BB962C8B-B14F-4D97-AF65-F5344CB8AC3E}">
        <p14:creationId xmlns:p14="http://schemas.microsoft.com/office/powerpoint/2010/main" val="3570823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1"/>
          <p:cNvSpPr>
            <a:spLocks noChangeArrowheads="1"/>
          </p:cNvSpPr>
          <p:nvPr/>
        </p:nvSpPr>
        <p:spPr bwMode="auto">
          <a:xfrm>
            <a:off x="2506663" y="2354263"/>
            <a:ext cx="5646737"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id-ID" altLang="id-ID" sz="4400" b="1">
                <a:solidFill>
                  <a:srgbClr val="333399"/>
                </a:solidFill>
                <a:latin typeface="Franklin Gothic Medium Cond" pitchFamily="34" charset="0"/>
              </a:rPr>
              <a:t>Terima Kasih</a:t>
            </a:r>
            <a:endParaRPr lang="en-US" altLang="id-ID" sz="4400" b="1">
              <a:solidFill>
                <a:srgbClr val="333399"/>
              </a:solidFill>
              <a:latin typeface="Franklin Gothic Medium Cond" pitchFamily="34" charset="0"/>
            </a:endParaRPr>
          </a:p>
        </p:txBody>
      </p:sp>
      <p:sp>
        <p:nvSpPr>
          <p:cNvPr id="3" name="Rectangle 2"/>
          <p:cNvSpPr/>
          <p:nvPr/>
        </p:nvSpPr>
        <p:spPr>
          <a:xfrm>
            <a:off x="2528888" y="2146300"/>
            <a:ext cx="6248400" cy="762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3962057705"/>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992C441B-0EFA-4044-BD8E-5D2A6FCD95FF}" type="slidenum">
              <a:rPr lang="id-ID" sz="1400" b="1" smtClean="0">
                <a:solidFill>
                  <a:schemeClr val="bg1"/>
                </a:solidFill>
              </a:rPr>
              <a:pPr/>
              <a:t>52</a:t>
            </a:fld>
            <a:endParaRPr lang="id-ID" sz="14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945381340"/>
              </p:ext>
            </p:extLst>
          </p:nvPr>
        </p:nvGraphicFramePr>
        <p:xfrm>
          <a:off x="914401" y="4040832"/>
          <a:ext cx="6752491" cy="868680"/>
        </p:xfrm>
        <a:graphic>
          <a:graphicData uri="http://schemas.openxmlformats.org/drawingml/2006/table">
            <a:tbl>
              <a:tblPr firstRow="1" bandRow="1">
                <a:tableStyleId>{7DF18680-E054-41AD-8BC1-D1AEF772440D}</a:tableStyleId>
              </a:tblPr>
              <a:tblGrid>
                <a:gridCol w="2762383"/>
                <a:gridCol w="2479682"/>
                <a:gridCol w="1510426"/>
              </a:tblGrid>
              <a:tr h="264160">
                <a:tc>
                  <a:txBody>
                    <a:bodyPr/>
                    <a:lstStyle/>
                    <a:p>
                      <a:endParaRPr lang="en-US" sz="1300" dirty="0"/>
                    </a:p>
                  </a:txBody>
                  <a:tcPr marL="84406" marR="84406">
                    <a:solidFill>
                      <a:srgbClr val="FFFFFF"/>
                    </a:solidFill>
                  </a:tcPr>
                </a:tc>
                <a:tc>
                  <a:txBody>
                    <a:bodyPr/>
                    <a:lstStyle/>
                    <a:p>
                      <a:pPr algn="ctr"/>
                      <a:r>
                        <a:rPr lang="en-US" sz="1300" dirty="0" smtClean="0"/>
                        <a:t>BRAZIL</a:t>
                      </a:r>
                      <a:endParaRPr lang="en-US" sz="1300" dirty="0"/>
                    </a:p>
                  </a:txBody>
                  <a:tcPr marL="84406" marR="84406"/>
                </a:tc>
                <a:tc>
                  <a:txBody>
                    <a:bodyPr/>
                    <a:lstStyle/>
                    <a:p>
                      <a:pPr algn="ctr"/>
                      <a:r>
                        <a:rPr lang="en-US" sz="1300" dirty="0" smtClean="0"/>
                        <a:t>INDONESIA</a:t>
                      </a:r>
                      <a:endParaRPr lang="en-US" sz="1300" dirty="0"/>
                    </a:p>
                  </a:txBody>
                  <a:tcPr marL="84406" marR="84406"/>
                </a:tc>
              </a:tr>
              <a:tr h="264160">
                <a:tc>
                  <a:txBody>
                    <a:bodyPr/>
                    <a:lstStyle/>
                    <a:p>
                      <a:r>
                        <a:rPr lang="en-US" sz="1300" b="1" dirty="0" smtClean="0"/>
                        <a:t>Budget balance</a:t>
                      </a:r>
                      <a:r>
                        <a:rPr lang="en-US" sz="1300" b="1" baseline="0" dirty="0" smtClean="0"/>
                        <a:t> (per July 2015)</a:t>
                      </a:r>
                      <a:endParaRPr lang="en-US" sz="1300" b="1" dirty="0"/>
                    </a:p>
                  </a:txBody>
                  <a:tcPr marL="84406" marR="84406"/>
                </a:tc>
                <a:tc>
                  <a:txBody>
                    <a:bodyPr/>
                    <a:lstStyle/>
                    <a:p>
                      <a:pPr algn="ctr"/>
                      <a:r>
                        <a:rPr lang="en-US" sz="1300" dirty="0" smtClean="0"/>
                        <a:t>(7,2%)</a:t>
                      </a:r>
                      <a:endParaRPr lang="en-US" sz="1300" dirty="0"/>
                    </a:p>
                  </a:txBody>
                  <a:tcPr marL="84406" marR="84406"/>
                </a:tc>
                <a:tc>
                  <a:txBody>
                    <a:bodyPr/>
                    <a:lstStyle/>
                    <a:p>
                      <a:pPr algn="ctr"/>
                      <a:r>
                        <a:rPr lang="en-US" sz="1300" dirty="0" smtClean="0"/>
                        <a:t>(1,2%)</a:t>
                      </a:r>
                      <a:endParaRPr lang="en-US" sz="1300" dirty="0"/>
                    </a:p>
                  </a:txBody>
                  <a:tcPr marL="84406" marR="84406"/>
                </a:tc>
              </a:tr>
              <a:tr h="264160">
                <a:tc>
                  <a:txBody>
                    <a:bodyPr/>
                    <a:lstStyle/>
                    <a:p>
                      <a:r>
                        <a:rPr lang="en-US" sz="1300" b="1" dirty="0" smtClean="0"/>
                        <a:t>Tax Ratio</a:t>
                      </a:r>
                      <a:endParaRPr lang="en-US" sz="1300" b="1" dirty="0"/>
                    </a:p>
                  </a:txBody>
                  <a:tcPr marL="84406" marR="84406"/>
                </a:tc>
                <a:tc>
                  <a:txBody>
                    <a:bodyPr/>
                    <a:lstStyle/>
                    <a:p>
                      <a:pPr algn="ctr"/>
                      <a:r>
                        <a:rPr lang="en-US" sz="1300" dirty="0" smtClean="0"/>
                        <a:t>14%</a:t>
                      </a:r>
                      <a:endParaRPr lang="en-US" sz="1300" dirty="0"/>
                    </a:p>
                  </a:txBody>
                  <a:tcPr marL="84406" marR="84406"/>
                </a:tc>
                <a:tc>
                  <a:txBody>
                    <a:bodyPr/>
                    <a:lstStyle/>
                    <a:p>
                      <a:pPr algn="ctr"/>
                      <a:r>
                        <a:rPr lang="en-US" sz="1300" dirty="0" smtClean="0"/>
                        <a:t>11%</a:t>
                      </a:r>
                      <a:endParaRPr lang="en-US" sz="1300" dirty="0"/>
                    </a:p>
                  </a:txBody>
                  <a:tcPr marL="84406" marR="84406"/>
                </a:tc>
              </a:tr>
            </a:tbl>
          </a:graphicData>
        </a:graphic>
      </p:graphicFrame>
      <p:sp>
        <p:nvSpPr>
          <p:cNvPr id="4" name="TextBox 3"/>
          <p:cNvSpPr txBox="1"/>
          <p:nvPr/>
        </p:nvSpPr>
        <p:spPr>
          <a:xfrm>
            <a:off x="211015" y="683569"/>
            <a:ext cx="8088923" cy="492443"/>
          </a:xfrm>
          <a:prstGeom prst="rect">
            <a:avLst/>
          </a:prstGeom>
          <a:noFill/>
        </p:spPr>
        <p:txBody>
          <a:bodyPr wrap="square" rtlCol="0">
            <a:spAutoFit/>
          </a:bodyPr>
          <a:lstStyle/>
          <a:p>
            <a:pPr algn="ctr"/>
            <a:r>
              <a:rPr lang="en-US" sz="1400" b="1" dirty="0" err="1" smtClean="0"/>
              <a:t>Perbandingan</a:t>
            </a:r>
            <a:r>
              <a:rPr lang="en-US" sz="1400" b="1" dirty="0" smtClean="0"/>
              <a:t> </a:t>
            </a:r>
            <a:r>
              <a:rPr lang="en-US" sz="1400" b="1" dirty="0" err="1" smtClean="0"/>
              <a:t>Proporsi</a:t>
            </a:r>
            <a:r>
              <a:rPr lang="en-US" sz="1400" b="1" dirty="0" smtClean="0"/>
              <a:t> </a:t>
            </a:r>
            <a:r>
              <a:rPr lang="en-US" sz="1400" b="1" dirty="0" err="1" smtClean="0"/>
              <a:t>Belanja</a:t>
            </a:r>
            <a:r>
              <a:rPr lang="en-US" sz="1400" b="1" dirty="0" smtClean="0"/>
              <a:t> Negara</a:t>
            </a:r>
          </a:p>
          <a:p>
            <a:pPr algn="ctr"/>
            <a:r>
              <a:rPr lang="en-US" sz="1100" dirty="0" smtClean="0"/>
              <a:t>(Rata-rata </a:t>
            </a:r>
            <a:r>
              <a:rPr lang="en-US" sz="1100" dirty="0" err="1" smtClean="0"/>
              <a:t>tahun</a:t>
            </a:r>
            <a:r>
              <a:rPr lang="en-US" sz="1100" dirty="0" smtClean="0"/>
              <a:t> 2010-2013 </a:t>
            </a:r>
            <a:r>
              <a:rPr lang="en-US" sz="1100" dirty="0" err="1" smtClean="0"/>
              <a:t>terhadap</a:t>
            </a:r>
            <a:r>
              <a:rPr lang="en-US" sz="1100" dirty="0" smtClean="0"/>
              <a:t> total </a:t>
            </a:r>
            <a:r>
              <a:rPr lang="en-US" sz="1100" dirty="0" err="1" smtClean="0"/>
              <a:t>belanja</a:t>
            </a:r>
            <a:r>
              <a:rPr lang="en-US" sz="1100" dirty="0" smtClean="0"/>
              <a:t> </a:t>
            </a:r>
            <a:r>
              <a:rPr lang="en-US" sz="1100" dirty="0" err="1" smtClean="0"/>
              <a:t>negara</a:t>
            </a:r>
            <a:r>
              <a:rPr lang="en-US" sz="1100" dirty="0" smtClean="0"/>
              <a:t>)</a:t>
            </a:r>
            <a:endParaRPr lang="en-US" sz="1100" dirty="0"/>
          </a:p>
        </p:txBody>
      </p:sp>
      <p:sp>
        <p:nvSpPr>
          <p:cNvPr id="5" name="TextBox 4"/>
          <p:cNvSpPr txBox="1"/>
          <p:nvPr/>
        </p:nvSpPr>
        <p:spPr>
          <a:xfrm>
            <a:off x="422031" y="3962400"/>
            <a:ext cx="747320" cy="230832"/>
          </a:xfrm>
          <a:prstGeom prst="rect">
            <a:avLst/>
          </a:prstGeom>
          <a:noFill/>
        </p:spPr>
        <p:txBody>
          <a:bodyPr wrap="none" rtlCol="0">
            <a:spAutoFit/>
          </a:bodyPr>
          <a:lstStyle/>
          <a:p>
            <a:r>
              <a:rPr lang="en-US" sz="900" b="1" i="1" dirty="0" smtClean="0"/>
              <a:t>Source: IMF</a:t>
            </a:r>
            <a:endParaRPr lang="en-US" sz="900" b="1" i="1" dirty="0"/>
          </a:p>
        </p:txBody>
      </p:sp>
      <p:graphicFrame>
        <p:nvGraphicFramePr>
          <p:cNvPr id="6" name="Chart 5"/>
          <p:cNvGraphicFramePr>
            <a:graphicFrameLocks/>
          </p:cNvGraphicFramePr>
          <p:nvPr>
            <p:extLst>
              <p:ext uri="{D42A27DB-BD31-4B8C-83A1-F6EECF244321}">
                <p14:modId xmlns:p14="http://schemas.microsoft.com/office/powerpoint/2010/main" val="1493546358"/>
              </p:ext>
            </p:extLst>
          </p:nvPr>
        </p:nvGraphicFramePr>
        <p:xfrm>
          <a:off x="281354" y="1066800"/>
          <a:ext cx="7948246" cy="3048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2"/>
          <p:cNvSpPr txBox="1">
            <a:spLocks/>
          </p:cNvSpPr>
          <p:nvPr/>
        </p:nvSpPr>
        <p:spPr>
          <a:xfrm>
            <a:off x="2" y="0"/>
            <a:ext cx="7946893" cy="76428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000" b="1" dirty="0" err="1" smtClean="0">
                <a:solidFill>
                  <a:srgbClr val="1F497D"/>
                </a:solidFill>
                <a:latin typeface="Calibri"/>
                <a:cs typeface="Calibri"/>
              </a:rPr>
              <a:t>Perbandingan</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kondisi</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fiskal</a:t>
            </a:r>
            <a:r>
              <a:rPr lang="en-US" sz="2000" b="1" dirty="0" smtClean="0">
                <a:solidFill>
                  <a:srgbClr val="1F497D"/>
                </a:solidFill>
                <a:latin typeface="Calibri"/>
                <a:cs typeface="Calibri"/>
              </a:rPr>
              <a:t> Indonesia </a:t>
            </a:r>
            <a:r>
              <a:rPr lang="en-US" sz="2000" b="1" dirty="0" err="1" smtClean="0">
                <a:solidFill>
                  <a:srgbClr val="1F497D"/>
                </a:solidFill>
                <a:latin typeface="Calibri"/>
                <a:cs typeface="Calibri"/>
              </a:rPr>
              <a:t>dan</a:t>
            </a:r>
            <a:r>
              <a:rPr lang="en-US" sz="2000" b="1" dirty="0" smtClean="0">
                <a:solidFill>
                  <a:srgbClr val="1F497D"/>
                </a:solidFill>
                <a:latin typeface="Calibri"/>
                <a:cs typeface="Calibri"/>
              </a:rPr>
              <a:t> Brazil</a:t>
            </a:r>
            <a:endParaRPr lang="id-ID" sz="2000" b="1" dirty="0">
              <a:solidFill>
                <a:srgbClr val="1F497D"/>
              </a:solidFill>
              <a:latin typeface="Calibri"/>
              <a:cs typeface="Calibri"/>
            </a:endParaRPr>
          </a:p>
          <a:p>
            <a:r>
              <a:rPr lang="en-US" sz="1300" i="1" dirty="0" smtClean="0">
                <a:solidFill>
                  <a:srgbClr val="1F497D"/>
                </a:solidFill>
                <a:latin typeface="Calibri"/>
                <a:cs typeface="Calibri"/>
              </a:rPr>
              <a:t>…</a:t>
            </a:r>
            <a:r>
              <a:rPr lang="en-US" sz="1300" i="1" dirty="0" err="1" smtClean="0">
                <a:solidFill>
                  <a:srgbClr val="1F497D"/>
                </a:solidFill>
                <a:latin typeface="Calibri"/>
                <a:cs typeface="Calibri"/>
              </a:rPr>
              <a:t>potensi</a:t>
            </a:r>
            <a:r>
              <a:rPr lang="en-US" sz="1300" i="1" dirty="0">
                <a:solidFill>
                  <a:srgbClr val="1F497D"/>
                </a:solidFill>
                <a:latin typeface="Calibri"/>
                <a:cs typeface="Calibri"/>
              </a:rPr>
              <a:t> </a:t>
            </a:r>
            <a:r>
              <a:rPr lang="en-US" sz="1300" i="1" dirty="0" smtClean="0">
                <a:solidFill>
                  <a:srgbClr val="1F497D"/>
                </a:solidFill>
                <a:latin typeface="Calibri"/>
                <a:cs typeface="Calibri"/>
              </a:rPr>
              <a:t>Indonesia </a:t>
            </a:r>
            <a:r>
              <a:rPr lang="en-US" sz="1300" i="1" dirty="0" err="1" smtClean="0">
                <a:solidFill>
                  <a:srgbClr val="1F497D"/>
                </a:solidFill>
                <a:latin typeface="Calibri"/>
                <a:cs typeface="Calibri"/>
              </a:rPr>
              <a:t>untuk</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terus</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tumbuh</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masih</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lebih</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besar</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dengan</a:t>
            </a:r>
            <a:r>
              <a:rPr lang="en-US" sz="1300" i="1" dirty="0" smtClean="0">
                <a:solidFill>
                  <a:srgbClr val="1F497D"/>
                </a:solidFill>
                <a:latin typeface="Calibri"/>
                <a:cs typeface="Calibri"/>
              </a:rPr>
              <a:t> </a:t>
            </a:r>
            <a:r>
              <a:rPr lang="en-US" sz="1300" i="1" dirty="0" err="1" smtClean="0">
                <a:solidFill>
                  <a:srgbClr val="1F497D"/>
                </a:solidFill>
                <a:latin typeface="Calibri"/>
                <a:cs typeface="Calibri"/>
              </a:rPr>
              <a:t>risiko</a:t>
            </a:r>
            <a:r>
              <a:rPr lang="en-US" sz="1300" i="1" dirty="0" smtClean="0">
                <a:solidFill>
                  <a:srgbClr val="1F497D"/>
                </a:solidFill>
                <a:latin typeface="Calibri"/>
                <a:cs typeface="Calibri"/>
              </a:rPr>
              <a:t> yang </a:t>
            </a:r>
            <a:r>
              <a:rPr lang="en-US" sz="1300" i="1" dirty="0" err="1" smtClean="0">
                <a:solidFill>
                  <a:srgbClr val="1F497D"/>
                </a:solidFill>
                <a:latin typeface="Calibri"/>
                <a:cs typeface="Calibri"/>
              </a:rPr>
              <a:t>terjaga</a:t>
            </a:r>
            <a:endParaRPr lang="en-US" sz="1300" i="1" dirty="0">
              <a:solidFill>
                <a:srgbClr val="1F497D"/>
              </a:solidFill>
              <a:latin typeface="Calibri"/>
              <a:cs typeface="Calibri"/>
            </a:endParaRPr>
          </a:p>
        </p:txBody>
      </p:sp>
      <p:sp>
        <p:nvSpPr>
          <p:cNvPr id="8" name="Oval 7"/>
          <p:cNvSpPr/>
          <p:nvPr/>
        </p:nvSpPr>
        <p:spPr>
          <a:xfrm>
            <a:off x="2813539" y="1371600"/>
            <a:ext cx="351692" cy="381000"/>
          </a:xfrm>
          <a:prstGeom prst="ellipse">
            <a:avLst/>
          </a:prstGeom>
          <a:solidFill>
            <a:srgbClr val="FFFFFF"/>
          </a:solidFill>
          <a:ln w="28575"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2"/>
                </a:solidFill>
              </a:rPr>
              <a:t>1</a:t>
            </a:r>
            <a:endParaRPr lang="en-US" sz="1100" b="1" dirty="0">
              <a:solidFill>
                <a:schemeClr val="tx2"/>
              </a:solidFill>
            </a:endParaRPr>
          </a:p>
        </p:txBody>
      </p:sp>
      <p:sp>
        <p:nvSpPr>
          <p:cNvPr id="9" name="Oval 8"/>
          <p:cNvSpPr/>
          <p:nvPr/>
        </p:nvSpPr>
        <p:spPr>
          <a:xfrm>
            <a:off x="2813539" y="2438400"/>
            <a:ext cx="351692" cy="381000"/>
          </a:xfrm>
          <a:prstGeom prst="ellipse">
            <a:avLst/>
          </a:prstGeom>
          <a:solidFill>
            <a:srgbClr val="FFFFFF"/>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2"/>
                </a:solidFill>
              </a:rPr>
              <a:t>2</a:t>
            </a:r>
            <a:endParaRPr lang="en-US" sz="1100" b="1" dirty="0">
              <a:solidFill>
                <a:schemeClr val="tx2"/>
              </a:solidFill>
            </a:endParaRPr>
          </a:p>
        </p:txBody>
      </p:sp>
      <p:sp>
        <p:nvSpPr>
          <p:cNvPr id="10" name="Oval 9"/>
          <p:cNvSpPr/>
          <p:nvPr/>
        </p:nvSpPr>
        <p:spPr>
          <a:xfrm>
            <a:off x="5556739" y="1508759"/>
            <a:ext cx="351692" cy="381000"/>
          </a:xfrm>
          <a:prstGeom prst="ellipse">
            <a:avLst/>
          </a:prstGeom>
          <a:solidFill>
            <a:srgbClr val="FFFFFF"/>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2"/>
                </a:solidFill>
              </a:rPr>
              <a:t>3</a:t>
            </a:r>
            <a:endParaRPr lang="en-US" sz="1100" b="1" dirty="0">
              <a:solidFill>
                <a:schemeClr val="tx2"/>
              </a:solidFill>
            </a:endParaRPr>
          </a:p>
        </p:txBody>
      </p:sp>
      <p:sp>
        <p:nvSpPr>
          <p:cNvPr id="11" name="Rectangle 10"/>
          <p:cNvSpPr/>
          <p:nvPr/>
        </p:nvSpPr>
        <p:spPr>
          <a:xfrm>
            <a:off x="375877" y="5029200"/>
            <a:ext cx="8768123" cy="167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0000"/>
              </a:lnSpc>
            </a:pPr>
            <a:r>
              <a:rPr lang="en-US" sz="1200" b="1" dirty="0" err="1" smtClean="0">
                <a:solidFill>
                  <a:schemeClr val="tx1"/>
                </a:solidFill>
              </a:rPr>
              <a:t>Poin-poin</a:t>
            </a:r>
            <a:r>
              <a:rPr lang="en-US" sz="1200" b="1" dirty="0" smtClean="0">
                <a:solidFill>
                  <a:schemeClr val="tx1"/>
                </a:solidFill>
              </a:rPr>
              <a:t> </a:t>
            </a:r>
            <a:r>
              <a:rPr lang="en-US" sz="1200" b="1" dirty="0" err="1" smtClean="0">
                <a:solidFill>
                  <a:schemeClr val="tx1"/>
                </a:solidFill>
              </a:rPr>
              <a:t>penting</a:t>
            </a:r>
            <a:r>
              <a:rPr lang="en-US" sz="1200" b="1" dirty="0" smtClean="0">
                <a:solidFill>
                  <a:schemeClr val="tx1"/>
                </a:solidFill>
              </a:rPr>
              <a:t> </a:t>
            </a:r>
            <a:r>
              <a:rPr lang="en-US" sz="1200" b="1" dirty="0" err="1" smtClean="0">
                <a:solidFill>
                  <a:schemeClr val="tx1"/>
                </a:solidFill>
              </a:rPr>
              <a:t>perbandingan</a:t>
            </a:r>
            <a:r>
              <a:rPr lang="en-US" sz="1200" b="1" dirty="0" smtClean="0">
                <a:solidFill>
                  <a:schemeClr val="tx1"/>
                </a:solidFill>
              </a:rPr>
              <a:t> </a:t>
            </a:r>
            <a:r>
              <a:rPr lang="en-US" sz="1200" b="1" dirty="0" err="1" smtClean="0">
                <a:solidFill>
                  <a:schemeClr val="tx1"/>
                </a:solidFill>
              </a:rPr>
              <a:t>kondisi</a:t>
            </a:r>
            <a:r>
              <a:rPr lang="en-US" sz="1200" b="1" dirty="0" smtClean="0">
                <a:solidFill>
                  <a:schemeClr val="tx1"/>
                </a:solidFill>
              </a:rPr>
              <a:t> </a:t>
            </a:r>
            <a:r>
              <a:rPr lang="en-US" sz="1200" b="1" dirty="0" err="1" smtClean="0">
                <a:solidFill>
                  <a:schemeClr val="tx1"/>
                </a:solidFill>
              </a:rPr>
              <a:t>fiskal</a:t>
            </a:r>
            <a:r>
              <a:rPr lang="en-US" sz="1200" b="1" dirty="0" smtClean="0">
                <a:solidFill>
                  <a:schemeClr val="tx1"/>
                </a:solidFill>
              </a:rPr>
              <a:t> Indonesia </a:t>
            </a:r>
            <a:r>
              <a:rPr lang="en-US" sz="1200" b="1" dirty="0" err="1" smtClean="0">
                <a:solidFill>
                  <a:schemeClr val="tx1"/>
                </a:solidFill>
              </a:rPr>
              <a:t>dengan</a:t>
            </a:r>
            <a:r>
              <a:rPr lang="en-US" sz="1200" b="1" dirty="0" smtClean="0">
                <a:solidFill>
                  <a:schemeClr val="tx1"/>
                </a:solidFill>
              </a:rPr>
              <a:t> Brazil:</a:t>
            </a:r>
          </a:p>
          <a:p>
            <a:pPr marL="342900" indent="-342900">
              <a:lnSpc>
                <a:spcPct val="110000"/>
              </a:lnSpc>
              <a:buFont typeface="+mj-lt"/>
              <a:buAutoNum type="arabicPeriod"/>
            </a:pPr>
            <a:r>
              <a:rPr lang="en-US" sz="1200" dirty="0" err="1" smtClean="0">
                <a:solidFill>
                  <a:schemeClr val="tx1"/>
                </a:solidFill>
              </a:rPr>
              <a:t>Beban</a:t>
            </a:r>
            <a:r>
              <a:rPr lang="en-US" sz="1200" dirty="0" smtClean="0">
                <a:solidFill>
                  <a:schemeClr val="tx1"/>
                </a:solidFill>
              </a:rPr>
              <a:t> </a:t>
            </a:r>
            <a:r>
              <a:rPr lang="en-US" sz="1200" dirty="0" err="1" smtClean="0">
                <a:solidFill>
                  <a:schemeClr val="tx1"/>
                </a:solidFill>
              </a:rPr>
              <a:t>pembayaran</a:t>
            </a:r>
            <a:r>
              <a:rPr lang="en-US" sz="1200" dirty="0" smtClean="0">
                <a:solidFill>
                  <a:schemeClr val="tx1"/>
                </a:solidFill>
              </a:rPr>
              <a:t> </a:t>
            </a:r>
            <a:r>
              <a:rPr lang="en-US" sz="1200" dirty="0" err="1" smtClean="0">
                <a:solidFill>
                  <a:schemeClr val="tx1"/>
                </a:solidFill>
              </a:rPr>
              <a:t>bunga</a:t>
            </a:r>
            <a:r>
              <a:rPr lang="en-US" sz="1200" dirty="0" smtClean="0">
                <a:solidFill>
                  <a:schemeClr val="tx1"/>
                </a:solidFill>
              </a:rPr>
              <a:t> Brazil </a:t>
            </a:r>
            <a:r>
              <a:rPr lang="en-US" sz="1200" dirty="0" err="1" smtClean="0">
                <a:solidFill>
                  <a:schemeClr val="tx1"/>
                </a:solidFill>
              </a:rPr>
              <a:t>jauh</a:t>
            </a:r>
            <a:r>
              <a:rPr lang="en-US" sz="1200" dirty="0" smtClean="0">
                <a:solidFill>
                  <a:schemeClr val="tx1"/>
                </a:solidFill>
              </a:rPr>
              <a:t> </a:t>
            </a:r>
            <a:r>
              <a:rPr lang="en-US" sz="1200" dirty="0" err="1" smtClean="0">
                <a:solidFill>
                  <a:schemeClr val="tx1"/>
                </a:solidFill>
              </a:rPr>
              <a:t>lebih</a:t>
            </a:r>
            <a:r>
              <a:rPr lang="en-US" sz="1200" dirty="0" smtClean="0">
                <a:solidFill>
                  <a:schemeClr val="tx1"/>
                </a:solidFill>
              </a:rPr>
              <a:t> </a:t>
            </a:r>
            <a:r>
              <a:rPr lang="en-US" sz="1200" dirty="0" err="1" smtClean="0">
                <a:solidFill>
                  <a:schemeClr val="tx1"/>
                </a:solidFill>
              </a:rPr>
              <a:t>besar</a:t>
            </a:r>
            <a:r>
              <a:rPr lang="en-US" sz="1200" dirty="0" smtClean="0">
                <a:solidFill>
                  <a:schemeClr val="tx1"/>
                </a:solidFill>
              </a:rPr>
              <a:t> </a:t>
            </a:r>
            <a:r>
              <a:rPr lang="en-US" sz="1200" dirty="0" err="1" smtClean="0">
                <a:solidFill>
                  <a:schemeClr val="tx1"/>
                </a:solidFill>
              </a:rPr>
              <a:t>dari</a:t>
            </a:r>
            <a:r>
              <a:rPr lang="en-US" sz="1200" dirty="0" smtClean="0">
                <a:solidFill>
                  <a:schemeClr val="tx1"/>
                </a:solidFill>
              </a:rPr>
              <a:t> Indonesia, </a:t>
            </a:r>
            <a:r>
              <a:rPr lang="en-US" sz="1200" dirty="0" err="1" smtClean="0">
                <a:solidFill>
                  <a:schemeClr val="tx1"/>
                </a:solidFill>
              </a:rPr>
              <a:t>hal</a:t>
            </a:r>
            <a:r>
              <a:rPr lang="en-US" sz="1200" dirty="0" smtClean="0">
                <a:solidFill>
                  <a:schemeClr val="tx1"/>
                </a:solidFill>
              </a:rPr>
              <a:t> </a:t>
            </a:r>
            <a:r>
              <a:rPr lang="en-US" sz="1200" dirty="0" err="1" smtClean="0">
                <a:solidFill>
                  <a:schemeClr val="tx1"/>
                </a:solidFill>
              </a:rPr>
              <a:t>tersebut</a:t>
            </a:r>
            <a:r>
              <a:rPr lang="en-US" sz="1200" dirty="0" smtClean="0">
                <a:solidFill>
                  <a:schemeClr val="tx1"/>
                </a:solidFill>
              </a:rPr>
              <a:t> </a:t>
            </a:r>
            <a:r>
              <a:rPr lang="en-US" sz="1200" dirty="0" err="1" smtClean="0">
                <a:solidFill>
                  <a:schemeClr val="tx1"/>
                </a:solidFill>
              </a:rPr>
              <a:t>juga</a:t>
            </a:r>
            <a:r>
              <a:rPr lang="en-US" sz="1200" dirty="0" smtClean="0">
                <a:solidFill>
                  <a:schemeClr val="tx1"/>
                </a:solidFill>
              </a:rPr>
              <a:t> </a:t>
            </a:r>
            <a:r>
              <a:rPr lang="en-US" sz="1200" dirty="0" err="1" smtClean="0">
                <a:solidFill>
                  <a:schemeClr val="tx1"/>
                </a:solidFill>
              </a:rPr>
              <a:t>menujukkan</a:t>
            </a:r>
            <a:r>
              <a:rPr lang="en-US" sz="1200" dirty="0" smtClean="0">
                <a:solidFill>
                  <a:schemeClr val="tx1"/>
                </a:solidFill>
              </a:rPr>
              <a:t> </a:t>
            </a:r>
            <a:r>
              <a:rPr lang="en-US" sz="1200" dirty="0" err="1" smtClean="0">
                <a:solidFill>
                  <a:schemeClr val="tx1"/>
                </a:solidFill>
              </a:rPr>
              <a:t>cukup</a:t>
            </a:r>
            <a:r>
              <a:rPr lang="en-US" sz="1200" dirty="0" smtClean="0">
                <a:solidFill>
                  <a:schemeClr val="tx1"/>
                </a:solidFill>
              </a:rPr>
              <a:t> </a:t>
            </a:r>
            <a:r>
              <a:rPr lang="en-US" sz="1200" dirty="0" err="1" smtClean="0">
                <a:solidFill>
                  <a:schemeClr val="tx1"/>
                </a:solidFill>
              </a:rPr>
              <a:t>tingginya</a:t>
            </a:r>
            <a:r>
              <a:rPr lang="en-US" sz="1200" dirty="0" smtClean="0">
                <a:solidFill>
                  <a:schemeClr val="tx1"/>
                </a:solidFill>
              </a:rPr>
              <a:t> </a:t>
            </a:r>
            <a:r>
              <a:rPr lang="en-US" sz="1200" dirty="0" err="1" smtClean="0">
                <a:solidFill>
                  <a:schemeClr val="tx1"/>
                </a:solidFill>
              </a:rPr>
              <a:t>risiko</a:t>
            </a:r>
            <a:r>
              <a:rPr lang="en-US" sz="1200" dirty="0" smtClean="0">
                <a:solidFill>
                  <a:schemeClr val="tx1"/>
                </a:solidFill>
              </a:rPr>
              <a:t> </a:t>
            </a:r>
            <a:r>
              <a:rPr lang="en-US" sz="1200" dirty="0" err="1" smtClean="0">
                <a:solidFill>
                  <a:schemeClr val="tx1"/>
                </a:solidFill>
              </a:rPr>
              <a:t>utang</a:t>
            </a:r>
            <a:r>
              <a:rPr lang="en-US" sz="1200" dirty="0" smtClean="0">
                <a:solidFill>
                  <a:schemeClr val="tx1"/>
                </a:solidFill>
              </a:rPr>
              <a:t> Brazil, </a:t>
            </a:r>
            <a:r>
              <a:rPr lang="en-US" sz="1200" dirty="0" err="1" smtClean="0">
                <a:solidFill>
                  <a:schemeClr val="tx1"/>
                </a:solidFill>
              </a:rPr>
              <a:t>khususnya</a:t>
            </a:r>
            <a:r>
              <a:rPr lang="en-US" sz="1200" dirty="0" smtClean="0">
                <a:solidFill>
                  <a:schemeClr val="tx1"/>
                </a:solidFill>
              </a:rPr>
              <a:t> </a:t>
            </a:r>
            <a:r>
              <a:rPr lang="en-US" sz="1200" dirty="0" err="1" smtClean="0">
                <a:solidFill>
                  <a:schemeClr val="tx1"/>
                </a:solidFill>
              </a:rPr>
              <a:t>dalam</a:t>
            </a:r>
            <a:r>
              <a:rPr lang="en-US" sz="1200" dirty="0" smtClean="0">
                <a:solidFill>
                  <a:schemeClr val="tx1"/>
                </a:solidFill>
              </a:rPr>
              <a:t> </a:t>
            </a:r>
            <a:r>
              <a:rPr lang="en-US" sz="1200" dirty="0" err="1" smtClean="0">
                <a:solidFill>
                  <a:schemeClr val="tx1"/>
                </a:solidFill>
              </a:rPr>
              <a:t>kondisi</a:t>
            </a:r>
            <a:r>
              <a:rPr lang="en-US" sz="1200" dirty="0" smtClean="0">
                <a:solidFill>
                  <a:schemeClr val="tx1"/>
                </a:solidFill>
              </a:rPr>
              <a:t> </a:t>
            </a:r>
            <a:r>
              <a:rPr lang="en-US" sz="1200" dirty="0" err="1" smtClean="0">
                <a:solidFill>
                  <a:schemeClr val="tx1"/>
                </a:solidFill>
              </a:rPr>
              <a:t>pasar</a:t>
            </a:r>
            <a:r>
              <a:rPr lang="en-US" sz="1200" dirty="0" smtClean="0">
                <a:solidFill>
                  <a:schemeClr val="tx1"/>
                </a:solidFill>
              </a:rPr>
              <a:t> </a:t>
            </a:r>
            <a:r>
              <a:rPr lang="en-US" sz="1200" dirty="0" err="1" smtClean="0">
                <a:solidFill>
                  <a:schemeClr val="tx1"/>
                </a:solidFill>
              </a:rPr>
              <a:t>keuangan</a:t>
            </a:r>
            <a:r>
              <a:rPr lang="en-US" sz="1200" dirty="0" smtClean="0">
                <a:solidFill>
                  <a:schemeClr val="tx1"/>
                </a:solidFill>
              </a:rPr>
              <a:t> yang </a:t>
            </a:r>
            <a:r>
              <a:rPr lang="en-US" sz="1200" dirty="0" err="1" smtClean="0">
                <a:solidFill>
                  <a:schemeClr val="tx1"/>
                </a:solidFill>
              </a:rPr>
              <a:t>bergejolak</a:t>
            </a:r>
            <a:r>
              <a:rPr lang="en-US" sz="1200" dirty="0" smtClean="0">
                <a:solidFill>
                  <a:schemeClr val="tx1"/>
                </a:solidFill>
              </a:rPr>
              <a:t> (</a:t>
            </a:r>
            <a:r>
              <a:rPr lang="en-US" sz="1200" dirty="0" err="1" smtClean="0">
                <a:solidFill>
                  <a:schemeClr val="tx1"/>
                </a:solidFill>
              </a:rPr>
              <a:t>risiko</a:t>
            </a:r>
            <a:r>
              <a:rPr lang="en-US" sz="1200" dirty="0" smtClean="0">
                <a:solidFill>
                  <a:schemeClr val="tx1"/>
                </a:solidFill>
              </a:rPr>
              <a:t> </a:t>
            </a:r>
            <a:r>
              <a:rPr lang="en-US" sz="1200" dirty="0" err="1" smtClean="0">
                <a:solidFill>
                  <a:schemeClr val="tx1"/>
                </a:solidFill>
              </a:rPr>
              <a:t>peningkatan</a:t>
            </a:r>
            <a:r>
              <a:rPr lang="en-US" sz="1200" dirty="0" smtClean="0">
                <a:solidFill>
                  <a:schemeClr val="tx1"/>
                </a:solidFill>
              </a:rPr>
              <a:t> yield).</a:t>
            </a:r>
          </a:p>
          <a:p>
            <a:pPr marL="342900" indent="-342900">
              <a:lnSpc>
                <a:spcPct val="110000"/>
              </a:lnSpc>
              <a:buFont typeface="+mj-lt"/>
              <a:buAutoNum type="arabicPeriod"/>
            </a:pPr>
            <a:r>
              <a:rPr lang="en-US" sz="1200" dirty="0" smtClean="0">
                <a:solidFill>
                  <a:schemeClr val="tx1"/>
                </a:solidFill>
              </a:rPr>
              <a:t>Trend </a:t>
            </a:r>
            <a:r>
              <a:rPr lang="en-US" sz="1200" dirty="0" err="1" smtClean="0">
                <a:solidFill>
                  <a:schemeClr val="tx1"/>
                </a:solidFill>
              </a:rPr>
              <a:t>anggaran</a:t>
            </a:r>
            <a:r>
              <a:rPr lang="en-US" sz="1200" dirty="0" smtClean="0">
                <a:solidFill>
                  <a:schemeClr val="tx1"/>
                </a:solidFill>
              </a:rPr>
              <a:t> </a:t>
            </a:r>
            <a:r>
              <a:rPr lang="en-US" sz="1200" dirty="0" err="1" smtClean="0">
                <a:solidFill>
                  <a:schemeClr val="tx1"/>
                </a:solidFill>
              </a:rPr>
              <a:t>kesejahteraan</a:t>
            </a:r>
            <a:r>
              <a:rPr lang="en-US" sz="1200" dirty="0" smtClean="0">
                <a:solidFill>
                  <a:schemeClr val="tx1"/>
                </a:solidFill>
              </a:rPr>
              <a:t> Brazil (social transfer) </a:t>
            </a:r>
            <a:r>
              <a:rPr lang="en-US" sz="1200" dirty="0" err="1" smtClean="0">
                <a:solidFill>
                  <a:schemeClr val="tx1"/>
                </a:solidFill>
              </a:rPr>
              <a:t>jauh</a:t>
            </a:r>
            <a:r>
              <a:rPr lang="en-US" sz="1200" dirty="0" smtClean="0">
                <a:solidFill>
                  <a:schemeClr val="tx1"/>
                </a:solidFill>
              </a:rPr>
              <a:t> </a:t>
            </a:r>
            <a:r>
              <a:rPr lang="en-US" sz="1200" dirty="0" err="1" smtClean="0">
                <a:solidFill>
                  <a:schemeClr val="tx1"/>
                </a:solidFill>
              </a:rPr>
              <a:t>melebihi</a:t>
            </a:r>
            <a:r>
              <a:rPr lang="en-US" sz="1200" dirty="0" smtClean="0">
                <a:solidFill>
                  <a:schemeClr val="tx1"/>
                </a:solidFill>
              </a:rPr>
              <a:t> </a:t>
            </a:r>
            <a:r>
              <a:rPr lang="en-US" sz="1200" dirty="0" err="1" smtClean="0">
                <a:solidFill>
                  <a:schemeClr val="tx1"/>
                </a:solidFill>
              </a:rPr>
              <a:t>anggaran</a:t>
            </a:r>
            <a:r>
              <a:rPr lang="en-US" sz="1200" dirty="0" smtClean="0">
                <a:solidFill>
                  <a:schemeClr val="tx1"/>
                </a:solidFill>
              </a:rPr>
              <a:t> </a:t>
            </a:r>
            <a:r>
              <a:rPr lang="en-US" sz="1200" dirty="0" err="1" smtClean="0">
                <a:solidFill>
                  <a:schemeClr val="tx1"/>
                </a:solidFill>
              </a:rPr>
              <a:t>belanja</a:t>
            </a:r>
            <a:r>
              <a:rPr lang="en-US" sz="1200" dirty="0" smtClean="0">
                <a:solidFill>
                  <a:schemeClr val="tx1"/>
                </a:solidFill>
              </a:rPr>
              <a:t> modal (use of goods and services). </a:t>
            </a:r>
            <a:r>
              <a:rPr lang="en-US" sz="1200" dirty="0" err="1" smtClean="0">
                <a:solidFill>
                  <a:schemeClr val="tx1"/>
                </a:solidFill>
              </a:rPr>
              <a:t>Sehingga</a:t>
            </a:r>
            <a:r>
              <a:rPr lang="en-US" sz="1200" dirty="0" smtClean="0">
                <a:solidFill>
                  <a:schemeClr val="tx1"/>
                </a:solidFill>
              </a:rPr>
              <a:t> </a:t>
            </a:r>
            <a:r>
              <a:rPr lang="en-US" sz="1200" dirty="0" err="1" smtClean="0">
                <a:solidFill>
                  <a:schemeClr val="tx1"/>
                </a:solidFill>
              </a:rPr>
              <a:t>pertumbuhan</a:t>
            </a:r>
            <a:r>
              <a:rPr lang="en-US" sz="1200" dirty="0" smtClean="0">
                <a:solidFill>
                  <a:schemeClr val="tx1"/>
                </a:solidFill>
              </a:rPr>
              <a:t> </a:t>
            </a:r>
            <a:r>
              <a:rPr lang="en-US" sz="1200" dirty="0" err="1" smtClean="0">
                <a:solidFill>
                  <a:schemeClr val="tx1"/>
                </a:solidFill>
              </a:rPr>
              <a:t>infrastruktur</a:t>
            </a:r>
            <a:r>
              <a:rPr lang="en-US" sz="1200" dirty="0" smtClean="0">
                <a:solidFill>
                  <a:schemeClr val="tx1"/>
                </a:solidFill>
              </a:rPr>
              <a:t> </a:t>
            </a:r>
            <a:r>
              <a:rPr lang="en-US" sz="1200" dirty="0" err="1" smtClean="0">
                <a:solidFill>
                  <a:schemeClr val="tx1"/>
                </a:solidFill>
              </a:rPr>
              <a:t>dan</a:t>
            </a:r>
            <a:r>
              <a:rPr lang="en-US" sz="1200" dirty="0" smtClean="0">
                <a:solidFill>
                  <a:schemeClr val="tx1"/>
                </a:solidFill>
              </a:rPr>
              <a:t> </a:t>
            </a:r>
            <a:r>
              <a:rPr lang="en-US" sz="1200" dirty="0" err="1" smtClean="0">
                <a:solidFill>
                  <a:schemeClr val="tx1"/>
                </a:solidFill>
              </a:rPr>
              <a:t>sektor</a:t>
            </a:r>
            <a:r>
              <a:rPr lang="en-US" sz="1200" dirty="0" smtClean="0">
                <a:solidFill>
                  <a:schemeClr val="tx1"/>
                </a:solidFill>
              </a:rPr>
              <a:t> </a:t>
            </a:r>
            <a:r>
              <a:rPr lang="en-US" sz="1200" dirty="0" err="1" smtClean="0">
                <a:solidFill>
                  <a:schemeClr val="tx1"/>
                </a:solidFill>
              </a:rPr>
              <a:t>riil</a:t>
            </a:r>
            <a:r>
              <a:rPr lang="en-US" sz="1200" dirty="0" smtClean="0">
                <a:solidFill>
                  <a:schemeClr val="tx1"/>
                </a:solidFill>
              </a:rPr>
              <a:t> di Brazil </a:t>
            </a:r>
            <a:r>
              <a:rPr lang="en-US" sz="1200" dirty="0" err="1" smtClean="0">
                <a:solidFill>
                  <a:schemeClr val="tx1"/>
                </a:solidFill>
              </a:rPr>
              <a:t>menjadi</a:t>
            </a:r>
            <a:r>
              <a:rPr lang="en-US" sz="1200" dirty="0" smtClean="0">
                <a:solidFill>
                  <a:schemeClr val="tx1"/>
                </a:solidFill>
              </a:rPr>
              <a:t> </a:t>
            </a:r>
            <a:r>
              <a:rPr lang="en-US" sz="1200" dirty="0" err="1" smtClean="0">
                <a:solidFill>
                  <a:schemeClr val="tx1"/>
                </a:solidFill>
              </a:rPr>
              <a:t>cenderung</a:t>
            </a:r>
            <a:r>
              <a:rPr lang="en-US" sz="1200" dirty="0" smtClean="0">
                <a:solidFill>
                  <a:schemeClr val="tx1"/>
                </a:solidFill>
              </a:rPr>
              <a:t> </a:t>
            </a:r>
            <a:r>
              <a:rPr lang="en-US" sz="1200" dirty="0" err="1" smtClean="0">
                <a:solidFill>
                  <a:schemeClr val="tx1"/>
                </a:solidFill>
              </a:rPr>
              <a:t>lambat</a:t>
            </a:r>
            <a:r>
              <a:rPr lang="en-US" sz="1200" dirty="0" smtClean="0">
                <a:solidFill>
                  <a:schemeClr val="tx1"/>
                </a:solidFill>
              </a:rPr>
              <a:t>. Hal </a:t>
            </a:r>
            <a:r>
              <a:rPr lang="en-US" sz="1200" dirty="0" err="1" smtClean="0">
                <a:solidFill>
                  <a:schemeClr val="tx1"/>
                </a:solidFill>
              </a:rPr>
              <a:t>ini</a:t>
            </a:r>
            <a:r>
              <a:rPr lang="en-US" sz="1200" dirty="0" smtClean="0">
                <a:solidFill>
                  <a:schemeClr val="tx1"/>
                </a:solidFill>
              </a:rPr>
              <a:t> </a:t>
            </a:r>
            <a:r>
              <a:rPr lang="en-US" sz="1200" dirty="0" err="1" smtClean="0">
                <a:solidFill>
                  <a:schemeClr val="tx1"/>
                </a:solidFill>
              </a:rPr>
              <a:t>berkebalikan</a:t>
            </a:r>
            <a:r>
              <a:rPr lang="en-US" sz="1200" dirty="0" smtClean="0">
                <a:solidFill>
                  <a:schemeClr val="tx1"/>
                </a:solidFill>
              </a:rPr>
              <a:t> </a:t>
            </a:r>
            <a:r>
              <a:rPr lang="en-US" sz="1200" dirty="0" err="1" smtClean="0">
                <a:solidFill>
                  <a:schemeClr val="tx1"/>
                </a:solidFill>
              </a:rPr>
              <a:t>dengan</a:t>
            </a:r>
            <a:r>
              <a:rPr lang="en-US" sz="1200" dirty="0" smtClean="0">
                <a:solidFill>
                  <a:schemeClr val="tx1"/>
                </a:solidFill>
              </a:rPr>
              <a:t> Indonesia, </a:t>
            </a:r>
            <a:r>
              <a:rPr lang="en-US" sz="1200" dirty="0" err="1" smtClean="0">
                <a:solidFill>
                  <a:schemeClr val="tx1"/>
                </a:solidFill>
              </a:rPr>
              <a:t>dimana</a:t>
            </a:r>
            <a:r>
              <a:rPr lang="en-US" sz="1200" dirty="0" smtClean="0">
                <a:solidFill>
                  <a:schemeClr val="tx1"/>
                </a:solidFill>
              </a:rPr>
              <a:t> </a:t>
            </a:r>
            <a:r>
              <a:rPr lang="en-US" sz="1200" dirty="0" err="1" smtClean="0">
                <a:solidFill>
                  <a:schemeClr val="tx1"/>
                </a:solidFill>
              </a:rPr>
              <a:t>pembangunan</a:t>
            </a:r>
            <a:r>
              <a:rPr lang="en-US" sz="1200" dirty="0" smtClean="0">
                <a:solidFill>
                  <a:schemeClr val="tx1"/>
                </a:solidFill>
              </a:rPr>
              <a:t> </a:t>
            </a:r>
            <a:r>
              <a:rPr lang="en-US" sz="1200" dirty="0" err="1" smtClean="0">
                <a:solidFill>
                  <a:schemeClr val="tx1"/>
                </a:solidFill>
              </a:rPr>
              <a:t>infrastruktur</a:t>
            </a:r>
            <a:r>
              <a:rPr lang="en-US" sz="1200" dirty="0" smtClean="0">
                <a:solidFill>
                  <a:schemeClr val="tx1"/>
                </a:solidFill>
              </a:rPr>
              <a:t> </a:t>
            </a:r>
            <a:r>
              <a:rPr lang="en-US" sz="1200" dirty="0" err="1" smtClean="0">
                <a:solidFill>
                  <a:schemeClr val="tx1"/>
                </a:solidFill>
              </a:rPr>
              <a:t>menjadi</a:t>
            </a:r>
            <a:r>
              <a:rPr lang="en-US" sz="1200" dirty="0" smtClean="0">
                <a:solidFill>
                  <a:schemeClr val="tx1"/>
                </a:solidFill>
              </a:rPr>
              <a:t> </a:t>
            </a:r>
            <a:r>
              <a:rPr lang="en-US" sz="1200" dirty="0" err="1" smtClean="0">
                <a:solidFill>
                  <a:schemeClr val="tx1"/>
                </a:solidFill>
              </a:rPr>
              <a:t>prioritas</a:t>
            </a:r>
            <a:r>
              <a:rPr lang="en-US" sz="1200" dirty="0" smtClean="0">
                <a:solidFill>
                  <a:schemeClr val="tx1"/>
                </a:solidFill>
              </a:rPr>
              <a:t> </a:t>
            </a:r>
            <a:r>
              <a:rPr lang="en-US" sz="1200" dirty="0" err="1" smtClean="0">
                <a:solidFill>
                  <a:schemeClr val="tx1"/>
                </a:solidFill>
              </a:rPr>
              <a:t>utama</a:t>
            </a:r>
            <a:r>
              <a:rPr lang="en-US" sz="1200" dirty="0" smtClean="0">
                <a:solidFill>
                  <a:schemeClr val="tx1"/>
                </a:solidFill>
              </a:rPr>
              <a:t>.</a:t>
            </a:r>
          </a:p>
          <a:p>
            <a:pPr marL="342900" indent="-342900">
              <a:lnSpc>
                <a:spcPct val="110000"/>
              </a:lnSpc>
              <a:buFont typeface="+mj-lt"/>
              <a:buAutoNum type="arabicPeriod"/>
            </a:pPr>
            <a:r>
              <a:rPr lang="en-US" sz="1200" dirty="0" err="1" smtClean="0">
                <a:solidFill>
                  <a:schemeClr val="tx1"/>
                </a:solidFill>
              </a:rPr>
              <a:t>Anggaran</a:t>
            </a:r>
            <a:r>
              <a:rPr lang="en-US" sz="1200" dirty="0" smtClean="0">
                <a:solidFill>
                  <a:schemeClr val="tx1"/>
                </a:solidFill>
              </a:rPr>
              <a:t> </a:t>
            </a:r>
            <a:r>
              <a:rPr lang="en-US" sz="1200" dirty="0" err="1" smtClean="0">
                <a:solidFill>
                  <a:schemeClr val="tx1"/>
                </a:solidFill>
              </a:rPr>
              <a:t>subsidi</a:t>
            </a:r>
            <a:r>
              <a:rPr lang="en-US" sz="1200" dirty="0" smtClean="0">
                <a:solidFill>
                  <a:schemeClr val="tx1"/>
                </a:solidFill>
              </a:rPr>
              <a:t> Indonesia </a:t>
            </a:r>
            <a:r>
              <a:rPr lang="en-US" sz="1200" dirty="0" err="1" smtClean="0">
                <a:solidFill>
                  <a:schemeClr val="tx1"/>
                </a:solidFill>
              </a:rPr>
              <a:t>sejak</a:t>
            </a:r>
            <a:r>
              <a:rPr lang="en-US" sz="1200" dirty="0" smtClean="0">
                <a:solidFill>
                  <a:schemeClr val="tx1"/>
                </a:solidFill>
              </a:rPr>
              <a:t> APBNP 2015 </a:t>
            </a:r>
            <a:r>
              <a:rPr lang="en-US" sz="1200" dirty="0" err="1" smtClean="0">
                <a:solidFill>
                  <a:schemeClr val="tx1"/>
                </a:solidFill>
              </a:rPr>
              <a:t>telah</a:t>
            </a:r>
            <a:r>
              <a:rPr lang="en-US" sz="1200" dirty="0" smtClean="0">
                <a:solidFill>
                  <a:schemeClr val="tx1"/>
                </a:solidFill>
              </a:rPr>
              <a:t> </a:t>
            </a:r>
            <a:r>
              <a:rPr lang="en-US" sz="1200" dirty="0" err="1" smtClean="0">
                <a:solidFill>
                  <a:schemeClr val="tx1"/>
                </a:solidFill>
              </a:rPr>
              <a:t>direalokasikan</a:t>
            </a:r>
            <a:r>
              <a:rPr lang="en-US" sz="1200" dirty="0" smtClean="0">
                <a:solidFill>
                  <a:schemeClr val="tx1"/>
                </a:solidFill>
              </a:rPr>
              <a:t> </a:t>
            </a:r>
            <a:r>
              <a:rPr lang="en-US" sz="1200" dirty="0" err="1" smtClean="0">
                <a:solidFill>
                  <a:schemeClr val="tx1"/>
                </a:solidFill>
              </a:rPr>
              <a:t>kepada</a:t>
            </a:r>
            <a:r>
              <a:rPr lang="en-US" sz="1200" dirty="0" smtClean="0">
                <a:solidFill>
                  <a:schemeClr val="tx1"/>
                </a:solidFill>
              </a:rPr>
              <a:t> </a:t>
            </a:r>
            <a:r>
              <a:rPr lang="en-US" sz="1200" dirty="0" err="1" smtClean="0">
                <a:solidFill>
                  <a:schemeClr val="tx1"/>
                </a:solidFill>
              </a:rPr>
              <a:t>anggaran</a:t>
            </a:r>
            <a:r>
              <a:rPr lang="en-US" sz="1200" dirty="0" smtClean="0">
                <a:solidFill>
                  <a:schemeClr val="tx1"/>
                </a:solidFill>
              </a:rPr>
              <a:t> yang </a:t>
            </a:r>
            <a:r>
              <a:rPr lang="en-US" sz="1200" dirty="0" err="1" smtClean="0">
                <a:solidFill>
                  <a:schemeClr val="tx1"/>
                </a:solidFill>
              </a:rPr>
              <a:t>lebih</a:t>
            </a:r>
            <a:r>
              <a:rPr lang="en-US" sz="1200" dirty="0" smtClean="0">
                <a:solidFill>
                  <a:schemeClr val="tx1"/>
                </a:solidFill>
              </a:rPr>
              <a:t> </a:t>
            </a:r>
            <a:r>
              <a:rPr lang="en-US" sz="1200" dirty="0" err="1" smtClean="0">
                <a:solidFill>
                  <a:schemeClr val="tx1"/>
                </a:solidFill>
              </a:rPr>
              <a:t>produktif</a:t>
            </a:r>
            <a:r>
              <a:rPr lang="en-US" sz="1200" dirty="0" smtClean="0">
                <a:solidFill>
                  <a:schemeClr val="tx1"/>
                </a:solidFill>
              </a:rPr>
              <a:t>. </a:t>
            </a:r>
            <a:r>
              <a:rPr lang="en-US" sz="1200" dirty="0" err="1" smtClean="0">
                <a:solidFill>
                  <a:schemeClr val="tx1"/>
                </a:solidFill>
              </a:rPr>
              <a:t>Sehingga</a:t>
            </a:r>
            <a:r>
              <a:rPr lang="en-US" sz="1200" dirty="0" smtClean="0">
                <a:solidFill>
                  <a:schemeClr val="tx1"/>
                </a:solidFill>
              </a:rPr>
              <a:t> Indonesia </a:t>
            </a:r>
            <a:r>
              <a:rPr lang="en-US" sz="1200" dirty="0" err="1" smtClean="0">
                <a:solidFill>
                  <a:schemeClr val="tx1"/>
                </a:solidFill>
              </a:rPr>
              <a:t>memiliki</a:t>
            </a:r>
            <a:r>
              <a:rPr lang="en-US" sz="1200" dirty="0" smtClean="0">
                <a:solidFill>
                  <a:schemeClr val="tx1"/>
                </a:solidFill>
              </a:rPr>
              <a:t> </a:t>
            </a:r>
            <a:r>
              <a:rPr lang="en-US" sz="1200" dirty="0" err="1" smtClean="0">
                <a:solidFill>
                  <a:schemeClr val="tx1"/>
                </a:solidFill>
              </a:rPr>
              <a:t>ruang</a:t>
            </a:r>
            <a:r>
              <a:rPr lang="en-US" sz="1200" dirty="0" smtClean="0">
                <a:solidFill>
                  <a:schemeClr val="tx1"/>
                </a:solidFill>
              </a:rPr>
              <a:t> </a:t>
            </a:r>
            <a:r>
              <a:rPr lang="en-US" sz="1200" dirty="0" err="1" smtClean="0">
                <a:solidFill>
                  <a:schemeClr val="tx1"/>
                </a:solidFill>
              </a:rPr>
              <a:t>fiskal</a:t>
            </a:r>
            <a:r>
              <a:rPr lang="en-US" sz="1200" dirty="0" smtClean="0">
                <a:solidFill>
                  <a:schemeClr val="tx1"/>
                </a:solidFill>
              </a:rPr>
              <a:t> yang </a:t>
            </a:r>
            <a:r>
              <a:rPr lang="en-US" sz="1200" dirty="0" err="1" smtClean="0">
                <a:solidFill>
                  <a:schemeClr val="tx1"/>
                </a:solidFill>
              </a:rPr>
              <a:t>lebih</a:t>
            </a:r>
            <a:r>
              <a:rPr lang="en-US" sz="1200" dirty="0" smtClean="0">
                <a:solidFill>
                  <a:schemeClr val="tx1"/>
                </a:solidFill>
              </a:rPr>
              <a:t> </a:t>
            </a:r>
            <a:r>
              <a:rPr lang="en-US" sz="1200" dirty="0" err="1" smtClean="0">
                <a:solidFill>
                  <a:schemeClr val="tx1"/>
                </a:solidFill>
              </a:rPr>
              <a:t>besar</a:t>
            </a:r>
            <a:r>
              <a:rPr lang="en-US" sz="1200" dirty="0" smtClean="0">
                <a:solidFill>
                  <a:schemeClr val="tx1"/>
                </a:solidFill>
              </a:rPr>
              <a:t> </a:t>
            </a:r>
            <a:r>
              <a:rPr lang="en-US" sz="1200" dirty="0" err="1" smtClean="0">
                <a:solidFill>
                  <a:schemeClr val="tx1"/>
                </a:solidFill>
              </a:rPr>
              <a:t>pada</a:t>
            </a:r>
            <a:r>
              <a:rPr lang="en-US" sz="1200" dirty="0" smtClean="0">
                <a:solidFill>
                  <a:schemeClr val="tx1"/>
                </a:solidFill>
              </a:rPr>
              <a:t> </a:t>
            </a:r>
            <a:r>
              <a:rPr lang="en-US" sz="1200" dirty="0" err="1" smtClean="0">
                <a:solidFill>
                  <a:schemeClr val="tx1"/>
                </a:solidFill>
              </a:rPr>
              <a:t>tahun</a:t>
            </a:r>
            <a:r>
              <a:rPr lang="en-US" sz="1200" dirty="0" smtClean="0">
                <a:solidFill>
                  <a:schemeClr val="tx1"/>
                </a:solidFill>
              </a:rPr>
              <a:t> </a:t>
            </a:r>
            <a:r>
              <a:rPr lang="en-US" sz="1200" dirty="0" err="1" smtClean="0">
                <a:solidFill>
                  <a:schemeClr val="tx1"/>
                </a:solidFill>
              </a:rPr>
              <a:t>ini</a:t>
            </a:r>
            <a:r>
              <a:rPr lang="en-US" sz="1200" dirty="0" smtClean="0">
                <a:solidFill>
                  <a:schemeClr val="tx1"/>
                </a:solidFill>
              </a:rPr>
              <a:t> </a:t>
            </a:r>
            <a:r>
              <a:rPr lang="en-US" sz="1200" dirty="0" err="1" smtClean="0">
                <a:solidFill>
                  <a:schemeClr val="tx1"/>
                </a:solidFill>
              </a:rPr>
              <a:t>dan</a:t>
            </a:r>
            <a:r>
              <a:rPr lang="en-US" sz="1200" dirty="0" smtClean="0">
                <a:solidFill>
                  <a:schemeClr val="tx1"/>
                </a:solidFill>
              </a:rPr>
              <a:t> yang </a:t>
            </a:r>
            <a:r>
              <a:rPr lang="en-US" sz="1200" dirty="0" err="1" smtClean="0">
                <a:solidFill>
                  <a:schemeClr val="tx1"/>
                </a:solidFill>
              </a:rPr>
              <a:t>akan</a:t>
            </a:r>
            <a:r>
              <a:rPr lang="en-US" sz="1200" dirty="0" smtClean="0">
                <a:solidFill>
                  <a:schemeClr val="tx1"/>
                </a:solidFill>
              </a:rPr>
              <a:t> </a:t>
            </a:r>
            <a:r>
              <a:rPr lang="en-US" sz="1200" dirty="0" err="1" smtClean="0">
                <a:solidFill>
                  <a:schemeClr val="tx1"/>
                </a:solidFill>
              </a:rPr>
              <a:t>datang</a:t>
            </a:r>
            <a:r>
              <a:rPr lang="en-US" sz="1200" dirty="0" smtClean="0">
                <a:solidFill>
                  <a:schemeClr val="tx1"/>
                </a:solidFill>
              </a:rPr>
              <a:t>.</a:t>
            </a:r>
          </a:p>
          <a:p>
            <a:pPr marL="342900" indent="-342900">
              <a:lnSpc>
                <a:spcPct val="110000"/>
              </a:lnSpc>
              <a:buFont typeface="+mj-lt"/>
              <a:buAutoNum type="arabicPeriod"/>
            </a:pPr>
            <a:r>
              <a:rPr lang="en-US" sz="1200" dirty="0" err="1" smtClean="0">
                <a:solidFill>
                  <a:schemeClr val="tx1"/>
                </a:solidFill>
              </a:rPr>
              <a:t>Defisit</a:t>
            </a:r>
            <a:r>
              <a:rPr lang="en-US" sz="1200" dirty="0" smtClean="0">
                <a:solidFill>
                  <a:schemeClr val="tx1"/>
                </a:solidFill>
              </a:rPr>
              <a:t> </a:t>
            </a:r>
            <a:r>
              <a:rPr lang="en-US" sz="1200" dirty="0" err="1" smtClean="0">
                <a:solidFill>
                  <a:schemeClr val="tx1"/>
                </a:solidFill>
              </a:rPr>
              <a:t>fiskal</a:t>
            </a:r>
            <a:r>
              <a:rPr lang="en-US" sz="1200" dirty="0" smtClean="0">
                <a:solidFill>
                  <a:schemeClr val="tx1"/>
                </a:solidFill>
              </a:rPr>
              <a:t> Indonesia </a:t>
            </a:r>
            <a:r>
              <a:rPr lang="en-US" sz="1200" dirty="0" err="1" smtClean="0">
                <a:solidFill>
                  <a:schemeClr val="tx1"/>
                </a:solidFill>
              </a:rPr>
              <a:t>masih</a:t>
            </a:r>
            <a:r>
              <a:rPr lang="en-US" sz="1200" dirty="0" smtClean="0">
                <a:solidFill>
                  <a:schemeClr val="tx1"/>
                </a:solidFill>
              </a:rPr>
              <a:t> </a:t>
            </a:r>
            <a:r>
              <a:rPr lang="en-US" sz="1200" dirty="0" err="1" smtClean="0">
                <a:solidFill>
                  <a:schemeClr val="tx1"/>
                </a:solidFill>
              </a:rPr>
              <a:t>dalam</a:t>
            </a:r>
            <a:r>
              <a:rPr lang="en-US" sz="1200" dirty="0" smtClean="0">
                <a:solidFill>
                  <a:schemeClr val="tx1"/>
                </a:solidFill>
              </a:rPr>
              <a:t> </a:t>
            </a:r>
            <a:r>
              <a:rPr lang="en-US" sz="1200" dirty="0" err="1" smtClean="0">
                <a:solidFill>
                  <a:schemeClr val="tx1"/>
                </a:solidFill>
              </a:rPr>
              <a:t>batas</a:t>
            </a:r>
            <a:r>
              <a:rPr lang="en-US" sz="1200" dirty="0" smtClean="0">
                <a:solidFill>
                  <a:schemeClr val="tx1"/>
                </a:solidFill>
              </a:rPr>
              <a:t> </a:t>
            </a:r>
            <a:r>
              <a:rPr lang="en-US" sz="1200" dirty="0" err="1" smtClean="0">
                <a:solidFill>
                  <a:schemeClr val="tx1"/>
                </a:solidFill>
              </a:rPr>
              <a:t>aman</a:t>
            </a:r>
            <a:r>
              <a:rPr lang="en-US" sz="1200" dirty="0" smtClean="0">
                <a:solidFill>
                  <a:schemeClr val="tx1"/>
                </a:solidFill>
              </a:rPr>
              <a:t> </a:t>
            </a:r>
            <a:r>
              <a:rPr lang="en-US" sz="1200" dirty="0" err="1" smtClean="0">
                <a:solidFill>
                  <a:schemeClr val="tx1"/>
                </a:solidFill>
              </a:rPr>
              <a:t>dan</a:t>
            </a:r>
            <a:r>
              <a:rPr lang="en-US" sz="1200" dirty="0" smtClean="0">
                <a:solidFill>
                  <a:schemeClr val="tx1"/>
                </a:solidFill>
              </a:rPr>
              <a:t> </a:t>
            </a:r>
            <a:r>
              <a:rPr lang="en-US" sz="1200" dirty="0" err="1" smtClean="0">
                <a:solidFill>
                  <a:schemeClr val="tx1"/>
                </a:solidFill>
              </a:rPr>
              <a:t>jauh</a:t>
            </a:r>
            <a:r>
              <a:rPr lang="en-US" sz="1200" dirty="0" smtClean="0">
                <a:solidFill>
                  <a:schemeClr val="tx1"/>
                </a:solidFill>
              </a:rPr>
              <a:t> di </a:t>
            </a:r>
            <a:r>
              <a:rPr lang="en-US" sz="1200" dirty="0" err="1" smtClean="0">
                <a:solidFill>
                  <a:schemeClr val="tx1"/>
                </a:solidFill>
              </a:rPr>
              <a:t>bawah</a:t>
            </a:r>
            <a:r>
              <a:rPr lang="en-US" sz="1200" dirty="0" smtClean="0">
                <a:solidFill>
                  <a:schemeClr val="tx1"/>
                </a:solidFill>
              </a:rPr>
              <a:t> Brazil, </a:t>
            </a:r>
            <a:r>
              <a:rPr lang="en-US" sz="1200" dirty="0" err="1" smtClean="0">
                <a:solidFill>
                  <a:schemeClr val="tx1"/>
                </a:solidFill>
              </a:rPr>
              <a:t>dan</a:t>
            </a:r>
            <a:r>
              <a:rPr lang="en-US" sz="1200" dirty="0" smtClean="0">
                <a:solidFill>
                  <a:schemeClr val="tx1"/>
                </a:solidFill>
              </a:rPr>
              <a:t> tax ratio yang </a:t>
            </a:r>
            <a:r>
              <a:rPr lang="en-US" sz="1200" dirty="0" err="1" smtClean="0">
                <a:solidFill>
                  <a:schemeClr val="tx1"/>
                </a:solidFill>
              </a:rPr>
              <a:t>masih</a:t>
            </a:r>
            <a:r>
              <a:rPr lang="en-US" sz="1200" dirty="0" smtClean="0">
                <a:solidFill>
                  <a:schemeClr val="tx1"/>
                </a:solidFill>
              </a:rPr>
              <a:t> </a:t>
            </a:r>
            <a:r>
              <a:rPr lang="en-US" sz="1200" dirty="0" err="1" smtClean="0">
                <a:solidFill>
                  <a:schemeClr val="tx1"/>
                </a:solidFill>
              </a:rPr>
              <a:t>relatif</a:t>
            </a:r>
            <a:r>
              <a:rPr lang="en-US" sz="1200" dirty="0" smtClean="0">
                <a:solidFill>
                  <a:schemeClr val="tx1"/>
                </a:solidFill>
              </a:rPr>
              <a:t> </a:t>
            </a:r>
            <a:r>
              <a:rPr lang="en-US" sz="1200" dirty="0" err="1" smtClean="0">
                <a:solidFill>
                  <a:schemeClr val="tx1"/>
                </a:solidFill>
              </a:rPr>
              <a:t>rendah</a:t>
            </a:r>
            <a:r>
              <a:rPr lang="en-US" sz="1200" dirty="0" smtClean="0">
                <a:solidFill>
                  <a:schemeClr val="tx1"/>
                </a:solidFill>
              </a:rPr>
              <a:t>. </a:t>
            </a:r>
          </a:p>
        </p:txBody>
      </p:sp>
      <p:sp>
        <p:nvSpPr>
          <p:cNvPr id="12" name="Oval 11"/>
          <p:cNvSpPr/>
          <p:nvPr/>
        </p:nvSpPr>
        <p:spPr>
          <a:xfrm>
            <a:off x="7737231" y="4223712"/>
            <a:ext cx="351692" cy="381000"/>
          </a:xfrm>
          <a:prstGeom prst="ellipse">
            <a:avLst/>
          </a:prstGeom>
          <a:solidFill>
            <a:srgbClr val="FFFFFF"/>
          </a:solidFill>
          <a:ln w="28575" cmpd="sng">
            <a:solidFill>
              <a:srgbClr val="3366F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solidFill>
                  <a:schemeClr val="tx2"/>
                </a:solidFill>
              </a:rPr>
              <a:t>4</a:t>
            </a:r>
            <a:endParaRPr lang="en-US" sz="1100" b="1" dirty="0">
              <a:solidFill>
                <a:schemeClr val="tx2"/>
              </a:solidFill>
            </a:endParaRPr>
          </a:p>
        </p:txBody>
      </p:sp>
      <p:sp>
        <p:nvSpPr>
          <p:cNvPr id="13" name="Rectangle 12"/>
          <p:cNvSpPr/>
          <p:nvPr/>
        </p:nvSpPr>
        <p:spPr>
          <a:xfrm>
            <a:off x="914400" y="4376112"/>
            <a:ext cx="6752492" cy="228600"/>
          </a:xfrm>
          <a:prstGeom prst="rect">
            <a:avLst/>
          </a:prstGeom>
          <a:noFill/>
          <a:ln w="12700" cmpd="sng">
            <a:solidFill>
              <a:srgbClr val="3366FF"/>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71842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a:graphicFrameLocks/>
          </p:cNvGraphicFramePr>
          <p:nvPr>
            <p:extLst>
              <p:ext uri="{D42A27DB-BD31-4B8C-83A1-F6EECF244321}">
                <p14:modId xmlns:p14="http://schemas.microsoft.com/office/powerpoint/2010/main" val="626346175"/>
              </p:ext>
            </p:extLst>
          </p:nvPr>
        </p:nvGraphicFramePr>
        <p:xfrm>
          <a:off x="156263" y="759846"/>
          <a:ext cx="4274585" cy="2222781"/>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6312204" y="5515776"/>
            <a:ext cx="2547257" cy="230832"/>
          </a:xfrm>
          <a:prstGeom prst="rect">
            <a:avLst/>
          </a:prstGeom>
          <a:noFill/>
        </p:spPr>
        <p:txBody>
          <a:bodyPr wrap="square" rtlCol="0">
            <a:spAutoFit/>
          </a:bodyPr>
          <a:lstStyle/>
          <a:p>
            <a:pPr algn="r"/>
            <a:r>
              <a:rPr lang="id-ID" sz="900" dirty="0"/>
              <a:t>Sumber: Bloomberg</a:t>
            </a:r>
          </a:p>
        </p:txBody>
      </p:sp>
      <p:sp>
        <p:nvSpPr>
          <p:cNvPr id="17" name="Rectangle 16"/>
          <p:cNvSpPr/>
          <p:nvPr/>
        </p:nvSpPr>
        <p:spPr>
          <a:xfrm>
            <a:off x="232161" y="5749681"/>
            <a:ext cx="8651839" cy="954107"/>
          </a:xfrm>
          <a:prstGeom prst="rect">
            <a:avLst/>
          </a:prstGeom>
          <a:noFill/>
          <a:ln>
            <a:noFill/>
          </a:ln>
        </p:spPr>
        <p:txBody>
          <a:bodyPr wrap="square">
            <a:spAutoFit/>
          </a:bodyPr>
          <a:lstStyle/>
          <a:p>
            <a:pPr marL="285750" indent="-285750">
              <a:buFont typeface="Arial" panose="020B0604020202020204" pitchFamily="34" charset="0"/>
              <a:buChar char="•"/>
            </a:pPr>
            <a:r>
              <a:rPr lang="id-ID" sz="1400" dirty="0">
                <a:solidFill>
                  <a:srgbClr val="404040"/>
                </a:solidFill>
                <a:latin typeface="Calibri"/>
                <a:cs typeface="Calibri"/>
              </a:rPr>
              <a:t>Harga minyak mentah Brent turun ke level terendah dalam 6 tahun sejak 2009.</a:t>
            </a:r>
            <a:endParaRPr lang="en-US" sz="1400" dirty="0">
              <a:solidFill>
                <a:srgbClr val="404040"/>
              </a:solidFill>
              <a:latin typeface="Calibri"/>
              <a:cs typeface="Calibri"/>
            </a:endParaRPr>
          </a:p>
          <a:p>
            <a:pPr marL="285750" indent="-285750">
              <a:buFont typeface="Arial" panose="020B0604020202020204" pitchFamily="34" charset="0"/>
              <a:buChar char="•"/>
            </a:pPr>
            <a:r>
              <a:rPr lang="en-US" sz="1400" dirty="0" err="1">
                <a:solidFill>
                  <a:srgbClr val="404040"/>
                </a:solidFill>
                <a:latin typeface="Calibri"/>
                <a:cs typeface="Calibri"/>
              </a:rPr>
              <a:t>Pengaruh</a:t>
            </a:r>
            <a:r>
              <a:rPr lang="en-US" sz="1400" dirty="0">
                <a:solidFill>
                  <a:srgbClr val="404040"/>
                </a:solidFill>
                <a:latin typeface="Calibri"/>
                <a:cs typeface="Calibri"/>
              </a:rPr>
              <a:t> </a:t>
            </a:r>
            <a:r>
              <a:rPr lang="en-US" sz="1400" dirty="0" err="1">
                <a:solidFill>
                  <a:srgbClr val="404040"/>
                </a:solidFill>
                <a:latin typeface="Calibri"/>
                <a:cs typeface="Calibri"/>
              </a:rPr>
              <a:t>negatif</a:t>
            </a:r>
            <a:r>
              <a:rPr lang="en-US" sz="1400" dirty="0">
                <a:solidFill>
                  <a:srgbClr val="404040"/>
                </a:solidFill>
                <a:latin typeface="Calibri"/>
                <a:cs typeface="Calibri"/>
              </a:rPr>
              <a:t> </a:t>
            </a:r>
            <a:r>
              <a:rPr lang="id-ID" sz="1400" dirty="0">
                <a:solidFill>
                  <a:srgbClr val="404040"/>
                </a:solidFill>
                <a:latin typeface="Calibri"/>
                <a:cs typeface="Calibri"/>
              </a:rPr>
              <a:t>terjadi pada negara berbasis energi maupun logam terus terjadi, seiring dengan WTI yang jatuh ke level terendah sejak Februari 2009 dan Brent yang juga jatuh ke level terendah sejak Maret 2009, masing-masing di bawah USD</a:t>
            </a:r>
            <a:r>
              <a:rPr lang="en-US" sz="1400" dirty="0">
                <a:solidFill>
                  <a:srgbClr val="404040"/>
                </a:solidFill>
                <a:latin typeface="Calibri"/>
                <a:cs typeface="Calibri"/>
              </a:rPr>
              <a:t>5</a:t>
            </a:r>
            <a:r>
              <a:rPr lang="id-ID" sz="1400" dirty="0">
                <a:solidFill>
                  <a:srgbClr val="404040"/>
                </a:solidFill>
                <a:latin typeface="Calibri"/>
                <a:cs typeface="Calibri"/>
              </a:rPr>
              <a:t>0/barel</a:t>
            </a:r>
            <a:r>
              <a:rPr lang="id-ID" sz="1400" dirty="0" smtClean="0">
                <a:solidFill>
                  <a:srgbClr val="404040"/>
                </a:solidFill>
                <a:latin typeface="Calibri"/>
                <a:cs typeface="Calibri"/>
              </a:rPr>
              <a:t>.</a:t>
            </a:r>
          </a:p>
        </p:txBody>
      </p:sp>
      <p:sp>
        <p:nvSpPr>
          <p:cNvPr id="18" name="TextBox 17"/>
          <p:cNvSpPr txBox="1"/>
          <p:nvPr/>
        </p:nvSpPr>
        <p:spPr>
          <a:xfrm>
            <a:off x="309442" y="5487090"/>
            <a:ext cx="2547257" cy="230832"/>
          </a:xfrm>
          <a:prstGeom prst="rect">
            <a:avLst/>
          </a:prstGeom>
          <a:noFill/>
        </p:spPr>
        <p:txBody>
          <a:bodyPr wrap="square" rtlCol="0">
            <a:spAutoFit/>
          </a:bodyPr>
          <a:lstStyle/>
          <a:p>
            <a:r>
              <a:rPr lang="id-ID" sz="900" dirty="0"/>
              <a:t>Sumber: Bloomberg</a:t>
            </a:r>
          </a:p>
        </p:txBody>
      </p:sp>
      <p:sp>
        <p:nvSpPr>
          <p:cNvPr id="22" name="Title 12"/>
          <p:cNvSpPr txBox="1">
            <a:spLocks/>
          </p:cNvSpPr>
          <p:nvPr/>
        </p:nvSpPr>
        <p:spPr>
          <a:xfrm>
            <a:off x="2" y="0"/>
            <a:ext cx="7946893" cy="764286"/>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hr-HR" sz="2000" b="1" dirty="0">
                <a:solidFill>
                  <a:srgbClr val="1F497D"/>
                </a:solidFill>
                <a:latin typeface="Calibri"/>
                <a:cs typeface="Calibri"/>
              </a:rPr>
              <a:t>Harga Komoditas Dunia masih melemah</a:t>
            </a:r>
          </a:p>
          <a:p>
            <a:r>
              <a:rPr lang="hr-HR" sz="1300" i="1" dirty="0">
                <a:solidFill>
                  <a:srgbClr val="1F497D"/>
                </a:solidFill>
                <a:latin typeface="Calibri"/>
                <a:cs typeface="Calibri"/>
              </a:rPr>
              <a:t>...pelemahan ekonomi Tiongkok semakin menekan harga komoditas dunia</a:t>
            </a:r>
          </a:p>
        </p:txBody>
      </p:sp>
      <p:sp>
        <p:nvSpPr>
          <p:cNvPr id="23" name="TextBox 22"/>
          <p:cNvSpPr txBox="1"/>
          <p:nvPr/>
        </p:nvSpPr>
        <p:spPr>
          <a:xfrm>
            <a:off x="592671" y="659922"/>
            <a:ext cx="3172768" cy="276999"/>
          </a:xfrm>
          <a:prstGeom prst="rect">
            <a:avLst/>
          </a:prstGeom>
          <a:noFill/>
        </p:spPr>
        <p:txBody>
          <a:bodyPr wrap="square" rtlCol="0">
            <a:spAutoFit/>
          </a:bodyPr>
          <a:lstStyle/>
          <a:p>
            <a:pPr algn="ctr"/>
            <a:r>
              <a:rPr lang="id-ID" sz="1200" b="1" dirty="0" smtClean="0"/>
              <a:t>Indeks Harga Komoditas Global</a:t>
            </a:r>
            <a:endParaRPr lang="id-ID" sz="1200" b="1" dirty="0"/>
          </a:p>
        </p:txBody>
      </p:sp>
      <p:sp>
        <p:nvSpPr>
          <p:cNvPr id="24" name="TextBox 23"/>
          <p:cNvSpPr txBox="1"/>
          <p:nvPr/>
        </p:nvSpPr>
        <p:spPr>
          <a:xfrm>
            <a:off x="5242783" y="697952"/>
            <a:ext cx="3535135" cy="461665"/>
          </a:xfrm>
          <a:prstGeom prst="rect">
            <a:avLst/>
          </a:prstGeom>
          <a:noFill/>
        </p:spPr>
        <p:txBody>
          <a:bodyPr wrap="square" rtlCol="0">
            <a:spAutoFit/>
          </a:bodyPr>
          <a:lstStyle/>
          <a:p>
            <a:pPr algn="ctr"/>
            <a:r>
              <a:rPr lang="en-US" sz="1200" b="1" dirty="0" err="1"/>
              <a:t>Pergerakan</a:t>
            </a:r>
            <a:r>
              <a:rPr lang="en-US" sz="1200" b="1" dirty="0"/>
              <a:t> </a:t>
            </a:r>
            <a:r>
              <a:rPr lang="en-US" sz="1200" b="1" dirty="0" err="1"/>
              <a:t>Harga</a:t>
            </a:r>
            <a:r>
              <a:rPr lang="en-US" sz="1200" b="1" dirty="0"/>
              <a:t> </a:t>
            </a:r>
            <a:r>
              <a:rPr lang="en-US" sz="1200" b="1" dirty="0" err="1"/>
              <a:t>Komoditas</a:t>
            </a:r>
            <a:r>
              <a:rPr lang="en-US" sz="1200" b="1" dirty="0"/>
              <a:t> </a:t>
            </a:r>
            <a:r>
              <a:rPr lang="en-US" sz="1200" b="1" dirty="0" err="1"/>
              <a:t>Utama</a:t>
            </a:r>
            <a:r>
              <a:rPr lang="en-US" sz="1200" b="1" dirty="0"/>
              <a:t> </a:t>
            </a:r>
            <a:r>
              <a:rPr lang="en-US" sz="1200" b="1" dirty="0" err="1"/>
              <a:t>Dunia</a:t>
            </a:r>
            <a:endParaRPr lang="en-US" sz="1200" b="1" dirty="0"/>
          </a:p>
          <a:p>
            <a:pPr algn="ctr"/>
            <a:r>
              <a:rPr lang="en-US" sz="1200" b="1" dirty="0"/>
              <a:t>Per </a:t>
            </a:r>
            <a:r>
              <a:rPr lang="id-ID" sz="1200" b="1" dirty="0" smtClean="0"/>
              <a:t>25 September 2015 (%YTD)</a:t>
            </a:r>
            <a:endParaRPr lang="en-US" sz="1200" b="1" dirty="0"/>
          </a:p>
        </p:txBody>
      </p:sp>
      <p:sp>
        <p:nvSpPr>
          <p:cNvPr id="25" name="Slide Number Placeholder 3"/>
          <p:cNvSpPr>
            <a:spLocks noGrp="1"/>
          </p:cNvSpPr>
          <p:nvPr>
            <p:ph type="sldNum" sz="quarter" idx="12"/>
          </p:nvPr>
        </p:nvSpPr>
        <p:spPr>
          <a:xfrm>
            <a:off x="0" y="6494738"/>
            <a:ext cx="676663" cy="363262"/>
          </a:xfrm>
        </p:spPr>
        <p:txBody>
          <a:bodyPr/>
          <a:lstStyle/>
          <a:p>
            <a:fld id="{992C441B-0EFA-4044-BD8E-5D2A6FCD95FF}" type="slidenum">
              <a:rPr lang="id-ID" sz="1400" b="1" smtClean="0">
                <a:solidFill>
                  <a:schemeClr val="bg1"/>
                </a:solidFill>
              </a:rPr>
              <a:pPr/>
              <a:t>6</a:t>
            </a:fld>
            <a:endParaRPr lang="id-ID" sz="1400" b="1" dirty="0">
              <a:solidFill>
                <a:schemeClr val="bg1"/>
              </a:solidFill>
            </a:endParaRPr>
          </a:p>
        </p:txBody>
      </p:sp>
      <p:sp>
        <p:nvSpPr>
          <p:cNvPr id="27" name="Rectangle 26"/>
          <p:cNvSpPr/>
          <p:nvPr/>
        </p:nvSpPr>
        <p:spPr>
          <a:xfrm>
            <a:off x="2607485" y="3438541"/>
            <a:ext cx="1993959" cy="2142233"/>
          </a:xfrm>
          <a:prstGeom prst="rect">
            <a:avLst/>
          </a:prstGeom>
          <a:solidFill>
            <a:schemeClr val="accent6">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28" name="Chart 27"/>
          <p:cNvGraphicFramePr>
            <a:graphicFrameLocks/>
          </p:cNvGraphicFramePr>
          <p:nvPr>
            <p:extLst>
              <p:ext uri="{D42A27DB-BD31-4B8C-83A1-F6EECF244321}">
                <p14:modId xmlns:p14="http://schemas.microsoft.com/office/powerpoint/2010/main" val="2202610206"/>
              </p:ext>
            </p:extLst>
          </p:nvPr>
        </p:nvGraphicFramePr>
        <p:xfrm>
          <a:off x="0" y="3408023"/>
          <a:ext cx="4684981" cy="2289258"/>
        </p:xfrm>
        <a:graphic>
          <a:graphicData uri="http://schemas.openxmlformats.org/drawingml/2006/chart">
            <c:chart xmlns:c="http://schemas.openxmlformats.org/drawingml/2006/chart" xmlns:r="http://schemas.openxmlformats.org/officeDocument/2006/relationships" r:id="rId3"/>
          </a:graphicData>
        </a:graphic>
      </p:graphicFrame>
      <p:sp>
        <p:nvSpPr>
          <p:cNvPr id="29" name="Rectangle 28"/>
          <p:cNvSpPr/>
          <p:nvPr/>
        </p:nvSpPr>
        <p:spPr>
          <a:xfrm>
            <a:off x="2606677" y="3949649"/>
            <a:ext cx="2003021" cy="1359314"/>
          </a:xfrm>
          <a:prstGeom prst="rect">
            <a:avLst/>
          </a:prstGeom>
          <a:noFill/>
          <a:ln w="28575" cmpd="sng">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p:cNvSpPr txBox="1"/>
          <p:nvPr/>
        </p:nvSpPr>
        <p:spPr>
          <a:xfrm>
            <a:off x="2606678" y="3939453"/>
            <a:ext cx="1957316" cy="276999"/>
          </a:xfrm>
          <a:prstGeom prst="rect">
            <a:avLst/>
          </a:prstGeom>
          <a:noFill/>
        </p:spPr>
        <p:txBody>
          <a:bodyPr wrap="square" rtlCol="0">
            <a:spAutoFit/>
          </a:bodyPr>
          <a:lstStyle/>
          <a:p>
            <a:pPr algn="r"/>
            <a:r>
              <a:rPr lang="en-US" sz="1200" b="1" i="1" dirty="0" smtClean="0">
                <a:latin typeface="Calibri"/>
                <a:cs typeface="Calibri"/>
              </a:rPr>
              <a:t>Commodity Price Projection</a:t>
            </a:r>
            <a:endParaRPr lang="en-US" sz="1200" b="1" i="1" dirty="0">
              <a:latin typeface="Calibri"/>
              <a:cs typeface="Calibri"/>
            </a:endParaRPr>
          </a:p>
        </p:txBody>
      </p:sp>
      <p:sp>
        <p:nvSpPr>
          <p:cNvPr id="31" name="TextBox 30"/>
          <p:cNvSpPr txBox="1"/>
          <p:nvPr/>
        </p:nvSpPr>
        <p:spPr>
          <a:xfrm>
            <a:off x="1440529" y="4200743"/>
            <a:ext cx="450764" cy="246221"/>
          </a:xfrm>
          <a:prstGeom prst="rect">
            <a:avLst/>
          </a:prstGeom>
          <a:noFill/>
        </p:spPr>
        <p:txBody>
          <a:bodyPr wrap="none" rtlCol="0">
            <a:spAutoFit/>
          </a:bodyPr>
          <a:lstStyle/>
          <a:p>
            <a:r>
              <a:rPr lang="en-US" sz="1000" b="1" dirty="0" smtClean="0">
                <a:solidFill>
                  <a:srgbClr val="008000"/>
                </a:solidFill>
              </a:rPr>
              <a:t>Food</a:t>
            </a:r>
            <a:endParaRPr lang="en-US" sz="1000" b="1" dirty="0">
              <a:solidFill>
                <a:srgbClr val="008000"/>
              </a:solidFill>
            </a:endParaRPr>
          </a:p>
        </p:txBody>
      </p:sp>
      <p:sp>
        <p:nvSpPr>
          <p:cNvPr id="32" name="TextBox 31"/>
          <p:cNvSpPr txBox="1"/>
          <p:nvPr/>
        </p:nvSpPr>
        <p:spPr>
          <a:xfrm>
            <a:off x="1329832" y="4696698"/>
            <a:ext cx="806631" cy="246221"/>
          </a:xfrm>
          <a:prstGeom prst="rect">
            <a:avLst/>
          </a:prstGeom>
          <a:noFill/>
        </p:spPr>
        <p:txBody>
          <a:bodyPr wrap="none" rtlCol="0">
            <a:spAutoFit/>
          </a:bodyPr>
          <a:lstStyle/>
          <a:p>
            <a:r>
              <a:rPr lang="en-US" sz="1000" b="1" dirty="0" smtClean="0">
                <a:solidFill>
                  <a:srgbClr val="FF0000"/>
                </a:solidFill>
              </a:rPr>
              <a:t>Agricultural</a:t>
            </a:r>
            <a:endParaRPr lang="en-US" sz="1000" b="1" dirty="0">
              <a:solidFill>
                <a:srgbClr val="FF0000"/>
              </a:solidFill>
            </a:endParaRPr>
          </a:p>
        </p:txBody>
      </p:sp>
      <p:sp>
        <p:nvSpPr>
          <p:cNvPr id="33" name="TextBox 32"/>
          <p:cNvSpPr txBox="1"/>
          <p:nvPr/>
        </p:nvSpPr>
        <p:spPr>
          <a:xfrm>
            <a:off x="1778614" y="3835416"/>
            <a:ext cx="546945" cy="246221"/>
          </a:xfrm>
          <a:prstGeom prst="rect">
            <a:avLst/>
          </a:prstGeom>
          <a:noFill/>
        </p:spPr>
        <p:txBody>
          <a:bodyPr wrap="none" rtlCol="0">
            <a:spAutoFit/>
          </a:bodyPr>
          <a:lstStyle/>
          <a:p>
            <a:r>
              <a:rPr lang="en-US" sz="1000" b="1" dirty="0" smtClean="0">
                <a:solidFill>
                  <a:srgbClr val="0000FF"/>
                </a:solidFill>
              </a:rPr>
              <a:t>Energy</a:t>
            </a:r>
            <a:endParaRPr lang="en-US" sz="1000" b="1" dirty="0">
              <a:solidFill>
                <a:srgbClr val="0000FF"/>
              </a:solidFill>
            </a:endParaRPr>
          </a:p>
        </p:txBody>
      </p:sp>
      <p:sp>
        <p:nvSpPr>
          <p:cNvPr id="34" name="TextBox 33"/>
          <p:cNvSpPr txBox="1"/>
          <p:nvPr/>
        </p:nvSpPr>
        <p:spPr>
          <a:xfrm>
            <a:off x="808781" y="3717525"/>
            <a:ext cx="500458" cy="246221"/>
          </a:xfrm>
          <a:prstGeom prst="rect">
            <a:avLst/>
          </a:prstGeom>
          <a:noFill/>
        </p:spPr>
        <p:txBody>
          <a:bodyPr wrap="none" rtlCol="0">
            <a:spAutoFit/>
          </a:bodyPr>
          <a:lstStyle/>
          <a:p>
            <a:r>
              <a:rPr lang="en-US" sz="1000" b="1" dirty="0" smtClean="0">
                <a:solidFill>
                  <a:schemeClr val="accent6">
                    <a:lumMod val="75000"/>
                  </a:schemeClr>
                </a:solidFill>
              </a:rPr>
              <a:t>Metal</a:t>
            </a:r>
            <a:endParaRPr lang="en-US" sz="1000" b="1" dirty="0">
              <a:solidFill>
                <a:schemeClr val="accent6">
                  <a:lumMod val="75000"/>
                </a:schemeClr>
              </a:solidFill>
            </a:endParaRPr>
          </a:p>
        </p:txBody>
      </p:sp>
      <p:sp>
        <p:nvSpPr>
          <p:cNvPr id="35" name="TextBox 34"/>
          <p:cNvSpPr txBox="1"/>
          <p:nvPr/>
        </p:nvSpPr>
        <p:spPr>
          <a:xfrm>
            <a:off x="1576321" y="3007563"/>
            <a:ext cx="1712328" cy="430887"/>
          </a:xfrm>
          <a:prstGeom prst="rect">
            <a:avLst/>
          </a:prstGeom>
          <a:noFill/>
        </p:spPr>
        <p:txBody>
          <a:bodyPr wrap="none" rtlCol="0">
            <a:spAutoFit/>
          </a:bodyPr>
          <a:lstStyle/>
          <a:p>
            <a:pPr algn="ctr"/>
            <a:r>
              <a:rPr lang="en-US" sz="1200" b="1" dirty="0" smtClean="0">
                <a:latin typeface="Calibri"/>
                <a:cs typeface="Calibri"/>
              </a:rPr>
              <a:t>IMF Commodities Index</a:t>
            </a:r>
          </a:p>
          <a:p>
            <a:pPr algn="ctr"/>
            <a:r>
              <a:rPr lang="en-US" sz="1000" i="1" dirty="0" smtClean="0">
                <a:solidFill>
                  <a:srgbClr val="000000"/>
                </a:solidFill>
                <a:latin typeface="Calibri"/>
                <a:ea typeface="Lucida Grande"/>
                <a:cs typeface="Calibri"/>
              </a:rPr>
              <a:t>Index </a:t>
            </a:r>
            <a:r>
              <a:rPr lang="en-US" sz="1000" i="1" dirty="0" err="1" smtClean="0">
                <a:solidFill>
                  <a:srgbClr val="000000"/>
                </a:solidFill>
                <a:latin typeface="Calibri"/>
                <a:ea typeface="Lucida Grande"/>
                <a:cs typeface="Calibri"/>
              </a:rPr>
              <a:t>dalam</a:t>
            </a:r>
            <a:r>
              <a:rPr lang="en-US" sz="1000" i="1" dirty="0" smtClean="0">
                <a:solidFill>
                  <a:srgbClr val="000000"/>
                </a:solidFill>
                <a:latin typeface="Calibri"/>
                <a:ea typeface="Lucida Grande"/>
                <a:cs typeface="Calibri"/>
              </a:rPr>
              <a:t> USD: 2005 = 100</a:t>
            </a:r>
            <a:endParaRPr lang="en-US" sz="1000" b="1" i="1" dirty="0">
              <a:latin typeface="Calibri"/>
              <a:cs typeface="Calibri"/>
            </a:endParaRPr>
          </a:p>
        </p:txBody>
      </p:sp>
      <p:graphicFrame>
        <p:nvGraphicFramePr>
          <p:cNvPr id="21" name="Chart 20"/>
          <p:cNvGraphicFramePr>
            <a:graphicFrameLocks/>
          </p:cNvGraphicFramePr>
          <p:nvPr>
            <p:extLst>
              <p:ext uri="{D42A27DB-BD31-4B8C-83A1-F6EECF244321}">
                <p14:modId xmlns:p14="http://schemas.microsoft.com/office/powerpoint/2010/main" val="2282250576"/>
              </p:ext>
            </p:extLst>
          </p:nvPr>
        </p:nvGraphicFramePr>
        <p:xfrm>
          <a:off x="4923692" y="1255089"/>
          <a:ext cx="4220308" cy="398800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658527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49275" y="1157288"/>
            <a:ext cx="7623175" cy="1751012"/>
          </a:xfrm>
          <a:prstGeom prst="rect">
            <a:avLst/>
          </a:prstGeom>
          <a:noFill/>
        </p:spPr>
        <p:txBody>
          <a:bodyPr>
            <a:spAutoFit/>
          </a:bodyPr>
          <a:lstStyle/>
          <a:p>
            <a:pPr>
              <a:lnSpc>
                <a:spcPct val="110000"/>
              </a:lnSpc>
              <a:defRPr/>
            </a:pPr>
            <a:r>
              <a:rPr lang="en-US" b="1" dirty="0" err="1"/>
              <a:t>Transmisi</a:t>
            </a:r>
            <a:r>
              <a:rPr lang="en-US" b="1" dirty="0"/>
              <a:t> </a:t>
            </a:r>
            <a:r>
              <a:rPr lang="en-US" b="1" dirty="0" err="1"/>
              <a:t>Pasar</a:t>
            </a:r>
            <a:r>
              <a:rPr lang="en-US" b="1" dirty="0"/>
              <a:t> </a:t>
            </a:r>
            <a:r>
              <a:rPr lang="en-US" b="1" dirty="0" err="1"/>
              <a:t>Keuangan</a:t>
            </a:r>
            <a:endParaRPr lang="id-ID" b="1" dirty="0"/>
          </a:p>
          <a:p>
            <a:pPr marL="285750" indent="-285750">
              <a:lnSpc>
                <a:spcPct val="110000"/>
              </a:lnSpc>
              <a:buFont typeface="Arial"/>
              <a:buChar char="•"/>
              <a:defRPr/>
            </a:pPr>
            <a:r>
              <a:rPr lang="id-ID" sz="1600" dirty="0"/>
              <a:t>Sentimen negatif pada perkembangan pasar keuangan </a:t>
            </a:r>
            <a:r>
              <a:rPr lang="en-US" sz="1600" dirty="0"/>
              <a:t>global</a:t>
            </a:r>
            <a:r>
              <a:rPr lang="id-ID" sz="1600" dirty="0"/>
              <a:t> berdampak </a:t>
            </a:r>
            <a:r>
              <a:rPr lang="en-US" sz="1600" dirty="0" smtClean="0"/>
              <a:t>negative  </a:t>
            </a:r>
            <a:r>
              <a:rPr lang="id-ID" sz="1600" dirty="0" smtClean="0"/>
              <a:t>kepada </a:t>
            </a:r>
            <a:r>
              <a:rPr lang="en-US" sz="1600" dirty="0" err="1" smtClean="0"/>
              <a:t>pada</a:t>
            </a:r>
            <a:r>
              <a:rPr lang="en-US" sz="1600" dirty="0" smtClean="0"/>
              <a:t> </a:t>
            </a:r>
            <a:r>
              <a:rPr lang="en-US" sz="1600" dirty="0" err="1"/>
              <a:t>pelemahan</a:t>
            </a:r>
            <a:r>
              <a:rPr lang="en-US" sz="1600" dirty="0"/>
              <a:t> </a:t>
            </a:r>
            <a:r>
              <a:rPr lang="id-ID" sz="1600" dirty="0"/>
              <a:t>harga saham </a:t>
            </a:r>
            <a:r>
              <a:rPr lang="en-US" sz="1600" dirty="0" err="1"/>
              <a:t>dan</a:t>
            </a:r>
            <a:r>
              <a:rPr lang="en-US" sz="1600" dirty="0"/>
              <a:t> </a:t>
            </a:r>
            <a:r>
              <a:rPr lang="en-US" sz="1600" dirty="0" err="1"/>
              <a:t>persepsi</a:t>
            </a:r>
            <a:r>
              <a:rPr lang="en-US" sz="1600" dirty="0"/>
              <a:t> investor</a:t>
            </a:r>
            <a:endParaRPr lang="id-ID" sz="1600" dirty="0"/>
          </a:p>
          <a:p>
            <a:pPr marL="285750" indent="-285750">
              <a:lnSpc>
                <a:spcPct val="110000"/>
              </a:lnSpc>
              <a:buFont typeface="Arial"/>
              <a:buChar char="•"/>
              <a:defRPr/>
            </a:pPr>
            <a:r>
              <a:rPr lang="id-ID" sz="1600" dirty="0"/>
              <a:t>Risiko capital outflow juga melanda EMEs</a:t>
            </a:r>
            <a:r>
              <a:rPr lang="en-US" sz="1600" dirty="0"/>
              <a:t>, </a:t>
            </a:r>
            <a:r>
              <a:rPr lang="en-US" sz="1600" dirty="0" err="1"/>
              <a:t>dan</a:t>
            </a:r>
            <a:r>
              <a:rPr lang="en-US" sz="1600" dirty="0"/>
              <a:t> </a:t>
            </a:r>
            <a:r>
              <a:rPr lang="en-US" sz="1600" dirty="0" err="1"/>
              <a:t>memberikan</a:t>
            </a:r>
            <a:r>
              <a:rPr lang="en-US" sz="1600" dirty="0"/>
              <a:t> </a:t>
            </a:r>
            <a:r>
              <a:rPr lang="en-US" sz="1600" dirty="0" err="1"/>
              <a:t>tekanan</a:t>
            </a:r>
            <a:r>
              <a:rPr lang="en-US" sz="1600" dirty="0"/>
              <a:t> </a:t>
            </a:r>
            <a:r>
              <a:rPr lang="en-US" sz="1600" dirty="0" err="1"/>
              <a:t>pada</a:t>
            </a:r>
            <a:r>
              <a:rPr lang="en-US" sz="1600" dirty="0"/>
              <a:t> </a:t>
            </a:r>
            <a:r>
              <a:rPr lang="en-US" sz="1600" dirty="0" err="1"/>
              <a:t>likuiditas</a:t>
            </a:r>
            <a:r>
              <a:rPr lang="en-US" sz="1600" dirty="0"/>
              <a:t> </a:t>
            </a:r>
            <a:r>
              <a:rPr lang="en-US" sz="1600" dirty="0" err="1"/>
              <a:t>dan</a:t>
            </a:r>
            <a:r>
              <a:rPr lang="en-US" sz="1600" dirty="0"/>
              <a:t> </a:t>
            </a:r>
            <a:r>
              <a:rPr lang="en-US" sz="1600" dirty="0" err="1"/>
              <a:t>tingkat</a:t>
            </a:r>
            <a:r>
              <a:rPr lang="en-US" sz="1600" dirty="0"/>
              <a:t> </a:t>
            </a:r>
            <a:r>
              <a:rPr lang="en-US" sz="1600" dirty="0" err="1"/>
              <a:t>suku</a:t>
            </a:r>
            <a:r>
              <a:rPr lang="en-US" sz="1600" dirty="0"/>
              <a:t> </a:t>
            </a:r>
            <a:r>
              <a:rPr lang="en-US" sz="1600" dirty="0" err="1"/>
              <a:t>bunga</a:t>
            </a:r>
            <a:endParaRPr lang="id-ID" sz="1600" dirty="0"/>
          </a:p>
          <a:p>
            <a:pPr marL="285750" indent="-285750">
              <a:lnSpc>
                <a:spcPct val="110000"/>
              </a:lnSpc>
              <a:buFont typeface="Arial"/>
              <a:buChar char="•"/>
              <a:defRPr/>
            </a:pPr>
            <a:r>
              <a:rPr lang="en-US" sz="1600" dirty="0" err="1"/>
              <a:t>Faktor-faktor</a:t>
            </a:r>
            <a:r>
              <a:rPr lang="en-US" sz="1600" dirty="0"/>
              <a:t> </a:t>
            </a:r>
            <a:r>
              <a:rPr lang="en-US" sz="1600" dirty="0" err="1"/>
              <a:t>tersebut</a:t>
            </a:r>
            <a:r>
              <a:rPr lang="en-US" sz="1600" dirty="0"/>
              <a:t> </a:t>
            </a:r>
            <a:r>
              <a:rPr lang="en-US" sz="1600" dirty="0" err="1"/>
              <a:t>memberikan</a:t>
            </a:r>
            <a:r>
              <a:rPr lang="en-US" sz="1600" dirty="0"/>
              <a:t> </a:t>
            </a:r>
            <a:r>
              <a:rPr lang="en-US" sz="1600" dirty="0" err="1"/>
              <a:t>tekanan</a:t>
            </a:r>
            <a:r>
              <a:rPr lang="en-US" sz="1600" dirty="0"/>
              <a:t> </a:t>
            </a:r>
            <a:r>
              <a:rPr lang="en-US" sz="1600" dirty="0" err="1"/>
              <a:t>pada</a:t>
            </a:r>
            <a:r>
              <a:rPr lang="en-US" sz="1600" dirty="0"/>
              <a:t> </a:t>
            </a:r>
            <a:r>
              <a:rPr lang="id-ID" sz="1600" dirty="0"/>
              <a:t>nilai tukar</a:t>
            </a:r>
            <a:endParaRPr lang="en-US" sz="1600" dirty="0"/>
          </a:p>
        </p:txBody>
      </p:sp>
      <p:sp>
        <p:nvSpPr>
          <p:cNvPr id="6" name="TextBox 5"/>
          <p:cNvSpPr txBox="1"/>
          <p:nvPr/>
        </p:nvSpPr>
        <p:spPr>
          <a:xfrm>
            <a:off x="577851" y="3292477"/>
            <a:ext cx="7923213" cy="2563779"/>
          </a:xfrm>
          <a:prstGeom prst="rect">
            <a:avLst/>
          </a:prstGeom>
          <a:noFill/>
        </p:spPr>
        <p:txBody>
          <a:bodyPr>
            <a:spAutoFit/>
          </a:bodyPr>
          <a:lstStyle/>
          <a:p>
            <a:pPr>
              <a:lnSpc>
                <a:spcPct val="110000"/>
              </a:lnSpc>
              <a:defRPr/>
            </a:pPr>
            <a:r>
              <a:rPr lang="en-US" b="1" dirty="0" err="1"/>
              <a:t>Transmisi</a:t>
            </a:r>
            <a:r>
              <a:rPr lang="en-US" b="1" dirty="0"/>
              <a:t> </a:t>
            </a:r>
            <a:r>
              <a:rPr lang="en-US" b="1" dirty="0" err="1"/>
              <a:t>pada</a:t>
            </a:r>
            <a:r>
              <a:rPr lang="en-US" b="1" dirty="0"/>
              <a:t> </a:t>
            </a:r>
            <a:r>
              <a:rPr lang="en-US" b="1" dirty="0" err="1"/>
              <a:t>Sektor</a:t>
            </a:r>
            <a:r>
              <a:rPr lang="en-US" b="1" dirty="0"/>
              <a:t> </a:t>
            </a:r>
            <a:r>
              <a:rPr lang="en-US" b="1" dirty="0" err="1"/>
              <a:t>Riil</a:t>
            </a:r>
            <a:endParaRPr lang="id-ID" b="1" dirty="0"/>
          </a:p>
          <a:p>
            <a:pPr marL="285750" indent="-285750">
              <a:lnSpc>
                <a:spcPct val="110000"/>
              </a:lnSpc>
              <a:buFont typeface="Arial"/>
              <a:buChar char="•"/>
              <a:defRPr/>
            </a:pPr>
            <a:r>
              <a:rPr lang="en-US" sz="1600" dirty="0" err="1"/>
              <a:t>Lemahnya</a:t>
            </a:r>
            <a:r>
              <a:rPr lang="en-US" sz="1600" dirty="0"/>
              <a:t> demand global </a:t>
            </a:r>
            <a:r>
              <a:rPr lang="en-US" sz="1600" dirty="0" err="1"/>
              <a:t>menyebabkan</a:t>
            </a:r>
            <a:r>
              <a:rPr lang="en-US" sz="1600" dirty="0"/>
              <a:t> </a:t>
            </a:r>
            <a:r>
              <a:rPr lang="en-US" sz="1600" dirty="0" err="1"/>
              <a:t>penurunan</a:t>
            </a:r>
            <a:r>
              <a:rPr lang="en-US" sz="1600" dirty="0"/>
              <a:t> </a:t>
            </a:r>
            <a:r>
              <a:rPr lang="en-US" sz="1600" dirty="0" err="1"/>
              <a:t>kinerja</a:t>
            </a:r>
            <a:r>
              <a:rPr lang="en-US" sz="1600" dirty="0"/>
              <a:t> </a:t>
            </a:r>
            <a:r>
              <a:rPr lang="en-US" sz="1600" dirty="0" err="1"/>
              <a:t>ekspor</a:t>
            </a:r>
            <a:endParaRPr lang="en-US" sz="1600" dirty="0"/>
          </a:p>
          <a:p>
            <a:pPr marL="285750" indent="-285750">
              <a:lnSpc>
                <a:spcPct val="110000"/>
              </a:lnSpc>
              <a:buFont typeface="Arial"/>
              <a:buChar char="•"/>
              <a:defRPr/>
            </a:pPr>
            <a:r>
              <a:rPr lang="en-US" sz="1600" dirty="0" err="1"/>
              <a:t>Devaluasi</a:t>
            </a:r>
            <a:r>
              <a:rPr lang="en-US" sz="1600" dirty="0"/>
              <a:t> Yuan </a:t>
            </a:r>
            <a:r>
              <a:rPr lang="en-US" sz="1600" dirty="0" err="1"/>
              <a:t>membawa</a:t>
            </a:r>
            <a:r>
              <a:rPr lang="en-US" sz="1600" dirty="0"/>
              <a:t> </a:t>
            </a:r>
            <a:r>
              <a:rPr lang="en-US" sz="1600" dirty="0" err="1"/>
              <a:t>kompetisi</a:t>
            </a:r>
            <a:r>
              <a:rPr lang="en-US" sz="1600" dirty="0"/>
              <a:t> </a:t>
            </a:r>
            <a:r>
              <a:rPr lang="en-US" sz="1600" dirty="0" err="1"/>
              <a:t>perdagangan</a:t>
            </a:r>
            <a:r>
              <a:rPr lang="en-US" sz="1600" dirty="0"/>
              <a:t> </a:t>
            </a:r>
            <a:r>
              <a:rPr lang="en-US" sz="1600" dirty="0" err="1"/>
              <a:t>antar</a:t>
            </a:r>
            <a:r>
              <a:rPr lang="en-US" sz="1600" dirty="0"/>
              <a:t> </a:t>
            </a:r>
            <a:r>
              <a:rPr lang="en-US" sz="1600" dirty="0" err="1"/>
              <a:t>negara</a:t>
            </a:r>
            <a:r>
              <a:rPr lang="en-US" sz="1600" dirty="0"/>
              <a:t> yang </a:t>
            </a:r>
            <a:r>
              <a:rPr lang="en-US" sz="1600" dirty="0" err="1"/>
              <a:t>memiliki</a:t>
            </a:r>
            <a:r>
              <a:rPr lang="en-US" sz="1600" dirty="0"/>
              <a:t> </a:t>
            </a:r>
            <a:r>
              <a:rPr lang="en-US" sz="1600" dirty="0" err="1"/>
              <a:t>produk</a:t>
            </a:r>
            <a:r>
              <a:rPr lang="en-US" sz="1600" dirty="0"/>
              <a:t> </a:t>
            </a:r>
            <a:r>
              <a:rPr lang="en-US" sz="1600" dirty="0" err="1"/>
              <a:t>sejenis</a:t>
            </a:r>
            <a:r>
              <a:rPr lang="en-US" sz="1600" dirty="0"/>
              <a:t> </a:t>
            </a:r>
            <a:r>
              <a:rPr lang="en-US" sz="1600" dirty="0" err="1"/>
              <a:t>menjadi</a:t>
            </a:r>
            <a:r>
              <a:rPr lang="en-US" sz="1600" dirty="0"/>
              <a:t> </a:t>
            </a:r>
            <a:r>
              <a:rPr lang="en-US" sz="1600" dirty="0" err="1"/>
              <a:t>lebih</a:t>
            </a:r>
            <a:r>
              <a:rPr lang="en-US" sz="1600" dirty="0"/>
              <a:t> </a:t>
            </a:r>
            <a:r>
              <a:rPr lang="en-US" sz="1600" dirty="0" err="1"/>
              <a:t>ketat</a:t>
            </a:r>
            <a:r>
              <a:rPr lang="en-US" sz="1600" dirty="0"/>
              <a:t>, </a:t>
            </a:r>
            <a:r>
              <a:rPr lang="en-US" sz="1600" dirty="0" err="1"/>
              <a:t>dan</a:t>
            </a:r>
            <a:r>
              <a:rPr lang="en-US" sz="1600" dirty="0"/>
              <a:t> </a:t>
            </a:r>
            <a:r>
              <a:rPr lang="en-US" sz="1600" dirty="0" err="1"/>
              <a:t>juga</a:t>
            </a:r>
            <a:r>
              <a:rPr lang="en-US" sz="1600" dirty="0"/>
              <a:t> </a:t>
            </a:r>
            <a:r>
              <a:rPr lang="en-US" sz="1600" dirty="0" err="1"/>
              <a:t>lemahnya</a:t>
            </a:r>
            <a:r>
              <a:rPr lang="en-US" sz="1600" dirty="0"/>
              <a:t> </a:t>
            </a:r>
            <a:r>
              <a:rPr lang="en-US" sz="1600" dirty="0" err="1"/>
              <a:t>permintaan</a:t>
            </a:r>
            <a:r>
              <a:rPr lang="en-US" sz="1600" dirty="0"/>
              <a:t> </a:t>
            </a:r>
            <a:r>
              <a:rPr lang="en-US" sz="1600" dirty="0" err="1"/>
              <a:t>produk</a:t>
            </a:r>
            <a:r>
              <a:rPr lang="en-US" sz="1600" dirty="0"/>
              <a:t> Indonesia </a:t>
            </a:r>
            <a:r>
              <a:rPr lang="en-US" sz="1600" dirty="0" err="1"/>
              <a:t>dari</a:t>
            </a:r>
            <a:r>
              <a:rPr lang="en-US" sz="1600" dirty="0"/>
              <a:t> </a:t>
            </a:r>
            <a:r>
              <a:rPr lang="en-US" sz="1600" dirty="0" err="1"/>
              <a:t>Tiongkok</a:t>
            </a:r>
            <a:endParaRPr lang="en-US" sz="1600" dirty="0"/>
          </a:p>
          <a:p>
            <a:pPr marL="285750" indent="-285750">
              <a:lnSpc>
                <a:spcPct val="110000"/>
              </a:lnSpc>
              <a:buFont typeface="Arial"/>
              <a:buChar char="•"/>
              <a:defRPr/>
            </a:pPr>
            <a:r>
              <a:rPr lang="en-US" sz="1600" dirty="0" err="1"/>
              <a:t>Depresiasi</a:t>
            </a:r>
            <a:r>
              <a:rPr lang="en-US" sz="1600" dirty="0"/>
              <a:t> </a:t>
            </a:r>
            <a:r>
              <a:rPr lang="en-US" sz="1600" dirty="0" err="1"/>
              <a:t>mata</a:t>
            </a:r>
            <a:r>
              <a:rPr lang="en-US" sz="1600" dirty="0"/>
              <a:t> </a:t>
            </a:r>
            <a:r>
              <a:rPr lang="en-US" sz="1600" dirty="0" err="1"/>
              <a:t>uang</a:t>
            </a:r>
            <a:r>
              <a:rPr lang="en-US" sz="1600" dirty="0"/>
              <a:t> </a:t>
            </a:r>
            <a:r>
              <a:rPr lang="en-US" sz="1600" dirty="0" err="1"/>
              <a:t>menyebabkan</a:t>
            </a:r>
            <a:r>
              <a:rPr lang="en-US" sz="1600" dirty="0"/>
              <a:t> </a:t>
            </a:r>
            <a:r>
              <a:rPr lang="en-US" sz="1600" dirty="0" err="1"/>
              <a:t>tingginya</a:t>
            </a:r>
            <a:r>
              <a:rPr lang="en-US" sz="1600" dirty="0"/>
              <a:t> </a:t>
            </a:r>
            <a:r>
              <a:rPr lang="en-US" sz="1600" dirty="0" err="1"/>
              <a:t>biaya</a:t>
            </a:r>
            <a:r>
              <a:rPr lang="en-US" sz="1600" dirty="0"/>
              <a:t> </a:t>
            </a:r>
            <a:r>
              <a:rPr lang="en-US" sz="1600" dirty="0" err="1"/>
              <a:t>impor</a:t>
            </a:r>
            <a:r>
              <a:rPr lang="en-US" sz="1600" dirty="0"/>
              <a:t> </a:t>
            </a:r>
            <a:r>
              <a:rPr lang="en-US" sz="1600" dirty="0" err="1"/>
              <a:t>bahan</a:t>
            </a:r>
            <a:r>
              <a:rPr lang="en-US" sz="1600" dirty="0"/>
              <a:t> </a:t>
            </a:r>
            <a:r>
              <a:rPr lang="en-US" sz="1600" dirty="0" err="1"/>
              <a:t>baku</a:t>
            </a:r>
            <a:r>
              <a:rPr lang="en-US" sz="1600" dirty="0"/>
              <a:t> </a:t>
            </a:r>
            <a:r>
              <a:rPr lang="en-US" sz="1600" dirty="0" err="1"/>
              <a:t>dan</a:t>
            </a:r>
            <a:r>
              <a:rPr lang="en-US" sz="1600" dirty="0"/>
              <a:t> </a:t>
            </a:r>
            <a:r>
              <a:rPr lang="en-US" sz="1600" dirty="0" err="1"/>
              <a:t>barang</a:t>
            </a:r>
            <a:r>
              <a:rPr lang="en-US" sz="1600" dirty="0"/>
              <a:t> modal </a:t>
            </a:r>
            <a:r>
              <a:rPr lang="en-US" sz="1600" dirty="0" err="1"/>
              <a:t>sehingga</a:t>
            </a:r>
            <a:r>
              <a:rPr lang="en-US" sz="1600" dirty="0"/>
              <a:t> </a:t>
            </a:r>
            <a:r>
              <a:rPr lang="en-US" sz="1600" dirty="0" err="1"/>
              <a:t>turut</a:t>
            </a:r>
            <a:r>
              <a:rPr lang="en-US" sz="1600" dirty="0"/>
              <a:t> </a:t>
            </a:r>
            <a:r>
              <a:rPr lang="en-US" sz="1600" dirty="0" err="1"/>
              <a:t>memberikan</a:t>
            </a:r>
            <a:r>
              <a:rPr lang="en-US" sz="1600" dirty="0"/>
              <a:t> </a:t>
            </a:r>
            <a:r>
              <a:rPr lang="en-US" sz="1600" dirty="0" err="1"/>
              <a:t>tekanan</a:t>
            </a:r>
            <a:r>
              <a:rPr lang="en-US" sz="1600" dirty="0"/>
              <a:t> </a:t>
            </a:r>
            <a:r>
              <a:rPr lang="en-US" sz="1600" dirty="0" err="1"/>
              <a:t>pada</a:t>
            </a:r>
            <a:r>
              <a:rPr lang="en-US" sz="1600" dirty="0"/>
              <a:t> </a:t>
            </a:r>
            <a:r>
              <a:rPr lang="en-US" sz="1600" dirty="0" err="1"/>
              <a:t>biaya</a:t>
            </a:r>
            <a:r>
              <a:rPr lang="en-US" sz="1600" dirty="0"/>
              <a:t> </a:t>
            </a:r>
            <a:r>
              <a:rPr lang="en-US" sz="1600" dirty="0" err="1"/>
              <a:t>produksi</a:t>
            </a:r>
            <a:endParaRPr lang="en-US" sz="1600" dirty="0"/>
          </a:p>
          <a:p>
            <a:pPr marL="285750" indent="-285750">
              <a:lnSpc>
                <a:spcPct val="110000"/>
              </a:lnSpc>
              <a:buFont typeface="Arial"/>
              <a:buChar char="•"/>
              <a:defRPr/>
            </a:pPr>
            <a:r>
              <a:rPr lang="en-US" sz="1600" dirty="0" err="1"/>
              <a:t>Tekanan</a:t>
            </a:r>
            <a:r>
              <a:rPr lang="en-US" sz="1600" dirty="0"/>
              <a:t> </a:t>
            </a:r>
            <a:r>
              <a:rPr lang="en-US" sz="1600" dirty="0" err="1"/>
              <a:t>likuiditas</a:t>
            </a:r>
            <a:r>
              <a:rPr lang="en-US" sz="1600" dirty="0"/>
              <a:t> </a:t>
            </a:r>
            <a:r>
              <a:rPr lang="en-US" sz="1600" dirty="0" err="1"/>
              <a:t>dan</a:t>
            </a:r>
            <a:r>
              <a:rPr lang="en-US" sz="1600" dirty="0"/>
              <a:t> </a:t>
            </a:r>
            <a:r>
              <a:rPr lang="en-US" sz="1600" dirty="0" err="1"/>
              <a:t>tingkat</a:t>
            </a:r>
            <a:r>
              <a:rPr lang="en-US" sz="1600" dirty="0"/>
              <a:t> </a:t>
            </a:r>
            <a:r>
              <a:rPr lang="en-US" sz="1600" dirty="0" err="1"/>
              <a:t>suku</a:t>
            </a:r>
            <a:r>
              <a:rPr lang="en-US" sz="1600" dirty="0"/>
              <a:t> </a:t>
            </a:r>
            <a:r>
              <a:rPr lang="en-US" sz="1600" dirty="0" err="1"/>
              <a:t>bunga</a:t>
            </a:r>
            <a:r>
              <a:rPr lang="en-US" sz="1600" dirty="0"/>
              <a:t> </a:t>
            </a:r>
            <a:r>
              <a:rPr lang="en-US" sz="1600" dirty="0" err="1"/>
              <a:t>domestik</a:t>
            </a:r>
            <a:r>
              <a:rPr lang="en-US" sz="1600" dirty="0"/>
              <a:t> </a:t>
            </a:r>
            <a:r>
              <a:rPr lang="en-US" sz="1600" dirty="0" err="1"/>
              <a:t>menghambat</a:t>
            </a:r>
            <a:r>
              <a:rPr lang="en-US" sz="1600" dirty="0"/>
              <a:t> </a:t>
            </a:r>
            <a:r>
              <a:rPr lang="en-US" sz="1600" dirty="0" err="1"/>
              <a:t>kinerja</a:t>
            </a:r>
            <a:r>
              <a:rPr lang="en-US" sz="1600" dirty="0"/>
              <a:t> </a:t>
            </a:r>
            <a:r>
              <a:rPr lang="en-US" sz="1600" dirty="0" err="1"/>
              <a:t>investasi</a:t>
            </a:r>
            <a:endParaRPr lang="en-US" sz="1600" dirty="0"/>
          </a:p>
          <a:p>
            <a:pPr marL="285750" indent="-285750">
              <a:lnSpc>
                <a:spcPct val="110000"/>
              </a:lnSpc>
              <a:buFont typeface="Arial"/>
              <a:buChar char="•"/>
              <a:defRPr/>
            </a:pPr>
            <a:endParaRPr lang="en-US" sz="1600" dirty="0"/>
          </a:p>
        </p:txBody>
      </p:sp>
      <p:sp>
        <p:nvSpPr>
          <p:cNvPr id="10" name="Oval 9"/>
          <p:cNvSpPr/>
          <p:nvPr/>
        </p:nvSpPr>
        <p:spPr>
          <a:xfrm>
            <a:off x="98426" y="1123950"/>
            <a:ext cx="471488" cy="471488"/>
          </a:xfrm>
          <a:prstGeom prst="ellipse">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defRPr/>
            </a:pPr>
            <a:r>
              <a:rPr lang="en-US" sz="2400" b="1" dirty="0"/>
              <a:t>1</a:t>
            </a:r>
          </a:p>
        </p:txBody>
      </p:sp>
      <p:sp>
        <p:nvSpPr>
          <p:cNvPr id="11" name="Oval 10"/>
          <p:cNvSpPr/>
          <p:nvPr/>
        </p:nvSpPr>
        <p:spPr>
          <a:xfrm>
            <a:off x="90488" y="3316290"/>
            <a:ext cx="473075" cy="473075"/>
          </a:xfrm>
          <a:prstGeom prst="ellipse">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anchor="ctr"/>
          <a:lstStyle/>
          <a:p>
            <a:pPr>
              <a:defRPr/>
            </a:pPr>
            <a:r>
              <a:rPr lang="en-US" sz="2400" b="1" dirty="0"/>
              <a:t>2</a:t>
            </a:r>
          </a:p>
        </p:txBody>
      </p:sp>
      <p:sp>
        <p:nvSpPr>
          <p:cNvPr id="13" name="Title 2"/>
          <p:cNvSpPr txBox="1">
            <a:spLocks/>
          </p:cNvSpPr>
          <p:nvPr/>
        </p:nvSpPr>
        <p:spPr bwMode="auto">
          <a:xfrm>
            <a:off x="2832" y="1"/>
            <a:ext cx="8235950" cy="752475"/>
          </a:xfrm>
          <a:prstGeom prst="rect">
            <a:avLst/>
          </a:prstGeom>
          <a:noFill/>
          <a:ln>
            <a:noFill/>
          </a:ln>
          <a:effectLst/>
          <a:extLst/>
        </p:spPr>
        <p:style>
          <a:lnRef idx="1">
            <a:schemeClr val="accent2"/>
          </a:lnRef>
          <a:fillRef idx="3">
            <a:schemeClr val="accent2"/>
          </a:fillRef>
          <a:effectRef idx="2">
            <a:schemeClr val="accent2"/>
          </a:effectRef>
          <a:fontRef idx="minor">
            <a:schemeClr val="lt1"/>
          </a:fontRef>
        </p:style>
        <p:txBody>
          <a:bodyPr anchor="ctr"/>
          <a:lstStyle>
            <a:lvl1pPr defTabSz="457200">
              <a:defRPr>
                <a:solidFill>
                  <a:schemeClr val="tx1"/>
                </a:solidFill>
                <a:latin typeface="Calibri" charset="0"/>
                <a:ea typeface="ＭＳ Ｐゴシック" charset="0"/>
                <a:cs typeface="ＭＳ Ｐゴシック" charset="0"/>
              </a:defRPr>
            </a:lvl1pPr>
            <a:lvl2pPr marL="742950" indent="-285750" defTabSz="457200">
              <a:defRPr>
                <a:solidFill>
                  <a:schemeClr val="tx1"/>
                </a:solidFill>
                <a:latin typeface="Calibri" charset="0"/>
                <a:ea typeface="ＭＳ Ｐゴシック" charset="0"/>
              </a:defRPr>
            </a:lvl2pPr>
            <a:lvl3pPr marL="1143000" indent="-228600" defTabSz="457200">
              <a:defRPr>
                <a:solidFill>
                  <a:schemeClr val="tx1"/>
                </a:solidFill>
                <a:latin typeface="Calibri" charset="0"/>
                <a:ea typeface="ＭＳ Ｐゴシック" charset="0"/>
              </a:defRPr>
            </a:lvl3pPr>
            <a:lvl4pPr marL="1600200" indent="-228600" defTabSz="457200">
              <a:defRPr>
                <a:solidFill>
                  <a:schemeClr val="tx1"/>
                </a:solidFill>
                <a:latin typeface="Calibri" charset="0"/>
                <a:ea typeface="ＭＳ Ｐゴシック" charset="0"/>
              </a:defRPr>
            </a:lvl4pPr>
            <a:lvl5pPr marL="2057400" indent="-228600" defTabSz="457200">
              <a:defRPr>
                <a:solidFill>
                  <a:schemeClr val="tx1"/>
                </a:solidFill>
                <a:latin typeface="Calibri" charset="0"/>
                <a:ea typeface="ＭＳ Ｐゴシック" charset="0"/>
              </a:defRPr>
            </a:lvl5pPr>
            <a:lvl6pPr marL="2514600" indent="-228600" eaLnBrk="0" fontAlgn="base" hangingPunct="0">
              <a:spcBef>
                <a:spcPct val="0"/>
              </a:spcBef>
              <a:spcAft>
                <a:spcPct val="0"/>
              </a:spcAft>
              <a:defRPr>
                <a:solidFill>
                  <a:schemeClr val="tx1"/>
                </a:solidFill>
                <a:latin typeface="Calibri" charset="0"/>
                <a:ea typeface="ＭＳ Ｐゴシック" charset="0"/>
              </a:defRPr>
            </a:lvl6pPr>
            <a:lvl7pPr marL="2971800" indent="-228600" eaLnBrk="0" fontAlgn="base" hangingPunct="0">
              <a:spcBef>
                <a:spcPct val="0"/>
              </a:spcBef>
              <a:spcAft>
                <a:spcPct val="0"/>
              </a:spcAft>
              <a:defRPr>
                <a:solidFill>
                  <a:schemeClr val="tx1"/>
                </a:solidFill>
                <a:latin typeface="Calibri" charset="0"/>
                <a:ea typeface="ＭＳ Ｐゴシック" charset="0"/>
              </a:defRPr>
            </a:lvl7pPr>
            <a:lvl8pPr marL="3429000" indent="-228600" eaLnBrk="0" fontAlgn="base" hangingPunct="0">
              <a:spcBef>
                <a:spcPct val="0"/>
              </a:spcBef>
              <a:spcAft>
                <a:spcPct val="0"/>
              </a:spcAft>
              <a:defRPr>
                <a:solidFill>
                  <a:schemeClr val="tx1"/>
                </a:solidFill>
                <a:latin typeface="Calibri" charset="0"/>
                <a:ea typeface="ＭＳ Ｐゴシック" charset="0"/>
              </a:defRPr>
            </a:lvl8pPr>
            <a:lvl9pPr marL="3886200" indent="-228600" eaLnBrk="0" fontAlgn="base" hangingPunct="0">
              <a:spcBef>
                <a:spcPct val="0"/>
              </a:spcBef>
              <a:spcAft>
                <a:spcPct val="0"/>
              </a:spcAft>
              <a:defRPr>
                <a:solidFill>
                  <a:schemeClr val="tx1"/>
                </a:solidFill>
                <a:latin typeface="Calibri" charset="0"/>
                <a:ea typeface="ＭＳ Ｐゴシック" charset="0"/>
              </a:defRPr>
            </a:lvl9pPr>
          </a:lstStyle>
          <a:p>
            <a:pPr>
              <a:defRPr/>
            </a:pPr>
            <a:r>
              <a:rPr lang="en-US" sz="2000" b="1" dirty="0" err="1" smtClean="0">
                <a:solidFill>
                  <a:srgbClr val="1F497D"/>
                </a:solidFill>
                <a:latin typeface="Calibri"/>
                <a:cs typeface="Calibri"/>
              </a:rPr>
              <a:t>Gejolak</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ekonomi</a:t>
            </a:r>
            <a:r>
              <a:rPr lang="en-US" sz="2000" b="1" dirty="0" smtClean="0">
                <a:solidFill>
                  <a:srgbClr val="1F497D"/>
                </a:solidFill>
                <a:latin typeface="Calibri"/>
                <a:cs typeface="Calibri"/>
              </a:rPr>
              <a:t> global </a:t>
            </a:r>
            <a:r>
              <a:rPr lang="en-US" sz="2000" b="1" dirty="0" err="1" smtClean="0">
                <a:solidFill>
                  <a:srgbClr val="1F497D"/>
                </a:solidFill>
                <a:latin typeface="Calibri"/>
                <a:cs typeface="Calibri"/>
              </a:rPr>
              <a:t>berperan</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penting</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pada</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perkembangan</a:t>
            </a:r>
            <a:r>
              <a:rPr lang="en-US" sz="2000" b="1" dirty="0" smtClean="0">
                <a:solidFill>
                  <a:srgbClr val="1F497D"/>
                </a:solidFill>
                <a:latin typeface="Calibri"/>
                <a:cs typeface="Calibri"/>
              </a:rPr>
              <a:t> </a:t>
            </a:r>
            <a:r>
              <a:rPr lang="en-US" sz="2000" b="1" dirty="0" err="1" smtClean="0">
                <a:solidFill>
                  <a:srgbClr val="1F497D"/>
                </a:solidFill>
                <a:latin typeface="Calibri"/>
                <a:cs typeface="Calibri"/>
              </a:rPr>
              <a:t>ekonomi</a:t>
            </a:r>
            <a:endParaRPr lang="en-US" sz="2000" b="1" dirty="0" smtClean="0">
              <a:solidFill>
                <a:srgbClr val="1F497D"/>
              </a:solidFill>
              <a:latin typeface="Calibri"/>
              <a:cs typeface="Calibri"/>
            </a:endParaRPr>
          </a:p>
          <a:p>
            <a:pPr>
              <a:defRPr/>
            </a:pPr>
            <a:r>
              <a:rPr lang="en-US" sz="1400" i="1" dirty="0" smtClean="0">
                <a:solidFill>
                  <a:srgbClr val="1F497D"/>
                </a:solidFill>
                <a:latin typeface="Calibri"/>
                <a:cs typeface="Calibri"/>
              </a:rPr>
              <a:t>…</a:t>
            </a:r>
            <a:r>
              <a:rPr lang="en-US" sz="1400" i="1" dirty="0" err="1" smtClean="0">
                <a:solidFill>
                  <a:srgbClr val="1F497D"/>
                </a:solidFill>
                <a:latin typeface="Calibri"/>
                <a:cs typeface="Calibri"/>
              </a:rPr>
              <a:t>tra</a:t>
            </a:r>
            <a:r>
              <a:rPr lang="ro-RO" sz="1400" i="1" dirty="0" smtClean="0">
                <a:solidFill>
                  <a:srgbClr val="1F497D"/>
                </a:solidFill>
                <a:latin typeface="Calibri"/>
                <a:cs typeface="Calibri"/>
              </a:rPr>
              <a:t>nsmisi </a:t>
            </a:r>
            <a:r>
              <a:rPr lang="ro-RO" sz="1400" i="1" dirty="0">
                <a:solidFill>
                  <a:srgbClr val="1F497D"/>
                </a:solidFill>
                <a:latin typeface="Calibri"/>
                <a:cs typeface="Calibri"/>
              </a:rPr>
              <a:t>pengaruh ekonomi global dapat melalui beberapa jalur</a:t>
            </a:r>
            <a:endParaRPr lang="en-US" sz="1400" i="1" dirty="0">
              <a:solidFill>
                <a:srgbClr val="1F497D"/>
              </a:solidFill>
              <a:latin typeface="Calibri"/>
              <a:cs typeface="Calibri"/>
            </a:endParaRPr>
          </a:p>
        </p:txBody>
      </p:sp>
      <p:sp>
        <p:nvSpPr>
          <p:cNvPr id="8" name="Slide Number Placeholder 39"/>
          <p:cNvSpPr>
            <a:spLocks noGrp="1"/>
          </p:cNvSpPr>
          <p:nvPr>
            <p:ph type="sldNum" sz="quarter" idx="12"/>
          </p:nvPr>
        </p:nvSpPr>
        <p:spPr bwMode="auto">
          <a:xfrm>
            <a:off x="0" y="6494738"/>
            <a:ext cx="676663" cy="363262"/>
          </a:xfrm>
          <a:prstGeom prst="rect">
            <a:avLst/>
          </a:prstGeom>
          <a:noFill/>
          <a:ln>
            <a:miter lim="800000"/>
            <a:headEnd/>
            <a:tailEnd/>
          </a:ln>
        </p:spPr>
        <p:txBody>
          <a:bodyPr/>
          <a:lstStyle/>
          <a:p>
            <a:fld id="{F545350E-8B61-477C-BE9B-51F0DFF8B39B}" type="slidenum">
              <a:rPr lang="en-US" b="1">
                <a:solidFill>
                  <a:schemeClr val="bg1"/>
                </a:solidFill>
              </a:rPr>
              <a:pPr/>
              <a:t>7</a:t>
            </a:fld>
            <a:endParaRPr lang="en-US" b="1" dirty="0">
              <a:solidFill>
                <a:schemeClr val="bg1"/>
              </a:solidFill>
            </a:endParaRPr>
          </a:p>
        </p:txBody>
      </p:sp>
    </p:spTree>
    <p:extLst>
      <p:ext uri="{BB962C8B-B14F-4D97-AF65-F5344CB8AC3E}">
        <p14:creationId xmlns:p14="http://schemas.microsoft.com/office/powerpoint/2010/main" val="21560265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3"/>
          <p:cNvGrpSpPr/>
          <p:nvPr/>
        </p:nvGrpSpPr>
        <p:grpSpPr>
          <a:xfrm>
            <a:off x="0" y="0"/>
            <a:ext cx="8656320" cy="548640"/>
            <a:chOff x="0" y="0"/>
            <a:chExt cx="8656320" cy="548640"/>
          </a:xfrm>
        </p:grpSpPr>
        <p:sp>
          <p:nvSpPr>
            <p:cNvPr id="15" name="Rectangle 14"/>
            <p:cNvSpPr/>
            <p:nvPr/>
          </p:nvSpPr>
          <p:spPr>
            <a:xfrm>
              <a:off x="0" y="0"/>
              <a:ext cx="8610600" cy="5486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sp>
          <p:nvSpPr>
            <p:cNvPr id="16" name="Rectangle 15"/>
            <p:cNvSpPr/>
            <p:nvPr/>
          </p:nvSpPr>
          <p:spPr>
            <a:xfrm>
              <a:off x="8610600" y="0"/>
              <a:ext cx="45720" cy="5486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id-ID">
                <a:solidFill>
                  <a:prstClr val="white"/>
                </a:solidFill>
              </a:endParaRPr>
            </a:p>
          </p:txBody>
        </p:sp>
      </p:grpSp>
      <p:sp>
        <p:nvSpPr>
          <p:cNvPr id="2" name="Title 1"/>
          <p:cNvSpPr>
            <a:spLocks noGrp="1"/>
          </p:cNvSpPr>
          <p:nvPr>
            <p:ph type="title"/>
          </p:nvPr>
        </p:nvSpPr>
        <p:spPr/>
        <p:txBody>
          <a:bodyPr/>
          <a:lstStyle/>
          <a:p>
            <a:r>
              <a:rPr lang="en-US" dirty="0" err="1" smtClean="0"/>
              <a:t>Pasar</a:t>
            </a:r>
            <a:r>
              <a:rPr lang="en-US" dirty="0" smtClean="0"/>
              <a:t> </a:t>
            </a:r>
            <a:r>
              <a:rPr lang="en-US" dirty="0" err="1" smtClean="0"/>
              <a:t>Keuangan</a:t>
            </a:r>
            <a:r>
              <a:rPr lang="en-US" dirty="0" smtClean="0"/>
              <a:t> Global</a:t>
            </a:r>
            <a:endParaRPr lang="en-US" dirty="0"/>
          </a:p>
        </p:txBody>
      </p:sp>
      <p:sp>
        <p:nvSpPr>
          <p:cNvPr id="22" name="TextBox 21"/>
          <p:cNvSpPr txBox="1"/>
          <p:nvPr/>
        </p:nvSpPr>
        <p:spPr>
          <a:xfrm>
            <a:off x="0" y="1396186"/>
            <a:ext cx="8894165" cy="1277273"/>
          </a:xfrm>
          <a:prstGeom prst="rect">
            <a:avLst/>
          </a:prstGeom>
          <a:noFill/>
        </p:spPr>
        <p:txBody>
          <a:bodyPr wrap="square" rtlCol="0">
            <a:spAutoFit/>
          </a:bodyPr>
          <a:lstStyle/>
          <a:p>
            <a:pPr marL="285750" indent="-285750" algn="just">
              <a:spcBef>
                <a:spcPts val="600"/>
              </a:spcBef>
              <a:buFont typeface="Wingdings" panose="05000000000000000000" pitchFamily="2" charset="2"/>
              <a:buChar char="§"/>
            </a:pPr>
            <a:r>
              <a:rPr lang="en-US" dirty="0" err="1" smtClean="0">
                <a:solidFill>
                  <a:prstClr val="black"/>
                </a:solidFill>
                <a:latin typeface="Calibri"/>
              </a:rPr>
              <a:t>Berdasarkan</a:t>
            </a:r>
            <a:r>
              <a:rPr lang="en-US" dirty="0" smtClean="0">
                <a:solidFill>
                  <a:prstClr val="black"/>
                </a:solidFill>
                <a:latin typeface="Calibri"/>
              </a:rPr>
              <a:t> </a:t>
            </a:r>
            <a:r>
              <a:rPr lang="en-US" dirty="0">
                <a:solidFill>
                  <a:prstClr val="black"/>
                </a:solidFill>
                <a:latin typeface="Calibri"/>
              </a:rPr>
              <a:t>implied probability FFR </a:t>
            </a:r>
            <a:r>
              <a:rPr lang="en-US" dirty="0" err="1">
                <a:solidFill>
                  <a:prstClr val="black"/>
                </a:solidFill>
                <a:latin typeface="Calibri"/>
              </a:rPr>
              <a:t>terkini</a:t>
            </a:r>
            <a:r>
              <a:rPr lang="en-US" dirty="0">
                <a:solidFill>
                  <a:prstClr val="black"/>
                </a:solidFill>
                <a:latin typeface="Calibri"/>
              </a:rPr>
              <a:t>, </a:t>
            </a:r>
            <a:r>
              <a:rPr lang="en-US" dirty="0" err="1">
                <a:solidFill>
                  <a:prstClr val="black"/>
                </a:solidFill>
                <a:latin typeface="Calibri"/>
              </a:rPr>
              <a:t>kemungkinan</a:t>
            </a:r>
            <a:r>
              <a:rPr lang="en-US" dirty="0">
                <a:solidFill>
                  <a:prstClr val="black"/>
                </a:solidFill>
                <a:latin typeface="Calibri"/>
              </a:rPr>
              <a:t> </a:t>
            </a:r>
            <a:r>
              <a:rPr lang="en-US" dirty="0" err="1">
                <a:solidFill>
                  <a:prstClr val="black"/>
                </a:solidFill>
                <a:latin typeface="Calibri"/>
              </a:rPr>
              <a:t>terbesar</a:t>
            </a:r>
            <a:r>
              <a:rPr lang="en-US" dirty="0">
                <a:solidFill>
                  <a:prstClr val="black"/>
                </a:solidFill>
                <a:latin typeface="Calibri"/>
              </a:rPr>
              <a:t> </a:t>
            </a:r>
            <a:r>
              <a:rPr lang="en-US" dirty="0" err="1">
                <a:solidFill>
                  <a:prstClr val="black"/>
                </a:solidFill>
                <a:latin typeface="Calibri"/>
              </a:rPr>
              <a:t>kenaikan</a:t>
            </a:r>
            <a:r>
              <a:rPr lang="en-US" dirty="0">
                <a:solidFill>
                  <a:prstClr val="black"/>
                </a:solidFill>
                <a:latin typeface="Calibri"/>
              </a:rPr>
              <a:t> FFR </a:t>
            </a:r>
            <a:r>
              <a:rPr lang="en-US" dirty="0" err="1">
                <a:solidFill>
                  <a:prstClr val="black"/>
                </a:solidFill>
                <a:latin typeface="Calibri"/>
              </a:rPr>
              <a:t>akan</a:t>
            </a:r>
            <a:r>
              <a:rPr lang="en-US" dirty="0">
                <a:solidFill>
                  <a:prstClr val="black"/>
                </a:solidFill>
                <a:latin typeface="Calibri"/>
              </a:rPr>
              <a:t> </a:t>
            </a:r>
            <a:r>
              <a:rPr lang="en-US" dirty="0" err="1">
                <a:solidFill>
                  <a:prstClr val="black"/>
                </a:solidFill>
                <a:latin typeface="Calibri"/>
              </a:rPr>
              <a:t>terjadi</a:t>
            </a:r>
            <a:r>
              <a:rPr lang="en-US" dirty="0">
                <a:solidFill>
                  <a:prstClr val="black"/>
                </a:solidFill>
                <a:latin typeface="Calibri"/>
              </a:rPr>
              <a:t> </a:t>
            </a:r>
            <a:r>
              <a:rPr lang="en-US" dirty="0" err="1">
                <a:solidFill>
                  <a:prstClr val="black"/>
                </a:solidFill>
                <a:latin typeface="Calibri"/>
              </a:rPr>
              <a:t>pada</a:t>
            </a:r>
            <a:r>
              <a:rPr lang="en-US" dirty="0">
                <a:solidFill>
                  <a:prstClr val="black"/>
                </a:solidFill>
                <a:latin typeface="Calibri"/>
              </a:rPr>
              <a:t> </a:t>
            </a:r>
            <a:r>
              <a:rPr lang="id-ID" dirty="0" smtClean="0">
                <a:solidFill>
                  <a:prstClr val="black"/>
                </a:solidFill>
                <a:latin typeface="Calibri"/>
              </a:rPr>
              <a:t>Maret </a:t>
            </a:r>
            <a:r>
              <a:rPr lang="en-US" dirty="0" smtClean="0">
                <a:solidFill>
                  <a:prstClr val="black"/>
                </a:solidFill>
                <a:latin typeface="Calibri"/>
              </a:rPr>
              <a:t>2016.</a:t>
            </a:r>
          </a:p>
          <a:p>
            <a:pPr marL="285750" indent="-285750" algn="just">
              <a:spcBef>
                <a:spcPts val="600"/>
              </a:spcBef>
              <a:buFont typeface="Wingdings" panose="05000000000000000000" pitchFamily="2" charset="2"/>
              <a:buChar char="§"/>
            </a:pPr>
            <a:r>
              <a:rPr lang="en-US" dirty="0" smtClean="0">
                <a:solidFill>
                  <a:prstClr val="black"/>
                </a:solidFill>
                <a:latin typeface="Calibri"/>
              </a:rPr>
              <a:t>M</a:t>
            </a:r>
            <a:r>
              <a:rPr lang="id-ID" dirty="0" smtClean="0">
                <a:solidFill>
                  <a:prstClr val="black"/>
                </a:solidFill>
                <a:latin typeface="Calibri"/>
              </a:rPr>
              <a:t>eningkatnya </a:t>
            </a:r>
            <a:r>
              <a:rPr lang="id-ID" dirty="0">
                <a:solidFill>
                  <a:prstClr val="black"/>
                </a:solidFill>
                <a:latin typeface="Calibri"/>
              </a:rPr>
              <a:t>ketidakpastian di pasar global juga didorong oleh kebijakan devaluasi yuan dan penerapan sistem nilai tukar yang lebih fleksibel oleh Bank Sentral Tiongkok. </a:t>
            </a:r>
          </a:p>
        </p:txBody>
      </p:sp>
      <p:sp>
        <p:nvSpPr>
          <p:cNvPr id="25" name="Rectangle 12"/>
          <p:cNvSpPr>
            <a:spLocks noChangeArrowheads="1"/>
          </p:cNvSpPr>
          <p:nvPr/>
        </p:nvSpPr>
        <p:spPr bwMode="auto">
          <a:xfrm>
            <a:off x="0" y="533400"/>
            <a:ext cx="9144000" cy="677108"/>
          </a:xfrm>
          <a:prstGeom prst="rect">
            <a:avLst/>
          </a:prstGeom>
          <a:noFill/>
          <a:ln w="9525">
            <a:noFill/>
            <a:miter lim="800000"/>
            <a:headEnd/>
            <a:tailEnd/>
          </a:ln>
        </p:spPr>
        <p:txBody>
          <a:bodyPr wrap="square">
            <a:spAutoFit/>
          </a:bodyPr>
          <a:lstStyle/>
          <a:p>
            <a:pPr fontAlgn="auto">
              <a:lnSpc>
                <a:spcPct val="95000"/>
              </a:lnSpc>
              <a:spcBef>
                <a:spcPts val="0"/>
              </a:spcBef>
              <a:spcAft>
                <a:spcPts val="300"/>
              </a:spcAft>
            </a:pPr>
            <a:r>
              <a:rPr lang="en-US" sz="2000" b="1" i="1" dirty="0" err="1" smtClean="0">
                <a:solidFill>
                  <a:srgbClr val="C00000"/>
                </a:solidFill>
                <a:latin typeface="Calibri"/>
              </a:rPr>
              <a:t>Risiko</a:t>
            </a:r>
            <a:r>
              <a:rPr lang="en-US" sz="2000" b="1" i="1" dirty="0" smtClean="0">
                <a:solidFill>
                  <a:srgbClr val="C00000"/>
                </a:solidFill>
                <a:latin typeface="Calibri"/>
              </a:rPr>
              <a:t> </a:t>
            </a:r>
            <a:r>
              <a:rPr lang="en-US" sz="2000" b="1" i="1" dirty="0">
                <a:solidFill>
                  <a:srgbClr val="C00000"/>
                </a:solidFill>
                <a:latin typeface="Calibri"/>
              </a:rPr>
              <a:t>di  </a:t>
            </a:r>
            <a:r>
              <a:rPr lang="en-US" sz="2000" b="1" i="1" dirty="0" err="1">
                <a:solidFill>
                  <a:srgbClr val="C00000"/>
                </a:solidFill>
                <a:latin typeface="Calibri"/>
              </a:rPr>
              <a:t>pasar</a:t>
            </a:r>
            <a:r>
              <a:rPr lang="en-US" sz="2000" b="1" i="1" dirty="0">
                <a:solidFill>
                  <a:srgbClr val="C00000"/>
                </a:solidFill>
                <a:latin typeface="Calibri"/>
              </a:rPr>
              <a:t> </a:t>
            </a:r>
            <a:r>
              <a:rPr lang="en-US" sz="2000" b="1" i="1" dirty="0" err="1">
                <a:solidFill>
                  <a:srgbClr val="C00000"/>
                </a:solidFill>
                <a:latin typeface="Calibri"/>
              </a:rPr>
              <a:t>keuangan</a:t>
            </a:r>
            <a:r>
              <a:rPr lang="en-US" sz="2000" b="1" i="1" dirty="0">
                <a:solidFill>
                  <a:srgbClr val="C00000"/>
                </a:solidFill>
                <a:latin typeface="Calibri"/>
              </a:rPr>
              <a:t> global </a:t>
            </a:r>
            <a:r>
              <a:rPr lang="en-US" sz="2000" b="1" i="1" dirty="0" err="1">
                <a:solidFill>
                  <a:srgbClr val="C00000"/>
                </a:solidFill>
                <a:latin typeface="Calibri"/>
              </a:rPr>
              <a:t>masih</a:t>
            </a:r>
            <a:r>
              <a:rPr lang="en-US" sz="2000" b="1" i="1" dirty="0">
                <a:solidFill>
                  <a:srgbClr val="C00000"/>
                </a:solidFill>
                <a:latin typeface="Calibri"/>
              </a:rPr>
              <a:t> </a:t>
            </a:r>
            <a:r>
              <a:rPr lang="en-US" sz="2000" b="1" i="1" dirty="0" err="1" smtClean="0">
                <a:solidFill>
                  <a:srgbClr val="C00000"/>
                </a:solidFill>
                <a:latin typeface="Calibri"/>
              </a:rPr>
              <a:t>meningkat</a:t>
            </a:r>
            <a:r>
              <a:rPr lang="en-US" sz="2000" b="1" i="1" dirty="0" smtClean="0">
                <a:solidFill>
                  <a:srgbClr val="C00000"/>
                </a:solidFill>
                <a:latin typeface="Calibri"/>
              </a:rPr>
              <a:t>, yang </a:t>
            </a:r>
            <a:r>
              <a:rPr lang="en-US" sz="2000" b="1" i="1" dirty="0" err="1" smtClean="0">
                <a:solidFill>
                  <a:srgbClr val="C00000"/>
                </a:solidFill>
                <a:latin typeface="Calibri"/>
              </a:rPr>
              <a:t>disebabkan</a:t>
            </a:r>
            <a:r>
              <a:rPr lang="en-US" sz="2000" b="1" i="1" dirty="0" smtClean="0">
                <a:solidFill>
                  <a:srgbClr val="C00000"/>
                </a:solidFill>
                <a:latin typeface="Calibri"/>
              </a:rPr>
              <a:t> </a:t>
            </a:r>
            <a:r>
              <a:rPr lang="en-US" sz="2000" b="1" i="1" dirty="0" err="1" smtClean="0">
                <a:solidFill>
                  <a:srgbClr val="C00000"/>
                </a:solidFill>
                <a:latin typeface="Calibri"/>
              </a:rPr>
              <a:t>ketidakpastian</a:t>
            </a:r>
            <a:r>
              <a:rPr lang="en-US" sz="2000" b="1" i="1" dirty="0" smtClean="0">
                <a:solidFill>
                  <a:srgbClr val="C00000"/>
                </a:solidFill>
                <a:latin typeface="Calibri"/>
              </a:rPr>
              <a:t> </a:t>
            </a:r>
            <a:r>
              <a:rPr lang="en-US" sz="2000" b="1" i="1" dirty="0" err="1">
                <a:solidFill>
                  <a:srgbClr val="C00000"/>
                </a:solidFill>
                <a:latin typeface="Calibri"/>
              </a:rPr>
              <a:t>kenaikan</a:t>
            </a:r>
            <a:r>
              <a:rPr lang="en-US" sz="2000" b="1" i="1" dirty="0">
                <a:solidFill>
                  <a:srgbClr val="C00000"/>
                </a:solidFill>
                <a:latin typeface="Calibri"/>
              </a:rPr>
              <a:t> </a:t>
            </a:r>
            <a:r>
              <a:rPr lang="en-US" sz="2000" b="1" i="1" dirty="0" err="1">
                <a:solidFill>
                  <a:srgbClr val="C00000"/>
                </a:solidFill>
                <a:latin typeface="Calibri"/>
              </a:rPr>
              <a:t>suku</a:t>
            </a:r>
            <a:r>
              <a:rPr lang="en-US" sz="2000" b="1" i="1" dirty="0">
                <a:solidFill>
                  <a:srgbClr val="C00000"/>
                </a:solidFill>
                <a:latin typeface="Calibri"/>
              </a:rPr>
              <a:t> </a:t>
            </a:r>
            <a:r>
              <a:rPr lang="en-US" sz="2000" b="1" i="1" dirty="0" err="1">
                <a:solidFill>
                  <a:srgbClr val="C00000"/>
                </a:solidFill>
                <a:latin typeface="Calibri"/>
              </a:rPr>
              <a:t>bunga</a:t>
            </a:r>
            <a:r>
              <a:rPr lang="en-US" sz="2000" b="1" i="1" dirty="0">
                <a:solidFill>
                  <a:srgbClr val="C00000"/>
                </a:solidFill>
                <a:latin typeface="Calibri"/>
              </a:rPr>
              <a:t> FFR </a:t>
            </a:r>
            <a:r>
              <a:rPr lang="en-US" sz="2000" b="1" i="1" dirty="0" err="1">
                <a:solidFill>
                  <a:srgbClr val="C00000"/>
                </a:solidFill>
                <a:latin typeface="Calibri"/>
              </a:rPr>
              <a:t>dan</a:t>
            </a:r>
            <a:r>
              <a:rPr lang="en-US" sz="2000" b="1" i="1" dirty="0">
                <a:solidFill>
                  <a:srgbClr val="C00000"/>
                </a:solidFill>
                <a:latin typeface="Calibri"/>
              </a:rPr>
              <a:t> </a:t>
            </a:r>
            <a:r>
              <a:rPr lang="en-US" sz="2000" b="1" i="1" dirty="0" err="1" smtClean="0">
                <a:solidFill>
                  <a:srgbClr val="C00000"/>
                </a:solidFill>
                <a:latin typeface="Calibri"/>
              </a:rPr>
              <a:t>kebijakan</a:t>
            </a:r>
            <a:r>
              <a:rPr lang="en-US" sz="2000" b="1" i="1" dirty="0" smtClean="0">
                <a:solidFill>
                  <a:srgbClr val="C00000"/>
                </a:solidFill>
                <a:latin typeface="Calibri"/>
              </a:rPr>
              <a:t> </a:t>
            </a:r>
            <a:r>
              <a:rPr lang="en-US" sz="2000" b="1" i="1" dirty="0" err="1" smtClean="0">
                <a:solidFill>
                  <a:srgbClr val="C00000"/>
                </a:solidFill>
                <a:latin typeface="Calibri"/>
              </a:rPr>
              <a:t>PBoC</a:t>
            </a:r>
            <a:r>
              <a:rPr lang="en-US" sz="2000" b="1" i="1" dirty="0" smtClean="0">
                <a:solidFill>
                  <a:srgbClr val="C00000"/>
                </a:solidFill>
                <a:latin typeface="Calibri"/>
              </a:rPr>
              <a:t>….</a:t>
            </a:r>
            <a:endParaRPr lang="en-US" sz="2000" b="1" i="1" dirty="0">
              <a:solidFill>
                <a:srgbClr val="C00000"/>
              </a:solidFill>
              <a:latin typeface="Calibri"/>
            </a:endParaRPr>
          </a:p>
        </p:txBody>
      </p:sp>
      <p:grpSp>
        <p:nvGrpSpPr>
          <p:cNvPr id="26" name="Group 25"/>
          <p:cNvGrpSpPr/>
          <p:nvPr/>
        </p:nvGrpSpPr>
        <p:grpSpPr>
          <a:xfrm>
            <a:off x="1621674" y="2801035"/>
            <a:ext cx="5900652" cy="323165"/>
            <a:chOff x="304801" y="2603826"/>
            <a:chExt cx="8237811" cy="153819"/>
          </a:xfrm>
        </p:grpSpPr>
        <p:sp>
          <p:nvSpPr>
            <p:cNvPr id="27" name="Rectangle 26"/>
            <p:cNvSpPr>
              <a:spLocks noChangeArrowheads="1"/>
            </p:cNvSpPr>
            <p:nvPr/>
          </p:nvSpPr>
          <p:spPr bwMode="auto">
            <a:xfrm>
              <a:off x="304801" y="2603826"/>
              <a:ext cx="7703554" cy="153819"/>
            </a:xfrm>
            <a:prstGeom prst="rect">
              <a:avLst/>
            </a:prstGeom>
            <a:solidFill>
              <a:srgbClr val="002060"/>
            </a:solidFill>
            <a:ln w="9525" algn="ctr">
              <a:noFill/>
              <a:miter lim="800000"/>
              <a:headEnd/>
              <a:tailEnd/>
            </a:ln>
            <a:effectLst>
              <a:outerShdw blurRad="44450" dist="27940" dir="5400000" algn="ctr">
                <a:srgbClr val="000000">
                  <a:alpha val="32000"/>
                </a:srgbClr>
              </a:outerShdw>
            </a:effectLst>
          </p:spPr>
          <p:txBody>
            <a:bodyPr wrap="square" anchor="ctr">
              <a:spAutoFit/>
            </a:bodyPr>
            <a:lstStyle/>
            <a:p>
              <a:pPr algn="ctr" fontAlgn="auto">
                <a:spcBef>
                  <a:spcPts val="0"/>
                </a:spcBef>
                <a:spcAft>
                  <a:spcPts val="0"/>
                </a:spcAft>
                <a:defRPr/>
              </a:pPr>
              <a:endParaRPr lang="en-US" sz="1500" b="1" dirty="0">
                <a:solidFill>
                  <a:prstClr val="white"/>
                </a:solidFill>
                <a:latin typeface="Calibri"/>
              </a:endParaRPr>
            </a:p>
          </p:txBody>
        </p:sp>
        <p:sp>
          <p:nvSpPr>
            <p:cNvPr id="28" name="Rectangle 27"/>
            <p:cNvSpPr>
              <a:spLocks noChangeArrowheads="1"/>
            </p:cNvSpPr>
            <p:nvPr/>
          </p:nvSpPr>
          <p:spPr bwMode="auto">
            <a:xfrm>
              <a:off x="8008355" y="2604322"/>
              <a:ext cx="534257" cy="153323"/>
            </a:xfrm>
            <a:prstGeom prst="rect">
              <a:avLst/>
            </a:prstGeom>
            <a:solidFill>
              <a:srgbClr val="C00000"/>
            </a:solidFill>
            <a:ln w="9525" algn="ctr">
              <a:noFill/>
              <a:miter lim="800000"/>
              <a:headEnd/>
              <a:tailEnd/>
            </a:ln>
            <a:effectLst>
              <a:outerShdw blurRad="44450" dist="27940" dir="5400000" algn="ctr">
                <a:srgbClr val="000000">
                  <a:alpha val="32000"/>
                </a:srgbClr>
              </a:outerShdw>
            </a:effectLst>
          </p:spPr>
          <p:txBody>
            <a:bodyPr wrap="square" anchor="ctr">
              <a:spAutoFit/>
            </a:bodyPr>
            <a:lstStyle/>
            <a:p>
              <a:pPr algn="ctr" fontAlgn="auto">
                <a:spcBef>
                  <a:spcPts val="0"/>
                </a:spcBef>
                <a:spcAft>
                  <a:spcPts val="0"/>
                </a:spcAft>
              </a:pPr>
              <a:endParaRPr lang="id-ID" sz="1500" b="1" dirty="0">
                <a:solidFill>
                  <a:prstClr val="white"/>
                </a:solidFill>
              </a:endParaRPr>
            </a:p>
          </p:txBody>
        </p:sp>
      </p:grpSp>
      <p:sp>
        <p:nvSpPr>
          <p:cNvPr id="6" name="Rectangle 5"/>
          <p:cNvSpPr/>
          <p:nvPr/>
        </p:nvSpPr>
        <p:spPr>
          <a:xfrm>
            <a:off x="2598375" y="2835497"/>
            <a:ext cx="3954825" cy="323165"/>
          </a:xfrm>
          <a:prstGeom prst="rect">
            <a:avLst/>
          </a:prstGeom>
        </p:spPr>
        <p:txBody>
          <a:bodyPr wrap="square">
            <a:spAutoFit/>
          </a:bodyPr>
          <a:lstStyle/>
          <a:p>
            <a:pPr algn="ctr"/>
            <a:r>
              <a:rPr lang="sv-SE" sz="1500" b="1" i="1" dirty="0" smtClean="0">
                <a:solidFill>
                  <a:prstClr val="white"/>
                </a:solidFill>
                <a:latin typeface="Calibri"/>
              </a:rPr>
              <a:t>Current </a:t>
            </a:r>
            <a:r>
              <a:rPr lang="sv-SE" sz="1500" b="1" i="1" dirty="0">
                <a:solidFill>
                  <a:prstClr val="white"/>
                </a:solidFill>
                <a:latin typeface="Calibri"/>
              </a:rPr>
              <a:t>Implied Probabilities</a:t>
            </a:r>
            <a:r>
              <a:rPr lang="sv-SE" sz="1500" b="1" dirty="0">
                <a:solidFill>
                  <a:prstClr val="white"/>
                </a:solidFill>
                <a:latin typeface="Calibri"/>
              </a:rPr>
              <a:t>: FFR</a:t>
            </a:r>
          </a:p>
        </p:txBody>
      </p:sp>
      <p:pic>
        <p:nvPicPr>
          <p:cNvPr id="17" name="Picture 1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1675" y="3124200"/>
            <a:ext cx="5900652" cy="3522523"/>
          </a:xfrm>
          <a:prstGeom prst="rect">
            <a:avLst/>
          </a:prstGeom>
          <a:noFill/>
          <a:ln>
            <a:noFill/>
          </a:ln>
          <a:effectLst/>
          <a:extLst/>
        </p:spPr>
      </p:pic>
    </p:spTree>
    <p:extLst>
      <p:ext uri="{BB962C8B-B14F-4D97-AF65-F5344CB8AC3E}">
        <p14:creationId xmlns:p14="http://schemas.microsoft.com/office/powerpoint/2010/main" val="41894661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5"/>
          <p:cNvSpPr>
            <a:spLocks noGrp="1"/>
          </p:cNvSpPr>
          <p:nvPr>
            <p:ph type="title"/>
          </p:nvPr>
        </p:nvSpPr>
        <p:spPr bwMode="auto">
          <a:xfrm>
            <a:off x="0" y="4763"/>
            <a:ext cx="8534400"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id-ID" dirty="0" err="1" smtClean="0">
                <a:cs typeface="Arial" pitchFamily="34" charset="0"/>
              </a:rPr>
              <a:t>Ris</a:t>
            </a:r>
            <a:r>
              <a:rPr lang="id-ID" altLang="id-ID" dirty="0" smtClean="0">
                <a:cs typeface="Arial" pitchFamily="34" charset="0"/>
              </a:rPr>
              <a:t>i</a:t>
            </a:r>
            <a:r>
              <a:rPr lang="en-US" altLang="id-ID" dirty="0" smtClean="0">
                <a:cs typeface="Arial" pitchFamily="34" charset="0"/>
              </a:rPr>
              <a:t>k</a:t>
            </a:r>
            <a:r>
              <a:rPr lang="id-ID" altLang="id-ID" dirty="0" smtClean="0">
                <a:cs typeface="Arial" pitchFamily="34" charset="0"/>
              </a:rPr>
              <a:t>o</a:t>
            </a:r>
            <a:r>
              <a:rPr lang="en-US" altLang="id-ID" dirty="0" smtClean="0">
                <a:cs typeface="Arial" pitchFamily="34" charset="0"/>
              </a:rPr>
              <a:t> </a:t>
            </a:r>
            <a:r>
              <a:rPr lang="id-ID" altLang="id-ID" dirty="0" smtClean="0">
                <a:cs typeface="Arial" pitchFamily="34" charset="0"/>
              </a:rPr>
              <a:t>Devaluasi Yuan</a:t>
            </a:r>
            <a:endParaRPr lang="en-US" altLang="id-ID" dirty="0" smtClean="0">
              <a:cs typeface="Arial" pitchFamily="34" charset="0"/>
            </a:endParaRPr>
          </a:p>
        </p:txBody>
      </p:sp>
      <p:sp>
        <p:nvSpPr>
          <p:cNvPr id="106499" name="TextBox 23"/>
          <p:cNvSpPr txBox="1">
            <a:spLocks noChangeArrowheads="1"/>
          </p:cNvSpPr>
          <p:nvPr/>
        </p:nvSpPr>
        <p:spPr bwMode="auto">
          <a:xfrm>
            <a:off x="33338" y="533400"/>
            <a:ext cx="8890000" cy="384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95000"/>
              </a:lnSpc>
              <a:spcAft>
                <a:spcPts val="300"/>
              </a:spcAft>
            </a:pPr>
            <a:r>
              <a:rPr lang="id-ID" sz="2000" b="1" i="1" dirty="0">
                <a:solidFill>
                  <a:srgbClr val="C00000"/>
                </a:solidFill>
              </a:rPr>
              <a:t>Yuan diperkirakan masih </a:t>
            </a:r>
            <a:r>
              <a:rPr lang="en-US" sz="2000" b="1" i="1" dirty="0" err="1">
                <a:solidFill>
                  <a:srgbClr val="C00000"/>
                </a:solidFill>
              </a:rPr>
              <a:t>akan</a:t>
            </a:r>
            <a:r>
              <a:rPr lang="en-US" sz="2000" b="1" i="1" dirty="0">
                <a:solidFill>
                  <a:srgbClr val="C00000"/>
                </a:solidFill>
              </a:rPr>
              <a:t> </a:t>
            </a:r>
            <a:r>
              <a:rPr lang="id-ID" sz="2000" b="1" i="1" dirty="0">
                <a:solidFill>
                  <a:srgbClr val="C00000"/>
                </a:solidFill>
              </a:rPr>
              <a:t>mengalami depresiasi ….</a:t>
            </a:r>
            <a:endParaRPr lang="en-US" altLang="id-ID" sz="2000" b="1" i="1" dirty="0">
              <a:solidFill>
                <a:srgbClr val="C00000"/>
              </a:solidFill>
            </a:endParaRPr>
          </a:p>
        </p:txBody>
      </p:sp>
      <p:grpSp>
        <p:nvGrpSpPr>
          <p:cNvPr id="106504" name="Group 24"/>
          <p:cNvGrpSpPr>
            <a:grpSpLocks/>
          </p:cNvGrpSpPr>
          <p:nvPr/>
        </p:nvGrpSpPr>
        <p:grpSpPr bwMode="auto">
          <a:xfrm>
            <a:off x="199385" y="2256504"/>
            <a:ext cx="4136077" cy="323165"/>
            <a:chOff x="43059" y="1137127"/>
            <a:chExt cx="4638146" cy="430846"/>
          </a:xfrm>
        </p:grpSpPr>
        <p:sp>
          <p:nvSpPr>
            <p:cNvPr id="27" name="Rectangle 26"/>
            <p:cNvSpPr>
              <a:spLocks noChangeArrowheads="1"/>
            </p:cNvSpPr>
            <p:nvPr/>
          </p:nvSpPr>
          <p:spPr bwMode="auto">
            <a:xfrm>
              <a:off x="43059" y="1137127"/>
              <a:ext cx="4375740" cy="430846"/>
            </a:xfrm>
            <a:prstGeom prst="rect">
              <a:avLst/>
            </a:prstGeom>
            <a:solidFill>
              <a:srgbClr val="002060"/>
            </a:solidFill>
            <a:ln>
              <a:noFill/>
            </a:ln>
            <a:effectLst>
              <a:outerShdw blurRad="44450" dist="27940" dir="5400000" algn="ctr" rotWithShape="0">
                <a:srgbClr val="808080">
                  <a:alpha val="31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r>
                <a:rPr lang="id-ID" sz="1500" b="1" dirty="0" smtClean="0">
                  <a:solidFill>
                    <a:prstClr val="white"/>
                  </a:solidFill>
                  <a:latin typeface="Calibri"/>
                  <a:cs typeface="Arial" pitchFamily="34" charset="0"/>
                </a:rPr>
                <a:t>Proyeksi Yuan (Survei Bloomberg)</a:t>
              </a:r>
              <a:endParaRPr lang="id-ID" sz="1500" b="1" dirty="0">
                <a:solidFill>
                  <a:prstClr val="white"/>
                </a:solidFill>
                <a:latin typeface="Calibri"/>
                <a:cs typeface="Arial" pitchFamily="34" charset="0"/>
              </a:endParaRPr>
            </a:p>
          </p:txBody>
        </p:sp>
        <p:sp>
          <p:nvSpPr>
            <p:cNvPr id="28" name="Rectangle 27"/>
            <p:cNvSpPr>
              <a:spLocks noChangeArrowheads="1"/>
            </p:cNvSpPr>
            <p:nvPr/>
          </p:nvSpPr>
          <p:spPr bwMode="auto">
            <a:xfrm>
              <a:off x="4433757" y="1156141"/>
              <a:ext cx="247448" cy="410332"/>
            </a:xfrm>
            <a:prstGeom prst="rect">
              <a:avLst/>
            </a:prstGeom>
            <a:solidFill>
              <a:srgbClr val="C00000"/>
            </a:solidFill>
            <a:ln>
              <a:noFill/>
            </a:ln>
            <a:effectLst>
              <a:outerShdw blurRad="44450" dist="27940" dir="5400000" algn="ctr" rotWithShape="0">
                <a:srgbClr val="808080">
                  <a:alpha val="31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endParaRPr lang="id-ID" sz="1400" b="1" dirty="0">
                <a:solidFill>
                  <a:prstClr val="white"/>
                </a:solidFill>
                <a:latin typeface="Calibri"/>
                <a:ea typeface="+mn-ea"/>
              </a:endParaRPr>
            </a:p>
          </p:txBody>
        </p:sp>
      </p:grpSp>
      <p:grpSp>
        <p:nvGrpSpPr>
          <p:cNvPr id="15" name="Group 24"/>
          <p:cNvGrpSpPr>
            <a:grpSpLocks/>
          </p:cNvGrpSpPr>
          <p:nvPr/>
        </p:nvGrpSpPr>
        <p:grpSpPr bwMode="auto">
          <a:xfrm>
            <a:off x="4626923" y="2256501"/>
            <a:ext cx="4136077" cy="323165"/>
            <a:chOff x="43059" y="1145881"/>
            <a:chExt cx="4638146" cy="430847"/>
          </a:xfrm>
        </p:grpSpPr>
        <p:sp>
          <p:nvSpPr>
            <p:cNvPr id="16" name="Rectangle 15"/>
            <p:cNvSpPr>
              <a:spLocks noChangeArrowheads="1"/>
            </p:cNvSpPr>
            <p:nvPr/>
          </p:nvSpPr>
          <p:spPr bwMode="auto">
            <a:xfrm>
              <a:off x="43059" y="1145881"/>
              <a:ext cx="4375740" cy="430847"/>
            </a:xfrm>
            <a:prstGeom prst="rect">
              <a:avLst/>
            </a:prstGeom>
            <a:solidFill>
              <a:srgbClr val="002060"/>
            </a:solidFill>
            <a:ln>
              <a:noFill/>
            </a:ln>
            <a:effectLst>
              <a:outerShdw blurRad="44450" dist="27940" dir="5400000" algn="ctr" rotWithShape="0">
                <a:srgbClr val="808080">
                  <a:alpha val="31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r>
                <a:rPr lang="id-ID" sz="1500" b="1" dirty="0" smtClean="0">
                  <a:solidFill>
                    <a:prstClr val="white"/>
                  </a:solidFill>
                  <a:latin typeface="Calibri"/>
                  <a:cs typeface="Arial" pitchFamily="34" charset="0"/>
                </a:rPr>
                <a:t>REER Tiongkok dan Negara Lain</a:t>
              </a:r>
              <a:endParaRPr lang="id-ID" sz="1500" b="1" dirty="0">
                <a:solidFill>
                  <a:prstClr val="white"/>
                </a:solidFill>
                <a:latin typeface="Calibri"/>
                <a:cs typeface="Arial" pitchFamily="34" charset="0"/>
              </a:endParaRPr>
            </a:p>
          </p:txBody>
        </p:sp>
        <p:sp>
          <p:nvSpPr>
            <p:cNvPr id="17" name="Rectangle 16"/>
            <p:cNvSpPr>
              <a:spLocks noChangeArrowheads="1"/>
            </p:cNvSpPr>
            <p:nvPr/>
          </p:nvSpPr>
          <p:spPr bwMode="auto">
            <a:xfrm>
              <a:off x="4433757" y="1156141"/>
              <a:ext cx="247448" cy="410332"/>
            </a:xfrm>
            <a:prstGeom prst="rect">
              <a:avLst/>
            </a:prstGeom>
            <a:solidFill>
              <a:srgbClr val="C00000"/>
            </a:solidFill>
            <a:ln>
              <a:noFill/>
            </a:ln>
            <a:effectLst>
              <a:outerShdw blurRad="44450" dist="27940" dir="5400000" algn="ctr" rotWithShape="0">
                <a:srgbClr val="808080">
                  <a:alpha val="31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fontAlgn="auto">
                <a:spcBef>
                  <a:spcPts val="0"/>
                </a:spcBef>
                <a:spcAft>
                  <a:spcPts val="0"/>
                </a:spcAft>
                <a:defRPr/>
              </a:pPr>
              <a:endParaRPr lang="id-ID" sz="1400" b="1" dirty="0">
                <a:solidFill>
                  <a:prstClr val="white"/>
                </a:solidFill>
                <a:latin typeface="Calibri"/>
                <a:ea typeface="+mn-ea"/>
              </a:endParaRPr>
            </a:p>
          </p:txBody>
        </p:sp>
      </p:grpSp>
      <p:sp>
        <p:nvSpPr>
          <p:cNvPr id="3" name="Rectangle 2"/>
          <p:cNvSpPr/>
          <p:nvPr/>
        </p:nvSpPr>
        <p:spPr>
          <a:xfrm>
            <a:off x="199384" y="990600"/>
            <a:ext cx="8563615" cy="1077218"/>
          </a:xfrm>
          <a:prstGeom prst="rect">
            <a:avLst/>
          </a:prstGeom>
        </p:spPr>
        <p:txBody>
          <a:bodyPr wrap="square">
            <a:spAutoFit/>
          </a:bodyPr>
          <a:lstStyle/>
          <a:p>
            <a:pPr marL="231775" indent="-231775" algn="just">
              <a:spcBef>
                <a:spcPts val="0"/>
              </a:spcBef>
              <a:spcAft>
                <a:spcPts val="600"/>
              </a:spcAft>
              <a:buFont typeface="Wingdings" panose="05000000000000000000" pitchFamily="2" charset="2"/>
              <a:buChar char="§"/>
              <a:tabLst>
                <a:tab pos="177800" algn="l"/>
              </a:tabLst>
            </a:pPr>
            <a:r>
              <a:rPr lang="id-ID" dirty="0" smtClean="0">
                <a:latin typeface="+mn-lt"/>
                <a:cs typeface="ＭＳ Ｐゴシック" charset="0"/>
              </a:rPr>
              <a:t>Bank Sentral Tiongkok (PBOC) mengadopsi sistem nilai tukar yang lebih fleksibel.</a:t>
            </a:r>
            <a:endParaRPr lang="id-ID" dirty="0">
              <a:latin typeface="+mn-lt"/>
              <a:cs typeface="ＭＳ Ｐゴシック" charset="0"/>
            </a:endParaRPr>
          </a:p>
          <a:p>
            <a:pPr marL="522288" lvl="1" indent="-285750" algn="just">
              <a:spcBef>
                <a:spcPts val="0"/>
              </a:spcBef>
              <a:spcAft>
                <a:spcPts val="600"/>
              </a:spcAft>
              <a:buFont typeface="Wingdings" panose="05000000000000000000" pitchFamily="2" charset="2"/>
              <a:buChar char="ü"/>
            </a:pPr>
            <a:r>
              <a:rPr lang="id-ID" dirty="0">
                <a:latin typeface="+mn-lt"/>
                <a:cs typeface="ＭＳ Ｐゴシック" charset="0"/>
              </a:rPr>
              <a:t>REER Tiongkok masih </a:t>
            </a:r>
            <a:r>
              <a:rPr lang="id-ID" i="1" dirty="0">
                <a:latin typeface="+mn-lt"/>
                <a:cs typeface="ＭＳ Ｐゴシック" charset="0"/>
              </a:rPr>
              <a:t>overvalued</a:t>
            </a:r>
            <a:r>
              <a:rPr lang="id-ID" dirty="0">
                <a:latin typeface="+mn-lt"/>
                <a:cs typeface="ＭＳ Ｐゴシック" charset="0"/>
              </a:rPr>
              <a:t> dibandingkan REER mata uang negara </a:t>
            </a:r>
            <a:r>
              <a:rPr lang="id-ID" dirty="0" smtClean="0">
                <a:latin typeface="+mn-lt"/>
                <a:cs typeface="ＭＳ Ｐゴシック" charset="0"/>
              </a:rPr>
              <a:t>lain.</a:t>
            </a:r>
            <a:endParaRPr lang="id-ID" dirty="0">
              <a:latin typeface="+mn-lt"/>
              <a:cs typeface="ＭＳ Ｐゴシック" charset="0"/>
            </a:endParaRPr>
          </a:p>
          <a:p>
            <a:pPr marL="522288" lvl="1" indent="-285750" algn="just">
              <a:spcBef>
                <a:spcPts val="0"/>
              </a:spcBef>
              <a:spcAft>
                <a:spcPts val="600"/>
              </a:spcAft>
              <a:buFont typeface="Wingdings" panose="05000000000000000000" pitchFamily="2" charset="2"/>
              <a:buChar char="ü"/>
            </a:pPr>
            <a:r>
              <a:rPr lang="id-ID" dirty="0">
                <a:latin typeface="+mn-lt"/>
                <a:cs typeface="ＭＳ Ｐゴシック" charset="0"/>
              </a:rPr>
              <a:t>Kepemilikan asing di Tiongkok cukup besar. </a:t>
            </a:r>
          </a:p>
        </p:txBody>
      </p:sp>
      <p:grpSp>
        <p:nvGrpSpPr>
          <p:cNvPr id="14" name="Group 13"/>
          <p:cNvGrpSpPr/>
          <p:nvPr/>
        </p:nvGrpSpPr>
        <p:grpSpPr>
          <a:xfrm>
            <a:off x="166477" y="2571974"/>
            <a:ext cx="4360541" cy="4133626"/>
            <a:chOff x="4800600" y="3860884"/>
            <a:chExt cx="4114800" cy="2795326"/>
          </a:xfrm>
        </p:grpSpPr>
        <p:pic>
          <p:nvPicPr>
            <p:cNvPr id="1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00600" y="4191000"/>
              <a:ext cx="4114800" cy="2465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 name="Group 19"/>
            <p:cNvGrpSpPr/>
            <p:nvPr/>
          </p:nvGrpSpPr>
          <p:grpSpPr>
            <a:xfrm>
              <a:off x="6053470" y="4724401"/>
              <a:ext cx="575930" cy="1286575"/>
              <a:chOff x="6129670" y="4724400"/>
              <a:chExt cx="575930" cy="1133660"/>
            </a:xfrm>
          </p:grpSpPr>
          <p:cxnSp>
            <p:nvCxnSpPr>
              <p:cNvPr id="25" name="Straight Arrow Connector 24"/>
              <p:cNvCxnSpPr/>
              <p:nvPr/>
            </p:nvCxnSpPr>
            <p:spPr>
              <a:xfrm flipV="1">
                <a:off x="6220047" y="5410200"/>
                <a:ext cx="333153" cy="342014"/>
              </a:xfrm>
              <a:prstGeom prst="straightConnector1">
                <a:avLst/>
              </a:prstGeom>
              <a:ln w="28575">
                <a:solidFill>
                  <a:srgbClr val="4604BC"/>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296247" y="5638800"/>
                <a:ext cx="333153" cy="219260"/>
              </a:xfrm>
              <a:prstGeom prst="rect">
                <a:avLst/>
              </a:prstGeom>
              <a:noFill/>
            </p:spPr>
            <p:txBody>
              <a:bodyPr wrap="square" rtlCol="0">
                <a:spAutoFit/>
              </a:bodyPr>
              <a:lstStyle/>
              <a:p>
                <a:r>
                  <a:rPr lang="id-ID" sz="800" b="1" i="1" dirty="0" smtClean="0">
                    <a:solidFill>
                      <a:prstClr val="black"/>
                    </a:solidFill>
                  </a:rPr>
                  <a:t>4%</a:t>
                </a:r>
                <a:endParaRPr lang="id-ID" sz="800" b="1" i="1" dirty="0">
                  <a:solidFill>
                    <a:prstClr val="black"/>
                  </a:solidFill>
                </a:endParaRPr>
              </a:p>
            </p:txBody>
          </p:sp>
          <p:cxnSp>
            <p:nvCxnSpPr>
              <p:cNvPr id="29" name="Straight Arrow Connector 28"/>
              <p:cNvCxnSpPr/>
              <p:nvPr/>
            </p:nvCxnSpPr>
            <p:spPr>
              <a:xfrm flipV="1">
                <a:off x="6129670" y="4724400"/>
                <a:ext cx="575930" cy="685800"/>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155365" y="4851856"/>
                <a:ext cx="397835" cy="219260"/>
              </a:xfrm>
              <a:prstGeom prst="rect">
                <a:avLst/>
              </a:prstGeom>
              <a:noFill/>
            </p:spPr>
            <p:txBody>
              <a:bodyPr wrap="square" rtlCol="0">
                <a:spAutoFit/>
              </a:bodyPr>
              <a:lstStyle/>
              <a:p>
                <a:r>
                  <a:rPr lang="id-ID" sz="800" b="1" i="1" dirty="0" smtClean="0">
                    <a:solidFill>
                      <a:prstClr val="black"/>
                    </a:solidFill>
                  </a:rPr>
                  <a:t>10%</a:t>
                </a:r>
                <a:endParaRPr lang="id-ID" sz="800" b="1" i="1" dirty="0">
                  <a:solidFill>
                    <a:prstClr val="black"/>
                  </a:solidFill>
                </a:endParaRPr>
              </a:p>
            </p:txBody>
          </p:sp>
        </p:grpSp>
        <p:cxnSp>
          <p:nvCxnSpPr>
            <p:cNvPr id="21" name="Straight Arrow Connector 20"/>
            <p:cNvCxnSpPr/>
            <p:nvPr/>
          </p:nvCxnSpPr>
          <p:spPr>
            <a:xfrm flipV="1">
              <a:off x="5971054" y="4385073"/>
              <a:ext cx="2410946" cy="1"/>
            </a:xfrm>
            <a:prstGeom prst="straightConnector1">
              <a:avLst/>
            </a:prstGeom>
            <a:ln w="28575">
              <a:solidFill>
                <a:srgbClr val="4604BC"/>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5971054" y="4114799"/>
              <a:ext cx="2410946" cy="1"/>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629399" y="3860884"/>
              <a:ext cx="547127" cy="190836"/>
            </a:xfrm>
            <a:prstGeom prst="rect">
              <a:avLst/>
            </a:prstGeom>
            <a:noFill/>
          </p:spPr>
          <p:txBody>
            <a:bodyPr wrap="square" rtlCol="0">
              <a:spAutoFit/>
            </a:bodyPr>
            <a:lstStyle/>
            <a:p>
              <a:r>
                <a:rPr lang="id-ID" sz="1200" dirty="0" smtClean="0">
                  <a:solidFill>
                    <a:prstClr val="black"/>
                  </a:solidFill>
                </a:rPr>
                <a:t>12%</a:t>
              </a:r>
              <a:endParaRPr lang="id-ID" sz="1200" dirty="0">
                <a:solidFill>
                  <a:prstClr val="black"/>
                </a:solidFill>
              </a:endParaRPr>
            </a:p>
          </p:txBody>
        </p:sp>
        <p:sp>
          <p:nvSpPr>
            <p:cNvPr id="24" name="TextBox 23"/>
            <p:cNvSpPr txBox="1"/>
            <p:nvPr/>
          </p:nvSpPr>
          <p:spPr>
            <a:xfrm>
              <a:off x="6629400" y="4114800"/>
              <a:ext cx="547127" cy="190836"/>
            </a:xfrm>
            <a:prstGeom prst="rect">
              <a:avLst/>
            </a:prstGeom>
            <a:noFill/>
          </p:spPr>
          <p:txBody>
            <a:bodyPr wrap="square" rtlCol="0">
              <a:spAutoFit/>
            </a:bodyPr>
            <a:lstStyle/>
            <a:p>
              <a:r>
                <a:rPr lang="id-ID" sz="1200" dirty="0" smtClean="0">
                  <a:solidFill>
                    <a:prstClr val="black"/>
                  </a:solidFill>
                </a:rPr>
                <a:t>6%</a:t>
              </a:r>
              <a:endParaRPr lang="id-ID" sz="1200" dirty="0">
                <a:solidFill>
                  <a:prstClr val="black"/>
                </a:solidFill>
              </a:endParaRPr>
            </a:p>
          </p:txBody>
        </p:sp>
      </p:grpSp>
      <p:grpSp>
        <p:nvGrpSpPr>
          <p:cNvPr id="31" name="Group 30"/>
          <p:cNvGrpSpPr/>
          <p:nvPr/>
        </p:nvGrpSpPr>
        <p:grpSpPr>
          <a:xfrm>
            <a:off x="4666500" y="2710473"/>
            <a:ext cx="4096500" cy="3690327"/>
            <a:chOff x="4666500" y="4431152"/>
            <a:chExt cx="4325100" cy="2241124"/>
          </a:xfrm>
        </p:grpSpPr>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6500" y="4431152"/>
              <a:ext cx="4325100" cy="2241124"/>
            </a:xfrm>
            <a:prstGeom prst="rect">
              <a:avLst/>
            </a:prstGeom>
            <a:noFill/>
            <a:ln w="9525">
              <a:solidFill>
                <a:schemeClr val="bg1">
                  <a:lumMod val="8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7467600" y="6002579"/>
              <a:ext cx="1295400" cy="276999"/>
            </a:xfrm>
            <a:prstGeom prst="rect">
              <a:avLst/>
            </a:prstGeom>
            <a:noFill/>
          </p:spPr>
          <p:txBody>
            <a:bodyPr wrap="square" rtlCol="0">
              <a:spAutoFit/>
            </a:bodyPr>
            <a:lstStyle/>
            <a:p>
              <a:r>
                <a:rPr lang="id-ID" sz="1200" b="1" dirty="0" smtClean="0"/>
                <a:t>As of July 2015</a:t>
              </a:r>
              <a:endParaRPr lang="id-ID" sz="1200" b="1" dirty="0"/>
            </a:p>
          </p:txBody>
        </p:sp>
      </p:grpSp>
    </p:spTree>
    <p:extLst>
      <p:ext uri="{BB962C8B-B14F-4D97-AF65-F5344CB8AC3E}">
        <p14:creationId xmlns:p14="http://schemas.microsoft.com/office/powerpoint/2010/main" val="3052632512"/>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q6WjchmdUWoibjbvuhF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3sC0ymJrU2x0dsu9Frw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M6vZT_1EEyiA8cmAUSj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9Eb0cla.0Geo3TejEda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8AYkkv54kiG3LKhtYCQk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hmIi7YHbk21BbFk64yDW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kJbMQSL.k24N.R3S8GuL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9jr6PJNKEa1yR92TenGV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kiG5nh8mEy4K30kTEZd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Yua51Q44EeiLWspSInf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jWkIvBXFUiq6xJqacFT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OFn1mmeE06O3CarAHVxr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ifH0M4CykeXUux7utZ7B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RG_9FHnikaI_qcgeZUo4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b3UtsRxuky.pe7m1J0d3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80rQp93HUW7NQYXd6mxJ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AneEdQ6jU2JmfECuNgI6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2klx5f2jkiWONYzpdHjB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0wxpMUnfUKAs.W_fvBad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ZovBYugEijXjXIP4yM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26v9Uy9AFkSxuYWZ8zS2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Qavhb78FkmuYcg2Nwa8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eamTc0b3k.jUO71UefRj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dkyhfXER0aVUj4IofCe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5AtCqZ9QkerVvxdCV7sh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OWAqUULekyVP0ePbllRz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J5dnP7Q60G2OkX8RBOR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lueOGpr4EutB9r9IEWy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Q5KgLSk6EqSUIEdZgPi8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4fPpsnnpjUGHLFVupWJnJ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y0RZlW1rUyNrQ7Ww5hn9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QewaOdfXE.Hqkl9FmWOx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JrkWfhZTUibqMYpjhU9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EIUwx1ENkiROHYUceS4e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CK0G.g3mFkaod0N2u46SX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lgfRwDIr06RD6GOJ9_y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45hIrOKpykmmLq6ZFy2Mh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EfzsjYYKECqIf3OwTR.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KHyJLLn3kSnJV7RJpSl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xtL9Yd5SkuzAmUhL5bjo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6wNSj.fqrUe0gpD_jgJGk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w8rQQ1A8.028LydKiQIrW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QqfkXiHfUmi8ykNow4iE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X4Sam8C1EqzVCNFgo1G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D12.DWJh0Wmej8kxEudF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NTyk47RaU6SVzGZko_H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cz7.dYihEifTa.XfkKY1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z7qaZkEKn0u1PMIfS5sbZ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TxB0zXYqh0.UeUlqiUsw2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sJAyKY7qkWURhSDVZMO8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9Xy5IW4uFkuQDyZoaVRDt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ACTXQJrtE2XIRC9QiuhO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jpw_JkHWKka4AXTeAegD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gRu4V3xbkKiMRqqu4Ff_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TI.M.rU30eyS8EwVlfl8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RPjjw4bfEODQB0yfBmbD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so60rxekUONRZyb2__MN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ZXwjhXPq0S9G0vqyWMB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tncVdOd.t0OSRedk76sfQ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P.3.XJ8_WEabZIPeX3SBo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WFMHv7jFUy04VGFhpI7u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uJY1ROCIk.A6W9kxWit7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SqYYfiIwMUyRqC7SEzupE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UiD204jUkWLjZAOlxa7X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JyKeAVt41UmpmM6QtRVmp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xk4N_xl4GE28BV.a8EnJ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mRn1Yhmg0KeHrWLxL0i3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2bTe1VB8hUanzBb0Xz7G_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PSB66zkXEWJmC2uru9ud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g0enof0kjkadkkCNOERn5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yIGeYYj3kU67tVAe.xvZ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ZpIraNnm9EeZOcwhZsoTl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ydUGFedm0SxCJVQ.p2jE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pqWZ8OSWVUW5.G5mpOEm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NxxaTxgU6EqNDBwh0VTU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KTIJ4SSvMki59EvTvk2tP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1ASYPqB1022x.Hw5RZO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k8uIasMKEWPZ9Y_vUl.6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3MtrqzPZVk6fLyD86aNFu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ky3n1RziEyatybznatD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1U.ltIW3A0Cz0HIzFIjvV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_aiBJ3PTUC9.VJ6rDuon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sHccm0LiUOJCeCneTz2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J0Ko4i1X3Eu.sy9vgJGEC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XSkK7vGdk.NwRDUzH3fl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wSEtid_Q0eVBBm3_DIxW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9IJ639tV_EqhWlymzYGX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RPyYl3bC0GsBIF7RKNd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ktRTngCUUeXTsuvSKRpm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mAZADuceU.pFyPjuHt.Z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qEXS_oWGU6fCNXDgDvtr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UTr1dUoRikGdF0STXP1W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XXHDG6jN0.VlLQv3dGc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21mfRoeSIUqth2xJMgzv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wsbo6PCJ0yrPznqLc_r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xhR3_D9a0u9i86WLffRi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ELCNiEfC0WfS4tagbf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5z8x6taQUm_kIpvAMIP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NoFL2RZ.EeIe.Hyv4XY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uwPOL8TE06gADqOgB_n3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6YB9BKuLYU6wVT_UURS9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hmV906Y3U6dq8iLFalxq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vp.ESuikK0uTTyn1w868e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6TBeWtBj0.q0U7D1o_Ca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D1jKarHfEKmM7GxkMQH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MSyIpJiZOk.weKwflpMy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n_5yd_q6EeFY02V7L.O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isTLnZ0ex9_PsnCrUR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3jKAQy91UiSfYtxjeHeX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m3KQOBALY0yMu62mTyUSLw"/>
</p:tagLst>
</file>

<file path=ppt/tags/tag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8I0SuyFXkaC69C86ev1H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6Zyou95PkiJrf4gVERCY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UFUC3Vd5kWtxU._ST8p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8uYQaItbE6XMaanXKQl6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3lxWef7ok.HIm98JHZb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COmgHJuc_kKcBFkgvZg3X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TQt_L8s_BEiE8rzpqLtmR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dADwXiyCeUGfAQln31Lv2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hLkQAQrE.drBEgIpFOm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Zy3GpDV7U.dpF4gWP5J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9bAQZXOr5EindVhv.yu_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kqkIF.dw0iagwm1PWql2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NANxQw.ShU2_UKyD48UP3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5AYdtMicESBetllHarB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Tk9entJ7kCJaE52.0kwG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9tWIp2SzkibaFTYokaEZ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GguTzaxM0iZ4I.gxZh10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rq6G0FZMEiqMsJz24AJh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LKF_v0uq0CPR6F0IfC17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5urtvqxR02tjuUe6e7mH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mCSdFsijmUK_ai_GNpAlp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PELSjdb.E63p4qSIu8u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XvNxnBNw0.12rZ4o5jDI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3fpbR.alA0CMRUvEoWits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53QhWxRbgk.bUy1TSTEhu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6N7Ucn7Tu0CPprI3hDcxr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5pOBX.Ao0GG66t5hyYrR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4Ip6.RRSsUSboj_ApOoPX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6czubueuMECExmN9vvnve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V0lpbMPnxkin3hAUXvT8X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w1UkxOZOmEOR7kNUKR0ZY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mHv9lQsTkW51FAY0nKcb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wcda_TK.yEOGpjmTB1pS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1FmE7WTAU6_qrLbEQ5SE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VRBlHKXUmtphXZeDly0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KKfsWhIF02Ec5ZA1Dje9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0MAHREtEiTzsdyYm.B_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CU3rLK_9AkquHn._ErE7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NWP8rcfPh0mrA1KmOqsmA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XDtrDrfWkOGxJMzxxjPf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P.JGIt_xKEePSod2xq32c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L9lPBfN30CphhX_Qb1gU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qjaDlPHf0U2v4XpSMridN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kkLLKvHeRUibzOpXjIW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g9MzgOu7kOtZmJh0_MaF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D0LfgipEUmx.Xh0P27ZL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VDXd5YQ070yC4eoVmnz4Z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NI9hmrXw0u10ePG.polJ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Z9doJXu.0KTE1HCYSVxg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K2eT6MFIhU6Y2wEwUmr59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_XdJz4GPF0uz5mZstPrSE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WMWNMWrdQUS8K4TLLMQ6f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coeiT4UOU.WlJr6ZF3Jg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yC3PFfp0Uk.lXkiFG4I32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Ona81Ayp0mth9xHEnJC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0.ui5XbUkmxPaiZF9qR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FJV9jjya0WSiY5XeZjVs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G5J.b4RNpEWX9X_.sZgVp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0XJz9sYlWkGmy9ovrEAf8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Hc.GHL6w0aMepNG8KbA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17xJ84DvEmOqHRFAjnEM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8scyytloUkOkT4TKwIJDL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BOIy_ZFmakuVFVlAXltSX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KgLc7x18a0GNqL3Hl4NEp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iKZGRCf4iUesAaAsHvrGm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mzEvrk.Kb0OH383WgZRb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Yt_clhnSkG_B8LM7mJVI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pHJBWtxz4ku0TYKHzonWI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xacpzBhYUKw5GAjHq_kk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PLc_UNXVUESDFm5zvWasN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pYnn79rIEUSv05xJAaOC7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aqDjCmBNkEaJ2CTP.BZM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ieqwee8vtEqAwBdGCO3nz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mMK5Jhgjc0SZ9oigDz1le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SWIprCK9iEG2eaouQqFUL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oYzf.uGe_0ayuhS9tw7i7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3sKrHlMCvUOPsxxA7Ar7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JkRYbc6ZECnfi3XuWGEU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aqZR8UG9SUu5pPv5.CMc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vu6LSv.7EW0o0wKjq66W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vfZBNujxp0quOaqEH0_9n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9WzuWgUt7EK2lc3vLBHyi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AnTgWfjfEWSvhEwGEjY_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WSdx7x0u0.rm1SYaQc9f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7s2XPkeOekyalPpbv0JS_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GXCKaZ1PUKxY52Dr3Svq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E7YJ73W.kK6ShTfD3Zbr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cazl9Y5sXk2BtLqs98ll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gKn7XaKuUSjVvfTC64Et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sR5m9T86yUWfLXutHeVrB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WVdlO8OWw0.paYNHoLyKP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tkuOXo_vpUSIEG2PiFx4D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pd8ZnabanEGAiZmpaWcZ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zkMNXvIrEOKZJBIr72v6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e0BtjcB2UeD88Y07fZIp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y8FCT.EnEWi0CVXoFENa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jfH0W1Q0iBWannP0Rir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Voy_W1n0UOXDwR9qfWkO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YAB9mhkhE2tkR79jHK0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t4mwxvz1ky85LtS7Wyby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i9l3E.ymEmf0qmZcODd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8RFEMlR30WtnJQbr08jh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P1kMw9Wb6Uq5T.saD1NE_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t73LdRDYSkyB9e.Us9ASd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AvCw7FcWSkCfF0q1TJ4ym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8tZBt1tXokOB_LD_rjwTb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myT1yUpCkmd00Nz5MHIK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LlSdNF.WWEeLma0xYWvYD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_7PhxgaleUSaOc8djUJOe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8NTZvNfpU0CJ_w3PPEjfCQ"/>
</p:tagLst>
</file>

<file path=ppt/tags/tag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ZKcyxUl3USxTI8dzDsL3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DPb9DGEkUSoBqdveYSSj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PE0FBGRZzU2NMSQn6.8mJ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yK4WHeXFbUC1Cj24tZYB4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OiwevCg7Y0Gp_vO8UVU6P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YT3y18T.ESywYEdH_IBQ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h0r.nVdQUO.D6AM6PhAq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vmvBManETU6M8fOJI67HT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tiNrtVVyHkW8nWCt1RnJ9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EP2W5UVtUipi.O9XhJiE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CYxG12SAkGzqQq.bqBp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YMfwDh0EUCROI9bmXE3t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5_OMr5eQkK3z2wwjDlB3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uTfaJzfnkqBHMHfE5gkV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n_xzIlYYm0C7j6ZX8xopL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ju78d4pdEk6Hgf6REyBSq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oEiTcOl.50uKcrIGyCeqw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_vfhJ8Kb0.I1z68b5iTy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cpH9IfZdVE69y1zRPU0t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yLGmWZaT_EydF4XCmOrfP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bRG.K7n_gkCMBueNXAqLk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mDF167H8J0eZbQmt4_6x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9kOZO0fp0i9SpslJgrPN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34niuG6J0.zvALAy.UPk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53dcz5PcHkCcXuXxPxjtM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SSa.C_SYBUKNsnNOvXJ9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K79EGl6NnUaGy5KhxKVAS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gTfM9CzOB0K.VxlvOITT3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ljcyXVxOQEavGQgQVaNWL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59qvRd5xUGxw_RTw2MnT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HceYWvR4Ei7Syc7hatSR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cFe4bOhYVUWAfyjOEP0Ia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MxGnIZ5QE6J8JGBWI1y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8f5lH5wNk2jJ7HcfxFx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J2rIFDvi402skDce9pFy.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EsiF35wsRkOS7TeLBfLGQ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2Mq25UYK_0yMcMjMjHxoQ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y9RWyEkDU.MqSXHrFVb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HsFracIne0eX9X9PaAVbr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0rflCdtss0qC1KHgWMrZs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Nu7x.Nahtk2HA1dbbTQk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paKkTDyeQ0239d5T0aIej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4bwacubNkGECZWNKyrqv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hKQIKDMQEuhvA81lua6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aIS0Zd1CkKOh1JEtb0S1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QNusBM26q068fgnb1.6GO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iBwokAqQEmaVi9oSyF2g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yu47vTHDzEqcx6iEv2bE.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EB8PiTBGyUehwjiJvPPqI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os0AmqKP9keBvYaRoP4fk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wxcO0FYMW0GGx2egN5cqp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YbpQCviFBUauY7lUAzlTa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XERiJ3bCq0us4wDJSz5KB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cqfkd2.03Ueu5Gzs2eFO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tL7nqV2jUaMEBwGz_0_2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oA9oul1sk.kYbD8nWnzS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GjnoEGgBkyxuMUwHzxNn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x.2ExWVciE.fu7rKbm8oK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CANtiTTLPkWdmfYUwS5Xk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QyLtlmCaiU.badLrlKtGj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4nq4M6AFk2LedBvzRBuD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KOxvfaj6SEqMxqCway8p.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AuR.J.XxFkqJk7._ED5.x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eqfyYBFKY0GKBefgu7zss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UkGaQEzmiUSBff0rMQvPK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5OR2zwtLVk6hrVecYu5U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3BnNQeYR0KuKQ4mGjFNE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HrK8zhAPkOh1htxPPkwg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G0VQI.bpMUWf2RUtb7kRC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KXBT72hCRUCT9ZUkPlr2l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BOyywiJumEK_L1IuJmtuN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CoMaXSkWWUWmUQYYQWX7q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qRhdZrp.PkKj4YXoaj4pc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aQPPazEDREC.uoFWR8BMk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Kudx0jq2sUG0TLSPQwf7I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cms7fWMf0mAyRQEpFzUL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4iwGR9PQbEWJon_WRXP1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W9wi7pkeUS_4izD.yvu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6B0eJR3otUOfQq8oo9rkb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ovEZVC94mUqEt7vuVRKvN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j6bcLgK9aUqtTTRozhEYg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T5sQd_jm4kisoXiDS_Xaw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D8GpEd4fw0GU3RFYIWCeh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9aaij3R3EmX1yBvRbnBl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6.P4IzxiUO71C2r3qI3i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P9laLYtPhkK96VurX8lWf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Ct8cA9SmWE.tYGrbPQ4e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xAd65JAApkOHgbXoprmP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IkMMfE0.EyFYHcVTc_Uo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XpHhud5jhkOvBT4EWrTv5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01suOAETnk2syK2FWJFVA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t0bYs8mjJkKxEzFszlTBe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UR4dAZ7BL0WZk2Hp32hTY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pDwcSN_vGU2z.ki.TR9dN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38223aIpdEGHOOXmnnV5C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Cev3R0503EqdRZCvFeT5g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kBJdURcB80aOdl33f3yUm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BQZcgQG.60aoqgn4mLQWt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s6BIfUVR60Sdo9CHd05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uC57vb02Ei5ETQE5GGZW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AVp6i26ZfkqJnnbutzGAI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IiFcEj6mi0SvSl1vKHG6o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xUuWFC6xq0md567aN7azj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eFylkqqPCkujS3Ruq073J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I8N1czI7BEKGV3OYJz145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2jj2cRXFhkabXe3A92wJe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bukupXDVvU24CZv6vRhns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WEYfAeqCO02HYvPy4IWUQ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yO3rugvy_kO8VmxxKdz_q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QMLJmMvY20Kod9DvHIHP6g"/>
</p:tagLst>
</file>

<file path=ppt/tags/tag4.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NUf5V4EpEyC0KJGtPrHU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gsu0qMqlEmR9rk9Gje1d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TI8JEHaCU6hkiu_vcQ_j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cquhrLvXFkyVTAZvk.Ye1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au8f4emEE0Cpms6EnPSBq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5gv8d8Bgjkykni4THWqL0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SzA5zkkHrE21fzCLBXf18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cSp2VqGbZUG8JlD_rfK0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XrHTOwss0UiP.UEbZGFdX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hmv8FPx0QEyae4L7T1ttO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bPeQL1CCuESbOQbFL6WtZ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W0v4V1XNk.5TWWVRn9BW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sb5ixtBHtkqbwSS2BeZ3Z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WRUKsOmlDkyPVaMvEXagU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s9QW9UEOI0OXbQt3ebHAD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cI0Of_cg.U2aXGjYuT_H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BSjygtgGjk.kBVWczNNlX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amIib_2JUE.2m_wgNyOQW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i7NEdqCCS0eS6fUnO6Ndv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ySJSN97nb0mbjmRAWZ.eQ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EOCC2DMvAEGptu4R58S9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WBQWBLvTu0qCPFXl0ywB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5lbb30NZ0e2d1ZSjkOpX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_JE.X59qUkOb5BddLGMf4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yA7Td3Mkj0Wod_.WWRroh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6Z2Yo.3WpkS6sK8.Ep7DP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iziMfKPRhEaoL5AYfvq57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yGhx13tUf0Kp4zR2J6hH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pVtk5n9VBkyBUWIEv4T5f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QHZV3VtJqkW5HL7M2J04X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2sCJwoTypEO1r68jL0lL1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O.6uMIwUKk2GkEiDGh3bV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gULDm6KX7UiWjByXhNnm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Rt6acdMJUSssxdWEniSk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xSX6rGZVzU24nHLefSYG1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G1LPfM9qJku01MheVrq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mPtFfj6P5EeOS4XMZLHND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OPoT6wH6DESC6pbfFzcup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Var45aZCX0uWY_EDPN6pJ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AptcHtBGeEC5pJ8zyqdP0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rlZRVoC30mbFFpzRuy_f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oeB6btRkpEyZI8rQdDLZr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Wh04UcedIk.zBZNPEUQig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G.4Tgu0LEUiJJAkMyoF.c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jgMFnMF7UmlHKvu5QkZE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9h7FDPBRWUqkB5YhtmUjZ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VTipdDgLC0Cj_k_clJjQJ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reOLR1urMkqIQkjXgmbmY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WqXFMuLqkKdN3P6NF1MG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zyXueRfMUE.bhUiSihE0f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cq.iT6.68EegNV1M5i1uZ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6rQ1lyhdZEWN_WUlj3RYB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mSdL_DZyGUGmC_TXf9SG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pOWaW1dtrkS1J4g3.4GYw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5fcE0IeK40yp6F.RSAuL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x8d3Qc2UE6v25_yEcCmr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UwxWUzU8QEOfBotvtywxv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SN42GwC7c0G4Tzvq6hK4c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w01bZApzkmfGvtK_dNxo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XyCf8_D3nE2eJjNpouver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PjycgTIJyE2hazR8.mdYB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b0j.HAnqhkq4vddIzx1ja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GzaUBWj.9kqwoHcyQwNrw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AOsJQfukoUeYH_qZcD7VR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LLtsQKnY1EyWv99WsDcZu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0fxznBYhE.80fLL55ON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0Ux2F7fEUaM.p180Nuje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xPbIXXZp.0WreksmR4KJt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4Igzj0COCk.IJG6P4fvj6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DnwiX7X0BUO0x4lQSfSiO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9rvU7kG4g0eugPDhNIN3j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mjOAH8V0M0O5mVPRr_zcO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EDuLje1rKE6eV8z29qhYR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pk4PBm53fEOjYxBDa9yF5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92SC9w.KTUefH6fhoxkqs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3iTngXcsHUqhuyMr4xlIO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p.k7MzTP.kiyyv0ZnqDY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A0dtZGo40S0C3eJf2mBU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u3.OFMSYqU6oV3rPjkNwr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SYeFeZsLP0K_OoETO1Pz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luAaKazQ060bT10TUyLO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1MzgEXCM6k60yRU24psH2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XNHGV312dE.r7n.i9fhtb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4OoILJqP4Eea_TOLFc2Ua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Zj1fA4b.UyM7oaSA37vE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JKlfYN.yV02Wt02UmkrFo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zIohj05GtkaGemedNZbj1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xx6.vdCE1kyt3yS1r93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8fzTvmSXUmAe7kIUwt.u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7HqXTGwpEEa_iM5NiEZE3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V39RGJiINEmwWyyNpj01C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wACe67wAkmyYa2bh5XBv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iWLoH6YbKUe3sm6A5RznR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mwwyX.PDH0uapkNOwpMzi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wgcA4_C9jUCAwtDbi71KS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EyQyq3yPqUmTpVTODFfPy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mco6lAbM0kGylmY6az8l3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OaYn3IfGeESl_yhHh3HN1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Q4zGMgJc7Ui9GZzpfSMG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KhPk98.kkygBwWCNLxTm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gPzXCEaHvUCAXOnMor5_I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rvJeEF57QUOqfVXY6psFf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a1BD9HAlkOGtELDaEalg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JEyV.cJuukKm3ug7EU_wT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ypMz9Fc1Eev9zAp5PdaL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YdbYcogLNU.M02x0bfiNk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XjPcHbQ5pEyegPVE4goAt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3uF9qe.u20iKSCeqklPzP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8xr6OLPaiUqgKqbt6wzO7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H.dhAH619kSolCHma_wZ7Q"/>
</p:tagLst>
</file>

<file path=ppt/tags/tag5.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RL3YizGqkK6pOz9Wpqps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81kQs6Ta3Uam4JeAArv7s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nPI8ypulJUmophiUgW5EN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d3IQYFqBkCRjdsksXNqP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uFx.kq1X2EGVDhhqVK0XE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YQJ6hOT5c0Kc1bEATDGCP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zDUasvWiL0q5nuGh.QYDT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7qCBI4ytUeq5bmWwWMpg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poe5HA93zkO1z2e2.nOUc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2gFzx0jo70u.J_JAwWQle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2ds7j.tTdk2Xvxmv98U2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jkqkEBmmEunIlBo8hRzd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aX44iwrx5kCvyvX1E.2er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71M3MlNsi0.2Tgx4TBYZj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6EceuKbEcEi60BD6btpIu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jgSd9SWaTECAV9eGkRdWA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atck6u6lxE.5eEaDVrWSJ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9WFQSXRoTU2XHiG2Nu7vk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AbXj7D2Su0SmDntNzKNi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Sk5kBLrYWE6fZyM2qBdo4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hyiXU.9efkSmYbiJ4TlUr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SJ0jVEkuAkOd36kFYTwJq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H3.Y6Esh0KMQzABoSH_j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gzJ.zdm75kqFcnSxFFngv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0VUdm5KaiEK4q7nIvWbAa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qn6h.TrF8kCNWsTTuVJGU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usIP4nHB0.hCkFZkLGvp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3no4wayIuEu6zKXp0RWRR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7YGBanu4AECBzR4zLKKSL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lFWNwtNdmkWSgJb_V8Xzo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EVDgRQjn_0mksgUWM7feD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015PCPUKoUeNx_UeCjCKl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De1KHtgg9kW_qEYoTUnN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f5sAIVEDEqu6AOsI9etK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ANeQn4AL5ka1pLhHuguNP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vlFRpMNbtkiLLpV1JZYtZ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Uw4X18l7EWMw1inMshmF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6VLYikUkXUemvy4MuzWQf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apsesw5Frk6RmHS01kihq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Gc3LsDbLoEORbw3Lr0Lwi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pl7toPT1GkubdlbucirqP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LGOoYEGtZUewj4wAgoMwO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imVqlQDYz0eombeOh6zjL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1uEpH.0NMk.aYSYbbDS3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_FDjgGXk6MDMuLmJze3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Z4HsXJmbGkmWhsLqe.huG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cJM2Cj8UnUGEDwk.XzqwL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xKb_Qym9S0GlNrpgDkon8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IkB1yVw6Jk2hyJ.wmGd_3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OaK3CIoFlUGnV4q6SPHqJ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zki.NqQh20uXP8t.4lXff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WfnvRHWsOUeE9aH3PNjqL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CWtkGGeLu06qMssfq6dPL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_DWi6.BCD0WLLZtIkECI9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FAJrgMVeDEW7tcExLFV19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lLdWLD1Bki4LyFxwYR4x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8bZc3cHpW0ihxTHIa2R0h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PyYqY1ZB.k2JNMu1fPMXs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vXNUQDlmbUGgrKIFr1LUi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HzTq7va51E6i7Wrx5RZFM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BeovY0WiN0.jzEVvy_RcN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jEwdVT72w02F8wXrwhTMw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z3zOJgt5_0mx5ZTISXniy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1DZILy3Q6kmjf3E81jLX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3UZibsv9Jk2HADj16P3zS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4XoAJyIKykuxMHeuCJI4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mxCnud26kmMyGukKI_p_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MJsdnAGyEOx09okJCz3r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DYcC7ZQXJEybfq.W_XVpe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d1qXBQGJik.iU9t4jgRPC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hvnmuokg5k6KiIYl7b2gk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UAQ0Yic_702SRVZVaNQV0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vWjVD0G6gEipRYkg.nd6g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52kVYbK66Ey6JyBIkxlnK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QCu4viNteUC4SITdplBTE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nNL4ymkEI0qDzE.pd.Jkd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Ft40GB40q0.k_RPqWcUq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2l77y6xdUGGDC3ez4zKx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sQLm.nq7OkiSoFqJGSOnA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vhxgPnpH3kmn9L9x4EJzZ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UImErjU8NEimm5nHGw33z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n2W4AAE0UieIDz0qm32a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UdcuaEv.i0mH8ezozEQyC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Bs6JBwjypU.dHeqMY8i91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nF632.FKlky8NjVxG5OpA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4jcJNWQl3Ua7NvJr4CqrU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i0frpmJoG0m5kYIfGRh3m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jT_rSXAXz0uVX03hwjAf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fO0A4BQd0SXlmTfWgexP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9DyD3TBAQUaDBc7e8liF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_OWuiN27hkKVR88nqNM0S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W_f78TVngEyb2.4piFy4j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t_gsIhXaV0uuCiuDTiIaZ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C5KiPTMLbEOzCUEz_tCBl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V4tdISMEWUG0VznrDJ6Bg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QLR8FLQLj06gy8Xqzt0o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cd5fUP1C2UGVhm3G8AJ04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yaQNP.PjBESwgQ9Q4RC06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khuhezIAtUuuqZh7H6DQ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UEI7h6VMkOp5UhaA9wQ8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tp4zPg2jE6dPOQGueZgb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BwbJm4SJ0Ea2grzwhGOYo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0iFLjeo430mYCt1e1ruaF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y.abnyYM1kKnQtArRrLJk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edQpgedg7Uyf3Q0GhJtNs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2vBfwSQluUii_N9qieaKx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nmM4BpKo2kONv5Cf0EEpK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6p4F_bYn9UaIjpoQqPD6s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GejtqYvCxE.4FoQCOF7Jd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retK3gyJr0mRifqr_NS3mA"/>
</p:tagLst>
</file>

<file path=ppt/tags/tag6.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431"/>
  <p:tag name="DEFAULTTOP" val="p169"/>
  <p:tag name="DEFAULTWIDTH" val="p39!5000"/>
  <p:tag name="DEFAULTHEIGHT" val="p10!7500"/>
  <p:tag name="ISLOCKED" val="Tru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4TpsjW12HEqHkh_jvfTCG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LvXbZNNz0UO7tMz0vNNHA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PJnAGTeXrEa7InTp.i0nK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UToM2yrezkS6mm.RvKWY.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z8GpWAJgYU6.GZ0pwfYEC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mqzO9CSADUGhpSphpcyLj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nJL2fIgUxk.OZbUeaGEl3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mkCAiTziESjJjW5ZNa5N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7M5LIrlzv0e1YfvI8BS78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lsm_et7gbkWIALmH4SCYW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1A.RReGdPEqbVBpbhQXO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pPomj6CUEeX1jPjr1qAJ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0BzLiBc.YkOryco2wr0e9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3slHt2MZWk25xXG918bGm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9ie48V2fhkCq.6d6ZSIQz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Yy6m.qybTEe4Yd8wBDJC9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H5r.pPS8_0Sb0Va_6U_Xq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jfRXliGcTEy_cAO4CIEkZ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RAsitKtrak6ocgosKlw14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tixAEda9fkGuxebVfcjJQ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jfEw9J8jEqzSGGAnbvJw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iNLo00TVGEefqMmsv1e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r579jN5t0OVtnKpcNTIJ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yXaS8qmH3ke6qUxPIRMuu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nAYaGk2u.k..ERL_W_2D1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jQ2Re2J2FEigYPWVxIMvf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dbrBBwF00EC5R2WeFsKvo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UuZ86pYnv0efPCISeWfBI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_tb9.oGAZkmVNbwKtuSTJ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h0Uo7ThJG0erRFpltHQB_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5eUZLuWtEeXqUzi68_gu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MR4AMKCxYk2BCANF1QUSq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QuTjvv97lkCfFwx6v.f_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G0K4VzGUkiZoZCvsCfoU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Wwu1KpGt3kOwIDsO4j64d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AnumgmL4702bhaPtKRasw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yTgo.gKVb0GZoXYh4T7HK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vv2MGmGWIUWvECO3UZyiD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p4Ec44xrXkeNabeBuP8.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n9BwPfAnNk2_O_Bx2yyPk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IYTIexuFMkCc04MvY535Z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OpZXywKT1EyUv2fnD8cjA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8h_zCGieK0mhIDorwBIqH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2MiXvVkSEil8crbqtS.b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zfd06ZmCkWO9K4sX0zkD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qY0YK.eC0yGwgODBmvHr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7aTbagDHPEuPQLFBwlpIN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lIFlXxmYYk6_YOa3vxViI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x8LSfpkM0ybzJIJFyD3Y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UWMWs98lzUmJX3n_0_X13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kisCzYfyVUW.r.qZUu8Sp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mKr9Q3GKMkSn_q2ZMLhcp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J3bnlpdkwUOXQsPt8L_fS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3_d.PnjbwUmHUX5sLqXlw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CyoFITiXkioal3Te.bCB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u_xbWU7zk.LJ6p9YDWYA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XBe.2XVpNkGl.RM6gpV5z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X9Bn4_0wDE62k.bkIC4aH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RuuLS1v59065dU5YnFYK6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KY4oyzHw40KCItm2ffAqN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7GNqlQayyku6ERrfgZye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_wcWuTXk2eUiq4QZcVO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l5nbdW8.p0usmHoIn_I1A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Z3AFufkjZEexJafaUW_4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6mLwru7qGEe9xuG_HGn96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D7Xwc8Cv4EOtmbEOY3sV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mnGtEKcrECH6PzVQAPZp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YtShVULXP0qJBBkx6NlOY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zU2363TGfk6eijk_ut8cH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I61Z0ciZUkqPXTz.RMPG3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2YbCBya7kayWLV6cHl8b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cWogKbDsLkaIteAqhKUVm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hg7wDo2X0udR.CgQQPLU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EsP1acxcKUGxxelC8l_qJ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Aj4VVNRpoUKbNHZIc80eV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2WsBsw3RO06NI2P0732mL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7_HY67sJnEOhUvmfnvy90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im7FJjnxEmnqpow3HJGz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X_l5ZYeDkkmnWcYdD09Ii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M3H59UDvjUaAk3prHd1N9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akZd9T7le0.cmOj5W3X2B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uzrURkg2aUqnMrP_WiHD2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ZKNH67YPKUak59PP9Y7nG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9J8WmKQIY0.F8x.gpOGQj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xEphRi6Jv0aOYOlyJ.6_B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3TphecjbKUiUPl3TxQFMi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hwaTtXQHL0G.5uk_Je_dl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7mSCV8V7vUiGGQIdDBvM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GY5WwBmcESzoJGqglspe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LxuOkj.eUWjbq.OKKr3n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Q2Z0wDffaE2_1y792_7zP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WRATI2Dq06THk0Io5.dH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T70CXFGirk2qgyxxRS.z5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1hBN.EWkUEGUZujC4qVaq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YlKBFSk0XkKgfq0sdwI4B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xg63mFG8HkKQ.mypjAc7.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iUDyosJR2UGM9Yf1UOI5r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J6ww.vFm60yUckYrPyPKf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9MRGwDBjD0GDEWwrP.XY6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C5EjdSisUCreVA9qBqEW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T22PbFzN8k2khmgrSEVh5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QmLnHjNgCkydVQ5IU7J31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Zgp7bich60eOrBCqmC7nv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Yr7zmOyGOE.W17rlzXaQg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FPozdG.Z.0CPJytLHgpJ7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NijPGulFRUaifZF5fmmzc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XtrBlQXsRkiBg9crX1yDy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iUV6LxYVlkOdIkm3iV3fP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hvfpe_CXI02MGGQd2dGF1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8NHGSXQd2Uer.w_dEFsYxw"/>
</p:tagLst>
</file>

<file path=ppt/tags/tag7.xml><?xml version="1.0" encoding="utf-8"?>
<p:tagLst xmlns:a="http://schemas.openxmlformats.org/drawingml/2006/main" xmlns:r="http://schemas.openxmlformats.org/officeDocument/2006/relationships" xmlns:p="http://schemas.openxmlformats.org/presentationml/2006/main">
  <p:tag name="JPM_OBJECT_NAME" val="jpmObject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iCG8gx0.0a0eilsUEuba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BcDk259rzES3flsc2NqO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vDlCGF7_YkayvZo0aISfB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PPL1DgUsB0G1F24Ta_H7e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IrUKVqUb4UStdy5It2gmW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CESqGlfMN0aS39AH2LNuj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sauYJIjcDki.WxWCv43rg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HNvsKa00QU.jEHY78n_15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mhDEmyUzak.H3S1vG2SIB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xXgHqO1oHUad5Ouizaead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bg0._ceaqUiPvisbUKTM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lvhwQIEzkqFH1Ey.PpZP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bgcXU8oKjkOxSq8xfeo_8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GffnlJtWlUaEXqogLhJSl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7BWyKb3sg0mdlIXC3MS32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NFzjlXO7xke8RKKX0CxNA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zQ6h8gm740SuKwPOHdUk9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Y0R45ONBkk2pW3nVDnmQ1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Dan.fut25EGyCGe.ob2.B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qGGQydrmi0Wnq8C0sIs0x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dNtCj9e2gUqvJBOMZvZ4E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OQ36hBjAkC.0.6h7R.5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SaDUrtxzE.fYa6pUYHo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P0pEOr3_0OvQY9pO1Si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KWsrCST1hEWU1YM5XQiF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LEWY95s0UK7vnoo.cz1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iHGOp4t4k6_FypfOwtM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HIudKQeK0m5scX3i_nk4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7ZMU_FCWSkueBkSLKBGR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SfIDVWsY02I3X61Ew5q_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0DpHIehAUKCh8aXgt7X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SbBiHqwkE204rHwjwjBV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HU97.4uQUii8J8ZqYiO9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ABbNi4t1kaFImAitE.H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vJgoi9CVUKGCud62HaL5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5Z_Q_aWb0eYalUDeV.D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YuPiMuSvEyHcSTjWgqQ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rETk40hkesI.MzO8rU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yhHlvb51EGEZPe2RevZ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XAb2FfO7UG_25jWMzBm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cS48QzieUme5XRYnKAU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7f3KbJTY0yvu6rGr0gJ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nzt4y0c1U.t4SzcM1ze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ISp33heO0.HxRTNHPn5L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1OCdpjoM0qm.YDL8yGd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0qNwYLSG2UKTgWSVPvr0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c3CpNj4ZkGC4cALFdLr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gkPomiTXkanrAMkqPAo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v1easaP4063IzhAac3Z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e99fyWfEEa5C9bRDBDn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0M2c_PV8kS_kCPVc6Th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heme RDG 2014_edite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3946</TotalTime>
  <Words>4272</Words>
  <Application>Microsoft Office PowerPoint</Application>
  <PresentationFormat>On-screen Show (4:3)</PresentationFormat>
  <Paragraphs>830</Paragraphs>
  <Slides>52</Slides>
  <Notes>19</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55" baseType="lpstr">
      <vt:lpstr>Office Theme</vt:lpstr>
      <vt:lpstr>Theme RDG 2014_edited</vt:lpstr>
      <vt:lpstr>think-cell Slide</vt:lpstr>
      <vt:lpstr>PowerPoint Presentation</vt:lpstr>
      <vt:lpstr>Alur Pemikiran</vt:lpstr>
      <vt:lpstr>PowerPoint Presentation</vt:lpstr>
      <vt:lpstr>PowerPoint Presentation</vt:lpstr>
      <vt:lpstr>PowerPoint Presentation</vt:lpstr>
      <vt:lpstr>PowerPoint Presentation</vt:lpstr>
      <vt:lpstr>PowerPoint Presentation</vt:lpstr>
      <vt:lpstr>Pasar Keuangan Global</vt:lpstr>
      <vt:lpstr>Risiko Devaluasi Yuan</vt:lpstr>
      <vt:lpstr>PowerPoint Presentation</vt:lpstr>
      <vt:lpstr>Everybody Care about Rp</vt:lpstr>
      <vt:lpstr>Pergerakan Nilai Tukar</vt:lpstr>
      <vt:lpstr>Gambaran Umum Pasar Valas Domestik</vt:lpstr>
      <vt:lpstr>Gambaran Umum Pasar Valas Domestik</vt:lpstr>
      <vt:lpstr>Gambaran Umum Pasar Valas Domestik</vt:lpstr>
      <vt:lpstr>Indikator Market</vt:lpstr>
      <vt:lpstr>Gambaran Umum Pasar Valas Domestik</vt:lpstr>
      <vt:lpstr>Gambaran Umum Pasar Valas Domestik</vt:lpstr>
      <vt:lpstr>Gambaran Umum Pasar Valas Domestik</vt:lpstr>
      <vt:lpstr>Gambaran Umum Pasar Valas Domestik</vt:lpstr>
      <vt:lpstr>Perkembangan Nilai Tukar Rupiah</vt:lpstr>
      <vt:lpstr>Volatilitas Nilai Tukar Rupiah</vt:lpstr>
      <vt:lpstr>Supply-Demand di Pasar Valas Membaik Signifikan pd Okt’15...</vt:lpstr>
      <vt:lpstr>Rupiah, IHSG, dan Yield SBN menguat sejak awal Okt 2015...</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flasi</vt:lpstr>
      <vt:lpstr>Inflasi: Regional</vt:lpstr>
      <vt:lpstr>Aliran Modal dan Finansial</vt:lpstr>
      <vt:lpstr>GS Primary Market Performance 2015</vt:lpstr>
      <vt:lpstr>PowerPoint Presentation</vt:lpstr>
      <vt:lpstr>PowerPoint Presentation</vt:lpstr>
      <vt:lpstr>PowerPoint Presentation</vt:lpstr>
      <vt:lpstr>PowerPoint Presentation</vt:lpstr>
      <vt:lpstr>Prospek Perekonomian Domestik</vt:lpstr>
      <vt:lpstr>PowerPoint Presentation</vt:lpstr>
      <vt:lpstr>PDRB</vt:lpstr>
      <vt:lpstr>Rencana Pembangunan dan Investasi Infrastruktur</vt:lpstr>
      <vt:lpstr>Monitoring Proyek Infrastruktur Prioritas</vt:lpstr>
      <vt:lpstr>PowerPoint Presentation</vt:lpstr>
      <vt:lpstr>Project potentially ready for tender in Q3 2015 Express Line Soekarno-Hatta International Airport Access Railway </vt:lpstr>
      <vt:lpstr>PowerPoint Presentation</vt:lpstr>
      <vt:lpstr>PowerPoint Presentation</vt:lpstr>
      <vt:lpstr>PowerPoint Presentation</vt:lpstr>
      <vt:lpstr>PowerPoint Presentation</vt:lpstr>
      <vt:lpstr>PowerPoint Presentation</vt:lpstr>
      <vt:lpstr>PowerPoint Presentation</vt:lpstr>
    </vt:vector>
  </TitlesOfParts>
  <Company>Bank Indones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rkholisoh Ibnu Aman</dc:creator>
  <cp:lastModifiedBy>user</cp:lastModifiedBy>
  <cp:revision>1342</cp:revision>
  <cp:lastPrinted>2015-10-05T02:30:43Z</cp:lastPrinted>
  <dcterms:created xsi:type="dcterms:W3CDTF">2013-12-19T04:06:34Z</dcterms:created>
  <dcterms:modified xsi:type="dcterms:W3CDTF">2015-10-21T04:40:16Z</dcterms:modified>
</cp:coreProperties>
</file>